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tags/tag2.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76" r:id="rId1"/>
  </p:sldMasterIdLst>
  <p:notesMasterIdLst>
    <p:notesMasterId r:id="rId13"/>
  </p:notesMasterIdLst>
  <p:handoutMasterIdLst>
    <p:handoutMasterId r:id="rId14"/>
  </p:handoutMasterIdLst>
  <p:sldIdLst>
    <p:sldId id="267" r:id="rId2"/>
    <p:sldId id="265" r:id="rId3"/>
    <p:sldId id="263" r:id="rId4"/>
    <p:sldId id="270" r:id="rId5"/>
    <p:sldId id="269" r:id="rId6"/>
    <p:sldId id="271" r:id="rId7"/>
    <p:sldId id="272" r:id="rId8"/>
    <p:sldId id="273" r:id="rId9"/>
    <p:sldId id="274" r:id="rId10"/>
    <p:sldId id="276" r:id="rId11"/>
    <p:sldId id="261" r:id="rId12"/>
  </p:sldIdLst>
  <p:sldSz cx="12192000" cy="6858000"/>
  <p:notesSz cx="6884988" cy="10018713"/>
  <p:embeddedFontLst>
    <p:embeddedFont>
      <p:font typeface="Ericsson Capital TT" panose="02000503000000020004" pitchFamily="2" charset="0"/>
      <p:regular r:id="rId15"/>
    </p:embeddedFont>
  </p:embeddedFontLst>
  <p:defaultTextStyle>
    <a:defPPr>
      <a:defRPr lang="en-GB"/>
    </a:defPPr>
    <a:lvl1pPr algn="l" rtl="0" fontAlgn="base">
      <a:spcBef>
        <a:spcPct val="50000"/>
      </a:spcBef>
      <a:spcAft>
        <a:spcPct val="0"/>
      </a:spcAft>
      <a:defRPr sz="2000" kern="1200">
        <a:solidFill>
          <a:schemeClr val="tx1"/>
        </a:solidFill>
        <a:latin typeface="Arial" charset="0"/>
        <a:ea typeface="+mn-ea"/>
        <a:cs typeface="+mn-cs"/>
      </a:defRPr>
    </a:lvl1pPr>
    <a:lvl2pPr marL="457200" algn="l" rtl="0" fontAlgn="base">
      <a:spcBef>
        <a:spcPct val="50000"/>
      </a:spcBef>
      <a:spcAft>
        <a:spcPct val="0"/>
      </a:spcAft>
      <a:defRPr sz="2000" kern="1200">
        <a:solidFill>
          <a:schemeClr val="tx1"/>
        </a:solidFill>
        <a:latin typeface="Arial" charset="0"/>
        <a:ea typeface="+mn-ea"/>
        <a:cs typeface="+mn-cs"/>
      </a:defRPr>
    </a:lvl2pPr>
    <a:lvl3pPr marL="914400" algn="l" rtl="0" fontAlgn="base">
      <a:spcBef>
        <a:spcPct val="50000"/>
      </a:spcBef>
      <a:spcAft>
        <a:spcPct val="0"/>
      </a:spcAft>
      <a:defRPr sz="2000" kern="1200">
        <a:solidFill>
          <a:schemeClr val="tx1"/>
        </a:solidFill>
        <a:latin typeface="Arial" charset="0"/>
        <a:ea typeface="+mn-ea"/>
        <a:cs typeface="+mn-cs"/>
      </a:defRPr>
    </a:lvl3pPr>
    <a:lvl4pPr marL="1371600" algn="l" rtl="0" fontAlgn="base">
      <a:spcBef>
        <a:spcPct val="50000"/>
      </a:spcBef>
      <a:spcAft>
        <a:spcPct val="0"/>
      </a:spcAft>
      <a:defRPr sz="2000" kern="1200">
        <a:solidFill>
          <a:schemeClr val="tx1"/>
        </a:solidFill>
        <a:latin typeface="Arial" charset="0"/>
        <a:ea typeface="+mn-ea"/>
        <a:cs typeface="+mn-cs"/>
      </a:defRPr>
    </a:lvl4pPr>
    <a:lvl5pPr marL="1828800" algn="l" rtl="0" fontAlgn="base">
      <a:spcBef>
        <a:spcPct val="5000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p:defaultTextStyle>
  <p:extLst>
    <p:ext uri="{521415D9-36F7-43E2-AB2F-B90AF26B5E84}">
      <p14:sectionLst xmlns:p14="http://schemas.microsoft.com/office/powerpoint/2010/main">
        <p14:section name="Default Section" id="{9386CF36-BFA9-4BB0-91B9-1B19D4CB6FFA}">
          <p14:sldIdLst>
            <p14:sldId id="267"/>
            <p14:sldId id="265"/>
            <p14:sldId id="263"/>
            <p14:sldId id="270"/>
            <p14:sldId id="269"/>
            <p14:sldId id="271"/>
            <p14:sldId id="272"/>
            <p14:sldId id="273"/>
            <p14:sldId id="274"/>
            <p14:sldId id="276"/>
            <p14:sldId id="261"/>
          </p14:sldIdLst>
        </p14:section>
      </p14:sectionLst>
    </p:ext>
    <p:ext uri="{EFAFB233-063F-42B5-8137-9DF3F51BA10A}">
      <p15:sldGuideLst xmlns:p15="http://schemas.microsoft.com/office/powerpoint/2012/main">
        <p15:guide id="1" orient="horz" pos="1136" userDrawn="1">
          <p15:clr>
            <a:srgbClr val="A4A3A4"/>
          </p15:clr>
        </p15:guide>
        <p15:guide id="2" orient="horz" pos="4110" userDrawn="1">
          <p15:clr>
            <a:srgbClr val="A4A3A4"/>
          </p15:clr>
        </p15:guide>
        <p15:guide id="3" orient="horz" pos="151" userDrawn="1">
          <p15:clr>
            <a:srgbClr val="A4A3A4"/>
          </p15:clr>
        </p15:guide>
        <p15:guide id="4" orient="horz" pos="2449" userDrawn="1">
          <p15:clr>
            <a:srgbClr val="A4A3A4"/>
          </p15:clr>
        </p15:guide>
        <p15:guide id="5" orient="horz" pos="3566" userDrawn="1">
          <p15:clr>
            <a:srgbClr val="A4A3A4"/>
          </p15:clr>
        </p15:guide>
        <p15:guide id="6" orient="horz" pos="2545" userDrawn="1">
          <p15:clr>
            <a:srgbClr val="A4A3A4"/>
          </p15:clr>
        </p15:guide>
        <p15:guide id="7" orient="horz" pos="3845" userDrawn="1">
          <p15:clr>
            <a:srgbClr val="A4A3A4"/>
          </p15:clr>
        </p15:guide>
        <p15:guide id="8" pos="6625" userDrawn="1">
          <p15:clr>
            <a:srgbClr val="A4A3A4"/>
          </p15:clr>
        </p15:guide>
        <p15:guide id="9" pos="2588" userDrawn="1">
          <p15:clr>
            <a:srgbClr val="A4A3A4"/>
          </p15:clr>
        </p15:guide>
        <p15:guide id="10" pos="5091" userDrawn="1">
          <p15:clr>
            <a:srgbClr val="A4A3A4"/>
          </p15:clr>
        </p15:guide>
        <p15:guide id="11" pos="4969" userDrawn="1">
          <p15:clr>
            <a:srgbClr val="A4A3A4"/>
          </p15:clr>
        </p15:guide>
        <p15:guide id="12" pos="3779" userDrawn="1">
          <p15:clr>
            <a:srgbClr val="A4A3A4"/>
          </p15:clr>
        </p15:guide>
        <p15:guide id="13" pos="3901" userDrawn="1">
          <p15:clr>
            <a:srgbClr val="A4A3A4"/>
          </p15:clr>
        </p15:guide>
        <p15:guide id="14" pos="331" userDrawn="1">
          <p15:clr>
            <a:srgbClr val="A4A3A4"/>
          </p15:clr>
        </p15:guide>
        <p15:guide id="15" pos="2712" userDrawn="1">
          <p15:clr>
            <a:srgbClr val="A4A3A4"/>
          </p15:clr>
        </p15:guide>
        <p15:guide id="16" pos="3839" userDrawn="1">
          <p15:clr>
            <a:srgbClr val="A4A3A4"/>
          </p15:clr>
        </p15:guide>
        <p15:guide id="17" pos="3568" userDrawn="1">
          <p15:clr>
            <a:srgbClr val="A4A3A4"/>
          </p15:clr>
        </p15:guide>
        <p15:guide id="18" pos="4112" userDrawn="1">
          <p15:clr>
            <a:srgbClr val="A4A3A4"/>
          </p15:clr>
        </p15:guide>
        <p15:guide id="19" pos="7348" userDrawn="1">
          <p15:clr>
            <a:srgbClr val="A4A3A4"/>
          </p15:clr>
        </p15:guide>
      </p15:sldGuideLst>
    </p:ext>
    <p:ext uri="{2D200454-40CA-4A62-9FC3-DE9A4176ACB9}">
      <p15:notesGuideLst xmlns:p15="http://schemas.microsoft.com/office/powerpoint/2012/main">
        <p15:guide id="1" orient="horz" pos="3155">
          <p15:clr>
            <a:srgbClr val="A4A3A4"/>
          </p15:clr>
        </p15:guide>
        <p15:guide id="2" pos="2168">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FB7D3"/>
    <a:srgbClr val="8BC5FF"/>
    <a:srgbClr val="99CCFF"/>
    <a:srgbClr val="6A8FBF"/>
    <a:srgbClr val="00A9D4"/>
    <a:srgbClr val="007B78"/>
    <a:srgbClr val="89BA17"/>
    <a:srgbClr val="FABB00"/>
    <a:srgbClr val="F08A00"/>
    <a:srgbClr val="E3211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90303" autoAdjust="0"/>
  </p:normalViewPr>
  <p:slideViewPr>
    <p:cSldViewPr snapToGrid="0" snapToObjects="1">
      <p:cViewPr varScale="1">
        <p:scale>
          <a:sx n="117" d="100"/>
          <a:sy n="117" d="100"/>
        </p:scale>
        <p:origin x="618" y="84"/>
      </p:cViewPr>
      <p:guideLst>
        <p:guide orient="horz" pos="1136"/>
        <p:guide orient="horz" pos="4110"/>
        <p:guide orient="horz" pos="151"/>
        <p:guide orient="horz" pos="2449"/>
        <p:guide orient="horz" pos="3566"/>
        <p:guide orient="horz" pos="2545"/>
        <p:guide orient="horz" pos="3845"/>
        <p:guide pos="6625"/>
        <p:guide pos="2588"/>
        <p:guide pos="5091"/>
        <p:guide pos="4969"/>
        <p:guide pos="3779"/>
        <p:guide pos="3901"/>
        <p:guide pos="331"/>
        <p:guide pos="2712"/>
        <p:guide pos="3839"/>
        <p:guide pos="3568"/>
        <p:guide pos="4112"/>
        <p:guide pos="7348"/>
      </p:guideLst>
    </p:cSldViewPr>
  </p:slideViewPr>
  <p:notesTextViewPr>
    <p:cViewPr>
      <p:scale>
        <a:sx n="100" d="100"/>
        <a:sy n="100" d="100"/>
      </p:scale>
      <p:origin x="0" y="0"/>
    </p:cViewPr>
  </p:notesTextViewPr>
  <p:sorterViewPr>
    <p:cViewPr>
      <p:scale>
        <a:sx n="100" d="100"/>
        <a:sy n="100" d="100"/>
      </p:scale>
      <p:origin x="0" y="6528"/>
    </p:cViewPr>
  </p:sorterViewPr>
  <p:notesViewPr>
    <p:cSldViewPr snapToGrid="0" snapToObjects="1">
      <p:cViewPr varScale="1">
        <p:scale>
          <a:sx n="64" d="100"/>
          <a:sy n="64" d="100"/>
        </p:scale>
        <p:origin x="-3414" y="-126"/>
      </p:cViewPr>
      <p:guideLst>
        <p:guide orient="horz" pos="3155"/>
        <p:guide pos="2168"/>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font" Target="fonts/font1.fntdata"/><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9874" name="Rectangle 2"/>
          <p:cNvSpPr>
            <a:spLocks noGrp="1" noChangeArrowheads="1"/>
          </p:cNvSpPr>
          <p:nvPr>
            <p:ph type="hdr" sz="quarter"/>
          </p:nvPr>
        </p:nvSpPr>
        <p:spPr bwMode="auto">
          <a:xfrm>
            <a:off x="0" y="0"/>
            <a:ext cx="2983495" cy="500936"/>
          </a:xfrm>
          <a:prstGeom prst="rect">
            <a:avLst/>
          </a:prstGeom>
          <a:noFill/>
          <a:ln w="9525">
            <a:noFill/>
            <a:miter lim="800000"/>
            <a:headEnd/>
            <a:tailEnd/>
          </a:ln>
          <a:effectLst/>
        </p:spPr>
        <p:txBody>
          <a:bodyPr vert="horz" wrap="square" lIns="96588" tIns="48294" rIns="96588" bIns="48294" numCol="1" anchor="t" anchorCtr="0" compatLnSpc="1">
            <a:prstTxWarp prst="textNoShape">
              <a:avLst/>
            </a:prstTxWarp>
          </a:bodyPr>
          <a:lstStyle>
            <a:lvl1pPr>
              <a:spcBef>
                <a:spcPct val="0"/>
              </a:spcBef>
              <a:defRPr sz="1300"/>
            </a:lvl1pPr>
          </a:lstStyle>
          <a:p>
            <a:r>
              <a:rPr lang="en-US" sz="1200"/>
              <a:t> </a:t>
            </a:r>
            <a:endParaRPr lang="en-US" sz="1200" dirty="0"/>
          </a:p>
        </p:txBody>
      </p:sp>
      <p:sp>
        <p:nvSpPr>
          <p:cNvPr id="79875" name="Rectangle 3"/>
          <p:cNvSpPr>
            <a:spLocks noGrp="1" noChangeArrowheads="1"/>
          </p:cNvSpPr>
          <p:nvPr>
            <p:ph type="dt" sz="quarter" idx="1"/>
          </p:nvPr>
        </p:nvSpPr>
        <p:spPr bwMode="auto">
          <a:xfrm>
            <a:off x="3899900" y="0"/>
            <a:ext cx="2983495" cy="500936"/>
          </a:xfrm>
          <a:prstGeom prst="rect">
            <a:avLst/>
          </a:prstGeom>
          <a:noFill/>
          <a:ln w="9525">
            <a:noFill/>
            <a:miter lim="800000"/>
            <a:headEnd/>
            <a:tailEnd/>
          </a:ln>
          <a:effectLst/>
        </p:spPr>
        <p:txBody>
          <a:bodyPr vert="horz" wrap="square" lIns="96588" tIns="48294" rIns="96588" bIns="48294" numCol="1" anchor="t" anchorCtr="0" compatLnSpc="1">
            <a:prstTxWarp prst="textNoShape">
              <a:avLst/>
            </a:prstTxWarp>
          </a:bodyPr>
          <a:lstStyle>
            <a:lvl1pPr algn="r">
              <a:spcBef>
                <a:spcPct val="0"/>
              </a:spcBef>
              <a:defRPr sz="1300"/>
            </a:lvl1pPr>
          </a:lstStyle>
          <a:p>
            <a:r>
              <a:rPr lang="en-US" sz="1200"/>
              <a:t>2016-11-15 </a:t>
            </a:r>
            <a:endParaRPr lang="en-US" sz="1200" dirty="0"/>
          </a:p>
        </p:txBody>
      </p:sp>
      <p:sp>
        <p:nvSpPr>
          <p:cNvPr id="79876" name="Rectangle 4"/>
          <p:cNvSpPr>
            <a:spLocks noGrp="1" noChangeArrowheads="1"/>
          </p:cNvSpPr>
          <p:nvPr>
            <p:ph type="ftr" sz="quarter" idx="2"/>
          </p:nvPr>
        </p:nvSpPr>
        <p:spPr bwMode="auto">
          <a:xfrm>
            <a:off x="0" y="9516038"/>
            <a:ext cx="2983495" cy="500936"/>
          </a:xfrm>
          <a:prstGeom prst="rect">
            <a:avLst/>
          </a:prstGeom>
          <a:noFill/>
          <a:ln w="9525">
            <a:noFill/>
            <a:miter lim="800000"/>
            <a:headEnd/>
            <a:tailEnd/>
          </a:ln>
          <a:effectLst/>
        </p:spPr>
        <p:txBody>
          <a:bodyPr vert="horz" wrap="square" lIns="96588" tIns="48294" rIns="96588" bIns="48294" numCol="1" anchor="b" anchorCtr="0" compatLnSpc="1">
            <a:prstTxWarp prst="textNoShape">
              <a:avLst/>
            </a:prstTxWarp>
          </a:bodyPr>
          <a:lstStyle>
            <a:lvl1pPr>
              <a:spcBef>
                <a:spcPct val="0"/>
              </a:spcBef>
              <a:defRPr sz="1300"/>
            </a:lvl1pPr>
          </a:lstStyle>
          <a:p>
            <a:r>
              <a:rPr lang="en-US" sz="1200"/>
              <a:t> </a:t>
            </a:r>
            <a:endParaRPr lang="en-US" sz="1200" dirty="0"/>
          </a:p>
        </p:txBody>
      </p:sp>
      <p:sp>
        <p:nvSpPr>
          <p:cNvPr id="79877" name="Rectangle 5"/>
          <p:cNvSpPr>
            <a:spLocks noGrp="1" noChangeArrowheads="1"/>
          </p:cNvSpPr>
          <p:nvPr>
            <p:ph type="sldNum" sz="quarter" idx="3"/>
          </p:nvPr>
        </p:nvSpPr>
        <p:spPr bwMode="auto">
          <a:xfrm>
            <a:off x="3899900" y="9516038"/>
            <a:ext cx="2983495" cy="500936"/>
          </a:xfrm>
          <a:prstGeom prst="rect">
            <a:avLst/>
          </a:prstGeom>
          <a:noFill/>
          <a:ln w="9525">
            <a:noFill/>
            <a:miter lim="800000"/>
            <a:headEnd/>
            <a:tailEnd/>
          </a:ln>
          <a:effectLst/>
        </p:spPr>
        <p:txBody>
          <a:bodyPr vert="horz" wrap="square" lIns="96588" tIns="48294" rIns="96588" bIns="48294" numCol="1" anchor="b" anchorCtr="0" compatLnSpc="1">
            <a:prstTxWarp prst="textNoShape">
              <a:avLst/>
            </a:prstTxWarp>
          </a:bodyPr>
          <a:lstStyle>
            <a:lvl1pPr algn="r">
              <a:spcBef>
                <a:spcPct val="0"/>
              </a:spcBef>
              <a:defRPr sz="1300"/>
            </a:lvl1pPr>
          </a:lstStyle>
          <a:p>
            <a:fld id="{4ECEF30E-552D-42ED-82CA-C73F83CA10A8}" type="slidenum">
              <a:rPr lang="en-US" sz="1200"/>
              <a:pPr/>
              <a:t>‹#›</a:t>
            </a:fld>
            <a:endParaRPr lang="en-US" sz="1200" dirty="0"/>
          </a:p>
        </p:txBody>
      </p:sp>
    </p:spTree>
    <p:extLst>
      <p:ext uri="{BB962C8B-B14F-4D97-AF65-F5344CB8AC3E}">
        <p14:creationId xmlns:p14="http://schemas.microsoft.com/office/powerpoint/2010/main" val="2985583238"/>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Date Placeholder 1"/>
          <p:cNvSpPr>
            <a:spLocks noGrp="1"/>
          </p:cNvSpPr>
          <p:nvPr>
            <p:ph type="dt" idx="1"/>
          </p:nvPr>
        </p:nvSpPr>
        <p:spPr>
          <a:xfrm>
            <a:off x="3900488" y="0"/>
            <a:ext cx="2982912" cy="501650"/>
          </a:xfrm>
          <a:prstGeom prst="rect">
            <a:avLst/>
          </a:prstGeom>
        </p:spPr>
        <p:txBody>
          <a:bodyPr vert="horz" lIns="91440" tIns="45720" rIns="91440" bIns="45720" rtlCol="0"/>
          <a:lstStyle>
            <a:lvl1pPr algn="r">
              <a:defRPr sz="1200"/>
            </a:lvl1pPr>
          </a:lstStyle>
          <a:p>
            <a:r>
              <a:rPr lang="en-US"/>
              <a:t>2016-11-15 </a:t>
            </a:r>
            <a:endParaRPr lang="en-US" dirty="0"/>
          </a:p>
        </p:txBody>
      </p:sp>
      <p:sp>
        <p:nvSpPr>
          <p:cNvPr id="3" name="Slide Number Placeholder 2"/>
          <p:cNvSpPr>
            <a:spLocks noGrp="1"/>
          </p:cNvSpPr>
          <p:nvPr>
            <p:ph type="sldNum" sz="quarter" idx="5"/>
          </p:nvPr>
        </p:nvSpPr>
        <p:spPr>
          <a:xfrm>
            <a:off x="3900488" y="9515475"/>
            <a:ext cx="2982912" cy="501650"/>
          </a:xfrm>
          <a:prstGeom prst="rect">
            <a:avLst/>
          </a:prstGeom>
        </p:spPr>
        <p:txBody>
          <a:bodyPr vert="horz" lIns="91440" tIns="45720" rIns="91440" bIns="45720" rtlCol="0" anchor="b"/>
          <a:lstStyle>
            <a:lvl1pPr algn="r">
              <a:defRPr sz="1200"/>
            </a:lvl1pPr>
          </a:lstStyle>
          <a:p>
            <a:fld id="{5852353D-F306-481A-B3D0-C36CE0BF9563}" type="slidenum">
              <a:rPr lang="en-US" smtClean="0"/>
              <a:pPr/>
              <a:t>‹#›</a:t>
            </a:fld>
            <a:endParaRPr lang="en-US" dirty="0"/>
          </a:p>
        </p:txBody>
      </p:sp>
      <p:sp>
        <p:nvSpPr>
          <p:cNvPr id="4" name="Header Placeholder 3"/>
          <p:cNvSpPr>
            <a:spLocks noGrp="1"/>
          </p:cNvSpPr>
          <p:nvPr>
            <p:ph type="hdr" sz="quarter"/>
          </p:nvPr>
        </p:nvSpPr>
        <p:spPr>
          <a:xfrm>
            <a:off x="0" y="0"/>
            <a:ext cx="2982913" cy="501650"/>
          </a:xfrm>
          <a:prstGeom prst="rect">
            <a:avLst/>
          </a:prstGeom>
        </p:spPr>
        <p:txBody>
          <a:bodyPr vert="horz" lIns="91440" tIns="45720" rIns="91440" bIns="45720" rtlCol="0"/>
          <a:lstStyle>
            <a:lvl1pPr algn="l">
              <a:defRPr sz="1200"/>
            </a:lvl1pPr>
          </a:lstStyle>
          <a:p>
            <a:r>
              <a:rPr lang="en-US"/>
              <a:t> </a:t>
            </a:r>
            <a:endParaRPr lang="en-US" dirty="0"/>
          </a:p>
        </p:txBody>
      </p:sp>
      <p:sp>
        <p:nvSpPr>
          <p:cNvPr id="5" name="Slide Image Placeholder 4"/>
          <p:cNvSpPr>
            <a:spLocks noGrp="1" noRot="1" noChangeAspect="1"/>
          </p:cNvSpPr>
          <p:nvPr>
            <p:ph type="sldImg" idx="2"/>
          </p:nvPr>
        </p:nvSpPr>
        <p:spPr>
          <a:xfrm>
            <a:off x="103188" y="750888"/>
            <a:ext cx="6678612" cy="3757612"/>
          </a:xfrm>
          <a:prstGeom prst="rect">
            <a:avLst/>
          </a:prstGeom>
          <a:noFill/>
          <a:ln w="12700">
            <a:solidFill>
              <a:prstClr val="black"/>
            </a:solidFill>
          </a:ln>
        </p:spPr>
        <p:txBody>
          <a:bodyPr vert="horz" lIns="91440" tIns="45720" rIns="91440" bIns="45720" rtlCol="0" anchor="ctr"/>
          <a:lstStyle/>
          <a:p>
            <a:endParaRPr lang="en-US"/>
          </a:p>
        </p:txBody>
      </p:sp>
      <p:sp>
        <p:nvSpPr>
          <p:cNvPr id="6" name="Footer Placeholder 5"/>
          <p:cNvSpPr>
            <a:spLocks noGrp="1"/>
          </p:cNvSpPr>
          <p:nvPr>
            <p:ph type="ftr" sz="quarter" idx="4"/>
          </p:nvPr>
        </p:nvSpPr>
        <p:spPr>
          <a:xfrm>
            <a:off x="0" y="9515475"/>
            <a:ext cx="2982913" cy="501650"/>
          </a:xfrm>
          <a:prstGeom prst="rect">
            <a:avLst/>
          </a:prstGeom>
        </p:spPr>
        <p:txBody>
          <a:bodyPr vert="horz" lIns="91440" tIns="45720" rIns="91440" bIns="45720" rtlCol="0" anchor="b"/>
          <a:lstStyle>
            <a:lvl1pPr algn="l">
              <a:defRPr sz="1200"/>
            </a:lvl1pPr>
          </a:lstStyle>
          <a:p>
            <a:r>
              <a:rPr lang="en-US"/>
              <a:t> </a:t>
            </a:r>
            <a:endParaRPr lang="en-US" dirty="0"/>
          </a:p>
        </p:txBody>
      </p:sp>
      <p:sp>
        <p:nvSpPr>
          <p:cNvPr id="7" name="Notes Placeholder 6"/>
          <p:cNvSpPr>
            <a:spLocks noGrp="1"/>
          </p:cNvSpPr>
          <p:nvPr>
            <p:ph type="body" sz="quarter" idx="3"/>
          </p:nvPr>
        </p:nvSpPr>
        <p:spPr>
          <a:xfrm>
            <a:off x="688975" y="4759325"/>
            <a:ext cx="5507038" cy="45085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08257339"/>
      </p:ext>
    </p:extLst>
  </p:cSld>
  <p:clrMap bg1="lt1" tx1="dk1" bg2="lt2" tx2="dk2" accent1="accent1" accent2="accent2" accent3="accent3" accent4="accent4" accent5="accent5" accent6="accent6" hlink="hlink" folHlink="folHlink"/>
  <p:hf/>
  <p:notesStyle>
    <a:lvl1pPr algn="l" rtl="0" fontAlgn="base">
      <a:spcBef>
        <a:spcPct val="30000"/>
      </a:spcBef>
      <a:spcAft>
        <a:spcPct val="0"/>
      </a:spcAft>
      <a:defRPr sz="1200" kern="1200">
        <a:solidFill>
          <a:schemeClr val="tx1"/>
        </a:solidFill>
        <a:latin typeface="Arial" charset="0"/>
        <a:ea typeface="+mn-ea"/>
        <a:cs typeface="+mn-cs"/>
      </a:defRPr>
    </a:lvl1pPr>
    <a:lvl2pPr marL="457200" algn="l" rtl="0" fontAlgn="base">
      <a:spcBef>
        <a:spcPct val="30000"/>
      </a:spcBef>
      <a:spcAft>
        <a:spcPct val="0"/>
      </a:spcAft>
      <a:defRPr sz="1200" kern="1200">
        <a:solidFill>
          <a:schemeClr val="tx1"/>
        </a:solidFill>
        <a:latin typeface="Arial" charset="0"/>
        <a:ea typeface="+mn-ea"/>
        <a:cs typeface="+mn-cs"/>
      </a:defRPr>
    </a:lvl2pPr>
    <a:lvl3pPr marL="914400" algn="l" rtl="0" fontAlgn="base">
      <a:spcBef>
        <a:spcPct val="30000"/>
      </a:spcBef>
      <a:spcAft>
        <a:spcPct val="0"/>
      </a:spcAft>
      <a:defRPr sz="1200" kern="1200">
        <a:solidFill>
          <a:schemeClr val="tx1"/>
        </a:solidFill>
        <a:latin typeface="Arial" charset="0"/>
        <a:ea typeface="+mn-ea"/>
        <a:cs typeface="+mn-cs"/>
      </a:defRPr>
    </a:lvl3pPr>
    <a:lvl4pPr marL="1371600" algn="l" rtl="0" fontAlgn="base">
      <a:spcBef>
        <a:spcPct val="30000"/>
      </a:spcBef>
      <a:spcAft>
        <a:spcPct val="0"/>
      </a:spcAft>
      <a:defRPr sz="1200" kern="1200">
        <a:solidFill>
          <a:schemeClr val="tx1"/>
        </a:solidFill>
        <a:latin typeface="Arial" charset="0"/>
        <a:ea typeface="+mn-ea"/>
        <a:cs typeface="+mn-cs"/>
      </a:defRPr>
    </a:lvl4pPr>
    <a:lvl5pPr marL="1828800" algn="l" rtl="0" fontAlgn="base">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ost solutions in the market today track the truck/cab/tractor, rather than the trailer.  There are on average 10X more trailers than trucks.</a:t>
            </a:r>
          </a:p>
          <a:p>
            <a:endParaRPr lang="en-US" dirty="0"/>
          </a:p>
          <a:p>
            <a:r>
              <a:rPr lang="en-US" dirty="0"/>
              <a:t>Largely this is because of Cost and Battery Life.</a:t>
            </a:r>
          </a:p>
          <a:p>
            <a:endParaRPr lang="en-US" dirty="0"/>
          </a:p>
          <a:p>
            <a:r>
              <a:rPr lang="en-US" dirty="0"/>
              <a:t>The solutions which do exist are built on legacy wireless technologies, so a re-fresh will be required.</a:t>
            </a:r>
          </a:p>
          <a:p>
            <a:endParaRPr lang="en-US" dirty="0"/>
          </a:p>
          <a:p>
            <a:r>
              <a:rPr lang="en-US" dirty="0"/>
              <a:t>Hence the time is right to introduce a low cost, long battery life, tracking solution for Trailers.</a:t>
            </a:r>
          </a:p>
          <a:p>
            <a:endParaRPr lang="en-US" dirty="0"/>
          </a:p>
          <a:p>
            <a:r>
              <a:rPr lang="en-US" dirty="0"/>
              <a:t>The trucking industry isn’t yet digitized – there is a big opportunity to carry them forward with a simplified plug and play solution.</a:t>
            </a:r>
          </a:p>
          <a:p>
            <a:endParaRPr lang="en-US" dirty="0"/>
          </a:p>
          <a:p>
            <a:endParaRPr lang="en-US" dirty="0"/>
          </a:p>
        </p:txBody>
      </p:sp>
      <p:sp>
        <p:nvSpPr>
          <p:cNvPr id="4" name="Date Placeholder 3"/>
          <p:cNvSpPr>
            <a:spLocks noGrp="1"/>
          </p:cNvSpPr>
          <p:nvPr>
            <p:ph type="dt" idx="10"/>
          </p:nvPr>
        </p:nvSpPr>
        <p:spPr/>
        <p:txBody>
          <a:bodyPr/>
          <a:lstStyle/>
          <a:p>
            <a:r>
              <a:rPr lang="en-US"/>
              <a:t>2015-08-27 </a:t>
            </a:r>
            <a:endParaRPr lang="en-US" dirty="0"/>
          </a:p>
        </p:txBody>
      </p:sp>
      <p:sp>
        <p:nvSpPr>
          <p:cNvPr id="5" name="Slide Number Placeholder 4"/>
          <p:cNvSpPr>
            <a:spLocks noGrp="1"/>
          </p:cNvSpPr>
          <p:nvPr>
            <p:ph type="sldNum" sz="quarter" idx="11"/>
          </p:nvPr>
        </p:nvSpPr>
        <p:spPr/>
        <p:txBody>
          <a:bodyPr/>
          <a:lstStyle/>
          <a:p>
            <a:fld id="{6A8D01AA-6B84-4822-9251-5F22886764D0}" type="slidenum">
              <a:rPr lang="en-US" smtClean="0"/>
              <a:t>1</a:t>
            </a:fld>
            <a:endParaRPr lang="en-US" dirty="0"/>
          </a:p>
        </p:txBody>
      </p:sp>
      <p:sp>
        <p:nvSpPr>
          <p:cNvPr id="6" name="Header Placeholder 5"/>
          <p:cNvSpPr>
            <a:spLocks noGrp="1"/>
          </p:cNvSpPr>
          <p:nvPr>
            <p:ph type="hdr" sz="quarter" idx="12"/>
          </p:nvPr>
        </p:nvSpPr>
        <p:spPr/>
        <p:txBody>
          <a:bodyPr/>
          <a:lstStyle/>
          <a:p>
            <a:r>
              <a:rPr lang="en-US"/>
              <a:t>Accelerating IoT </a:t>
            </a:r>
            <a:endParaRPr lang="en-US" dirty="0"/>
          </a:p>
        </p:txBody>
      </p:sp>
      <p:sp>
        <p:nvSpPr>
          <p:cNvPr id="7" name="Footer Placeholder 6"/>
          <p:cNvSpPr>
            <a:spLocks noGrp="1"/>
          </p:cNvSpPr>
          <p:nvPr>
            <p:ph type="ftr" sz="quarter" idx="13"/>
          </p:nvPr>
        </p:nvSpPr>
        <p:spPr/>
        <p:txBody>
          <a:bodyPr/>
          <a:lstStyle/>
          <a:p>
            <a:r>
              <a:rPr lang="en-US"/>
              <a:t>© Ericsson AB 2015 </a:t>
            </a:r>
            <a:endParaRPr lang="en-US" dirty="0"/>
          </a:p>
        </p:txBody>
      </p:sp>
    </p:spTree>
    <p:extLst>
      <p:ext uri="{BB962C8B-B14F-4D97-AF65-F5344CB8AC3E}">
        <p14:creationId xmlns:p14="http://schemas.microsoft.com/office/powerpoint/2010/main" val="424019193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inally, after everything that has happened, the truck arrives at the St. John's airport just in time and begins unloading the fresh fish.</a:t>
            </a:r>
          </a:p>
          <a:p>
            <a:endParaRPr lang="en-US" dirty="0"/>
          </a:p>
          <a:p>
            <a:r>
              <a:rPr lang="en-US" dirty="0"/>
              <a:t>In the picture, you can see that the door sensor is open (one part of the door sensor is hanging over the side of the trailer).</a:t>
            </a:r>
          </a:p>
        </p:txBody>
      </p:sp>
      <p:sp>
        <p:nvSpPr>
          <p:cNvPr id="4" name="Date Placeholder 3"/>
          <p:cNvSpPr>
            <a:spLocks noGrp="1"/>
          </p:cNvSpPr>
          <p:nvPr>
            <p:ph type="dt" idx="10"/>
          </p:nvPr>
        </p:nvSpPr>
        <p:spPr/>
        <p:txBody>
          <a:bodyPr/>
          <a:lstStyle/>
          <a:p>
            <a:r>
              <a:rPr lang="en-US"/>
              <a:t>2016-11-15 </a:t>
            </a:r>
            <a:endParaRPr lang="en-US" dirty="0"/>
          </a:p>
        </p:txBody>
      </p:sp>
      <p:sp>
        <p:nvSpPr>
          <p:cNvPr id="5" name="Slide Number Placeholder 4"/>
          <p:cNvSpPr>
            <a:spLocks noGrp="1"/>
          </p:cNvSpPr>
          <p:nvPr>
            <p:ph type="sldNum" sz="quarter" idx="11"/>
          </p:nvPr>
        </p:nvSpPr>
        <p:spPr/>
        <p:txBody>
          <a:bodyPr/>
          <a:lstStyle/>
          <a:p>
            <a:fld id="{5852353D-F306-481A-B3D0-C36CE0BF9563}" type="slidenum">
              <a:rPr lang="en-US" smtClean="0"/>
              <a:pPr/>
              <a:t>10</a:t>
            </a:fld>
            <a:endParaRPr lang="en-US" dirty="0"/>
          </a:p>
        </p:txBody>
      </p:sp>
      <p:sp>
        <p:nvSpPr>
          <p:cNvPr id="6" name="Header Placeholder 5"/>
          <p:cNvSpPr>
            <a:spLocks noGrp="1"/>
          </p:cNvSpPr>
          <p:nvPr>
            <p:ph type="hdr" sz="quarter" idx="12"/>
          </p:nvPr>
        </p:nvSpPr>
        <p:spPr/>
        <p:txBody>
          <a:bodyPr/>
          <a:lstStyle/>
          <a:p>
            <a:r>
              <a:rPr lang="en-US"/>
              <a:t> </a:t>
            </a:r>
            <a:endParaRPr lang="en-US" dirty="0"/>
          </a:p>
        </p:txBody>
      </p:sp>
      <p:sp>
        <p:nvSpPr>
          <p:cNvPr id="7" name="Footer Placeholder 6"/>
          <p:cNvSpPr>
            <a:spLocks noGrp="1"/>
          </p:cNvSpPr>
          <p:nvPr>
            <p:ph type="ftr" sz="quarter" idx="13"/>
          </p:nvPr>
        </p:nvSpPr>
        <p:spPr/>
        <p:txBody>
          <a:bodyPr/>
          <a:lstStyle/>
          <a:p>
            <a:r>
              <a:rPr lang="en-US"/>
              <a:t> </a:t>
            </a:r>
            <a:endParaRPr lang="en-US" dirty="0"/>
          </a:p>
        </p:txBody>
      </p:sp>
    </p:spTree>
    <p:extLst>
      <p:ext uri="{BB962C8B-B14F-4D97-AF65-F5344CB8AC3E}">
        <p14:creationId xmlns:p14="http://schemas.microsoft.com/office/powerpoint/2010/main" val="199298691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8" y="750888"/>
            <a:ext cx="6678612" cy="3757612"/>
          </a:xfrm>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0"/>
          </p:nvPr>
        </p:nvSpPr>
        <p:spPr/>
        <p:txBody>
          <a:bodyPr/>
          <a:lstStyle/>
          <a:p>
            <a:r>
              <a:rPr lang="en-US"/>
              <a:t>2016-11-15 </a:t>
            </a:r>
            <a:endParaRPr lang="en-US" dirty="0"/>
          </a:p>
        </p:txBody>
      </p:sp>
      <p:sp>
        <p:nvSpPr>
          <p:cNvPr id="5" name="Slide Number Placeholder 4"/>
          <p:cNvSpPr>
            <a:spLocks noGrp="1"/>
          </p:cNvSpPr>
          <p:nvPr>
            <p:ph type="sldNum" sz="quarter" idx="11"/>
          </p:nvPr>
        </p:nvSpPr>
        <p:spPr/>
        <p:txBody>
          <a:bodyPr/>
          <a:lstStyle/>
          <a:p>
            <a:fld id="{79D01380-9AE0-4E04-95A4-CFE04CD1D89F}" type="slidenum">
              <a:rPr lang="en-US" smtClean="0"/>
              <a:t>11</a:t>
            </a:fld>
            <a:endParaRPr lang="en-US" dirty="0"/>
          </a:p>
        </p:txBody>
      </p:sp>
      <p:sp>
        <p:nvSpPr>
          <p:cNvPr id="6" name="Header Placeholder 5"/>
          <p:cNvSpPr>
            <a:spLocks noGrp="1"/>
          </p:cNvSpPr>
          <p:nvPr>
            <p:ph type="hdr" sz="quarter" idx="12"/>
          </p:nvPr>
        </p:nvSpPr>
        <p:spPr/>
        <p:txBody>
          <a:bodyPr/>
          <a:lstStyle/>
          <a:p>
            <a:r>
              <a:rPr lang="en-US"/>
              <a:t> </a:t>
            </a:r>
            <a:endParaRPr lang="en-US" dirty="0"/>
          </a:p>
        </p:txBody>
      </p:sp>
      <p:sp>
        <p:nvSpPr>
          <p:cNvPr id="7" name="Footer Placeholder 6"/>
          <p:cNvSpPr>
            <a:spLocks noGrp="1"/>
          </p:cNvSpPr>
          <p:nvPr>
            <p:ph type="ftr" sz="quarter" idx="13"/>
          </p:nvPr>
        </p:nvSpPr>
        <p:spPr/>
        <p:txBody>
          <a:bodyPr/>
          <a:lstStyle/>
          <a:p>
            <a:r>
              <a:rPr lang="en-US"/>
              <a:t> </a:t>
            </a:r>
            <a:endParaRPr lang="en-US" dirty="0"/>
          </a:p>
        </p:txBody>
      </p:sp>
    </p:spTree>
    <p:extLst>
      <p:ext uri="{BB962C8B-B14F-4D97-AF65-F5344CB8AC3E}">
        <p14:creationId xmlns:p14="http://schemas.microsoft.com/office/powerpoint/2010/main" val="30284508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ransport trucking companies always need to know:</a:t>
            </a:r>
          </a:p>
          <a:p>
            <a:endParaRPr lang="en-US" dirty="0"/>
          </a:p>
          <a:p>
            <a:r>
              <a:rPr lang="en-US" dirty="0"/>
              <a:t>Where are my trailers, and is my fleet being used efficiently?  If I had the data about the location of my trailers, I could easily plan new routes and pickups, and less trailers would be left idle.</a:t>
            </a:r>
          </a:p>
          <a:p>
            <a:endParaRPr lang="en-US" dirty="0"/>
          </a:p>
          <a:p>
            <a:r>
              <a:rPr lang="en-US" dirty="0"/>
              <a:t>How can I track my trailers for maintenance?  If I knew how much mileage was on each trailer, and could track the wear and tear, I could prevent unnecessary delays caused by breakdowns and emergency maintenance. </a:t>
            </a:r>
          </a:p>
          <a:p>
            <a:endParaRPr lang="en-US" dirty="0"/>
          </a:p>
          <a:p>
            <a:r>
              <a:rPr lang="en-US" dirty="0"/>
              <a:t>How will I know if the trailers are involved in an accident or compromised?  If I knew immediately, I could make sure my drivers are safe, emergency response is dispatched, and the contents of the shipment are secure and dealt with in a timely manner.</a:t>
            </a:r>
          </a:p>
          <a:p>
            <a:endParaRPr lang="en-US" dirty="0"/>
          </a:p>
          <a:p>
            <a:r>
              <a:rPr lang="en-US" dirty="0"/>
              <a:t>How can I increase revenue?  I need new ways to use the technology in which I have invested to make more money.  Reduce the amount of time trailers are idle – make more money.  If I could measure and control the temperature, air pressure, or even the oxygen and carbon dioxide levels of the contents of my trailers, I might be able to offer new services to new customers and increase my revenue.</a:t>
            </a:r>
          </a:p>
          <a:p>
            <a:endParaRPr lang="en-US" dirty="0"/>
          </a:p>
          <a:p>
            <a:r>
              <a:rPr lang="en-US" dirty="0"/>
              <a:t>  </a:t>
            </a:r>
          </a:p>
        </p:txBody>
      </p:sp>
      <p:sp>
        <p:nvSpPr>
          <p:cNvPr id="4" name="Date Placeholder 3"/>
          <p:cNvSpPr>
            <a:spLocks noGrp="1"/>
          </p:cNvSpPr>
          <p:nvPr>
            <p:ph type="dt" idx="10"/>
          </p:nvPr>
        </p:nvSpPr>
        <p:spPr/>
        <p:txBody>
          <a:bodyPr/>
          <a:lstStyle/>
          <a:p>
            <a:r>
              <a:rPr lang="en-US"/>
              <a:t>2015-08-27 </a:t>
            </a:r>
            <a:endParaRPr lang="en-US" dirty="0"/>
          </a:p>
        </p:txBody>
      </p:sp>
      <p:sp>
        <p:nvSpPr>
          <p:cNvPr id="5" name="Slide Number Placeholder 4"/>
          <p:cNvSpPr>
            <a:spLocks noGrp="1"/>
          </p:cNvSpPr>
          <p:nvPr>
            <p:ph type="sldNum" sz="quarter" idx="11"/>
          </p:nvPr>
        </p:nvSpPr>
        <p:spPr/>
        <p:txBody>
          <a:bodyPr/>
          <a:lstStyle/>
          <a:p>
            <a:fld id="{9CD11755-CE63-4740-9753-BCC10AA8AB06}" type="slidenum">
              <a:rPr lang="en-US" smtClean="0"/>
              <a:t>2</a:t>
            </a:fld>
            <a:endParaRPr lang="en-US" dirty="0"/>
          </a:p>
        </p:txBody>
      </p:sp>
      <p:sp>
        <p:nvSpPr>
          <p:cNvPr id="6" name="Header Placeholder 5"/>
          <p:cNvSpPr>
            <a:spLocks noGrp="1"/>
          </p:cNvSpPr>
          <p:nvPr>
            <p:ph type="hdr" sz="quarter" idx="12"/>
          </p:nvPr>
        </p:nvSpPr>
        <p:spPr/>
        <p:txBody>
          <a:bodyPr/>
          <a:lstStyle/>
          <a:p>
            <a:r>
              <a:rPr lang="en-US"/>
              <a:t>Accelerating IoT </a:t>
            </a:r>
            <a:endParaRPr lang="en-US" dirty="0"/>
          </a:p>
        </p:txBody>
      </p:sp>
      <p:sp>
        <p:nvSpPr>
          <p:cNvPr id="7" name="Footer Placeholder 6"/>
          <p:cNvSpPr>
            <a:spLocks noGrp="1"/>
          </p:cNvSpPr>
          <p:nvPr>
            <p:ph type="ftr" sz="quarter" idx="13"/>
          </p:nvPr>
        </p:nvSpPr>
        <p:spPr/>
        <p:txBody>
          <a:bodyPr/>
          <a:lstStyle/>
          <a:p>
            <a:r>
              <a:rPr lang="en-US"/>
              <a:t>© Ericsson AB 2015 </a:t>
            </a:r>
            <a:endParaRPr lang="en-US" dirty="0"/>
          </a:p>
        </p:txBody>
      </p:sp>
    </p:spTree>
    <p:extLst>
      <p:ext uri="{BB962C8B-B14F-4D97-AF65-F5344CB8AC3E}">
        <p14:creationId xmlns:p14="http://schemas.microsoft.com/office/powerpoint/2010/main" val="9077888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6875" y="695325"/>
            <a:ext cx="6191250" cy="3482975"/>
          </a:xfrm>
        </p:spPr>
      </p:sp>
      <p:sp>
        <p:nvSpPr>
          <p:cNvPr id="3" name="Notes Placeholder 2"/>
          <p:cNvSpPr>
            <a:spLocks noGrp="1"/>
          </p:cNvSpPr>
          <p:nvPr>
            <p:ph type="body" idx="1"/>
          </p:nvPr>
        </p:nvSpPr>
        <p:spPr/>
        <p:txBody>
          <a:bodyPr/>
          <a:lstStyle/>
          <a:p>
            <a:pPr fontAlgn="base"/>
            <a:r>
              <a:rPr lang="en-US" sz="1200" kern="1200" dirty="0">
                <a:solidFill>
                  <a:schemeClr val="tx1"/>
                </a:solidFill>
                <a:effectLst/>
                <a:latin typeface="Arial" charset="0"/>
                <a:ea typeface="+mn-ea"/>
                <a:cs typeface="+mn-cs"/>
              </a:rPr>
              <a:t>Why would I choose this solution over the others currently available on the marketing using GSM and LTE?</a:t>
            </a:r>
          </a:p>
          <a:p>
            <a:pPr fontAlgn="base"/>
            <a:endParaRPr lang="en-US" sz="1200" kern="1200" dirty="0">
              <a:solidFill>
                <a:schemeClr val="tx1"/>
              </a:solidFill>
              <a:effectLst/>
              <a:latin typeface="Arial" charset="0"/>
              <a:ea typeface="+mn-ea"/>
              <a:cs typeface="+mn-cs"/>
            </a:endParaRPr>
          </a:p>
          <a:p>
            <a:pPr fontAlgn="base"/>
            <a:r>
              <a:rPr lang="en-US" sz="1200" kern="1200" dirty="0">
                <a:solidFill>
                  <a:schemeClr val="tx1"/>
                </a:solidFill>
                <a:effectLst/>
                <a:latin typeface="Arial" charset="0"/>
                <a:ea typeface="+mn-ea"/>
                <a:cs typeface="+mn-cs"/>
              </a:rPr>
              <a:t>Existing solutions on the market are not fully meeting customer needs.  A </a:t>
            </a:r>
            <a:r>
              <a:rPr lang="en-GB" sz="1200" kern="1200" dirty="0">
                <a:solidFill>
                  <a:schemeClr val="tx1"/>
                </a:solidFill>
                <a:effectLst/>
                <a:latin typeface="Arial" charset="0"/>
                <a:ea typeface="+mn-ea"/>
                <a:cs typeface="+mn-cs"/>
              </a:rPr>
              <a:t>refresh is required due to shutdown of GSM and limited investment in WCDMA</a:t>
            </a:r>
            <a:endParaRPr lang="en-US" sz="1200" kern="1200" dirty="0">
              <a:solidFill>
                <a:schemeClr val="tx1"/>
              </a:solidFill>
              <a:effectLst/>
              <a:latin typeface="Arial" charset="0"/>
              <a:ea typeface="+mn-ea"/>
              <a:cs typeface="+mn-cs"/>
            </a:endParaRPr>
          </a:p>
          <a:p>
            <a:pPr fontAlgn="base"/>
            <a:endParaRPr lang="en-US" sz="1200" kern="1200" dirty="0">
              <a:solidFill>
                <a:schemeClr val="tx1"/>
              </a:solidFill>
              <a:effectLst/>
              <a:latin typeface="Arial" charset="0"/>
              <a:ea typeface="+mn-ea"/>
              <a:cs typeface="+mn-cs"/>
            </a:endParaRPr>
          </a:p>
          <a:p>
            <a:pPr fontAlgn="base"/>
            <a:r>
              <a:rPr lang="en-US" sz="1200" kern="1200" dirty="0">
                <a:solidFill>
                  <a:schemeClr val="tx1"/>
                </a:solidFill>
                <a:effectLst/>
                <a:latin typeface="Arial" charset="0"/>
                <a:ea typeface="+mn-ea"/>
                <a:cs typeface="+mn-cs"/>
              </a:rPr>
              <a:t>The Ericsson CAT-M offering enables extensive reuse of site assets such as radio and modern baseband units, as well as pooling of computational resources, saving network resources and cost.</a:t>
            </a:r>
          </a:p>
          <a:p>
            <a:pPr fontAlgn="base"/>
            <a:r>
              <a:rPr lang="en-US" sz="1200" kern="1200" dirty="0">
                <a:solidFill>
                  <a:schemeClr val="tx1"/>
                </a:solidFill>
                <a:effectLst/>
                <a:latin typeface="Arial" charset="0"/>
                <a:ea typeface="+mn-ea"/>
                <a:cs typeface="+mn-cs"/>
              </a:rPr>
              <a:t>The Monarch chip is designed and optimized to support low data use, ultra low-power, cost-sensitive, narrowband </a:t>
            </a:r>
            <a:r>
              <a:rPr lang="en-US" sz="1200" kern="1200" dirty="0" err="1">
                <a:solidFill>
                  <a:schemeClr val="tx1"/>
                </a:solidFill>
                <a:effectLst/>
                <a:latin typeface="Arial" charset="0"/>
                <a:ea typeface="+mn-ea"/>
                <a:cs typeface="+mn-cs"/>
              </a:rPr>
              <a:t>IoT</a:t>
            </a:r>
            <a:r>
              <a:rPr lang="en-US" sz="1200" kern="1200" dirty="0">
                <a:solidFill>
                  <a:schemeClr val="tx1"/>
                </a:solidFill>
                <a:effectLst/>
                <a:latin typeface="Arial" charset="0"/>
                <a:ea typeface="+mn-ea"/>
                <a:cs typeface="+mn-cs"/>
              </a:rPr>
              <a:t> applications </a:t>
            </a:r>
          </a:p>
          <a:p>
            <a:pPr fontAlgn="base"/>
            <a:endParaRPr lang="en-US" sz="1200" kern="1200" dirty="0">
              <a:solidFill>
                <a:schemeClr val="tx1"/>
              </a:solidFill>
              <a:effectLst/>
              <a:latin typeface="Arial" charset="0"/>
              <a:ea typeface="+mn-ea"/>
              <a:cs typeface="+mn-cs"/>
            </a:endParaRPr>
          </a:p>
          <a:p>
            <a:pPr fontAlgn="base"/>
            <a:r>
              <a:rPr lang="en-US" sz="1200" kern="1200" dirty="0">
                <a:solidFill>
                  <a:schemeClr val="tx1"/>
                </a:solidFill>
                <a:effectLst/>
                <a:latin typeface="Arial" charset="0"/>
                <a:ea typeface="+mn-ea"/>
                <a:cs typeface="+mn-cs"/>
              </a:rPr>
              <a:t>The </a:t>
            </a:r>
            <a:r>
              <a:rPr lang="en-US" sz="1200" kern="1200" dirty="0" err="1">
                <a:solidFill>
                  <a:schemeClr val="tx1"/>
                </a:solidFill>
                <a:effectLst/>
                <a:latin typeface="Arial" charset="0"/>
                <a:ea typeface="+mn-ea"/>
                <a:cs typeface="+mn-cs"/>
              </a:rPr>
              <a:t>Sequans</a:t>
            </a:r>
            <a:r>
              <a:rPr lang="en-US" sz="1200" kern="1200" dirty="0">
                <a:solidFill>
                  <a:schemeClr val="tx1"/>
                </a:solidFill>
                <a:effectLst/>
                <a:latin typeface="Arial" charset="0"/>
                <a:ea typeface="+mn-ea"/>
                <a:cs typeface="+mn-cs"/>
              </a:rPr>
              <a:t> Monarch chip supports Dynamic Power Management (DPM), that dynamically adapts chip-level power profiles in real time based on traffic patterns and use cases, making possible 10-15 years of battery life in real-world </a:t>
            </a:r>
            <a:r>
              <a:rPr lang="en-US" sz="1200" kern="1200" dirty="0" err="1">
                <a:solidFill>
                  <a:schemeClr val="tx1"/>
                </a:solidFill>
                <a:effectLst/>
                <a:latin typeface="Arial" charset="0"/>
                <a:ea typeface="+mn-ea"/>
                <a:cs typeface="+mn-cs"/>
              </a:rPr>
              <a:t>IoT</a:t>
            </a:r>
            <a:r>
              <a:rPr lang="en-US" sz="1200" kern="1200" dirty="0">
                <a:solidFill>
                  <a:schemeClr val="tx1"/>
                </a:solidFill>
                <a:effectLst/>
                <a:latin typeface="Arial" charset="0"/>
                <a:ea typeface="+mn-ea"/>
                <a:cs typeface="+mn-cs"/>
              </a:rPr>
              <a:t> applications. </a:t>
            </a:r>
            <a:r>
              <a:rPr lang="en-US" dirty="0">
                <a:effectLst/>
              </a:rPr>
              <a:t>Existing solutions were cost prohibitive.</a:t>
            </a:r>
            <a:endParaRPr lang="en-US" sz="1200" kern="1200" dirty="0">
              <a:solidFill>
                <a:schemeClr val="tx1"/>
              </a:solidFill>
              <a:effectLst/>
              <a:latin typeface="Arial" charset="0"/>
              <a:ea typeface="+mn-ea"/>
              <a:cs typeface="+mn-cs"/>
            </a:endParaRPr>
          </a:p>
          <a:p>
            <a:pPr fontAlgn="base"/>
            <a:endParaRPr lang="en-US" sz="1200" kern="1200" dirty="0">
              <a:solidFill>
                <a:schemeClr val="tx1"/>
              </a:solidFill>
              <a:effectLst/>
              <a:latin typeface="Arial" charset="0"/>
              <a:ea typeface="+mn-ea"/>
              <a:cs typeface="+mn-cs"/>
            </a:endParaRPr>
          </a:p>
          <a:p>
            <a:pPr fontAlgn="base"/>
            <a:r>
              <a:rPr lang="en-US" dirty="0">
                <a:effectLst/>
              </a:rPr>
              <a:t>CAT-M supports the first wave of </a:t>
            </a:r>
            <a:r>
              <a:rPr lang="en-US" dirty="0" err="1">
                <a:effectLst/>
              </a:rPr>
              <a:t>IoT</a:t>
            </a:r>
            <a:r>
              <a:rPr lang="en-US" dirty="0">
                <a:effectLst/>
              </a:rPr>
              <a:t> use cases requiring 15-20 dB extended coverage as compared to today’s baselines GSM and LTE.  </a:t>
            </a:r>
          </a:p>
          <a:p>
            <a:pPr fontAlgn="base"/>
            <a:endParaRPr lang="en-US" sz="1200" kern="1200" dirty="0">
              <a:solidFill>
                <a:schemeClr val="tx1"/>
              </a:solidFill>
              <a:effectLst/>
              <a:latin typeface="Arial" charset="0"/>
              <a:ea typeface="+mn-ea"/>
              <a:cs typeface="+mn-cs"/>
            </a:endParaRPr>
          </a:p>
          <a:p>
            <a:pPr fontAlgn="base"/>
            <a:r>
              <a:rPr lang="en-US" sz="1200" kern="1200" dirty="0">
                <a:solidFill>
                  <a:schemeClr val="tx1"/>
                </a:solidFill>
                <a:effectLst/>
                <a:latin typeface="Arial" charset="0"/>
                <a:ea typeface="+mn-ea"/>
                <a:cs typeface="+mn-cs"/>
              </a:rPr>
              <a:t>The solution enables separation of resources for mobile broadband and </a:t>
            </a:r>
            <a:r>
              <a:rPr lang="en-US" sz="1200" kern="1200" dirty="0" err="1">
                <a:solidFill>
                  <a:schemeClr val="tx1"/>
                </a:solidFill>
                <a:effectLst/>
                <a:latin typeface="Arial" charset="0"/>
                <a:ea typeface="+mn-ea"/>
                <a:cs typeface="+mn-cs"/>
              </a:rPr>
              <a:t>IoT</a:t>
            </a:r>
            <a:r>
              <a:rPr lang="en-US" sz="1200" kern="1200" dirty="0">
                <a:solidFill>
                  <a:schemeClr val="tx1"/>
                </a:solidFill>
                <a:effectLst/>
                <a:latin typeface="Arial" charset="0"/>
                <a:ea typeface="+mn-ea"/>
                <a:cs typeface="+mn-cs"/>
              </a:rPr>
              <a:t> as well as the flexibility and scalability needed for the predicted growth of </a:t>
            </a:r>
            <a:r>
              <a:rPr lang="en-US" sz="1200" kern="1200" dirty="0" err="1">
                <a:solidFill>
                  <a:schemeClr val="tx1"/>
                </a:solidFill>
                <a:effectLst/>
                <a:latin typeface="Arial" charset="0"/>
                <a:ea typeface="+mn-ea"/>
                <a:cs typeface="+mn-cs"/>
              </a:rPr>
              <a:t>IoT</a:t>
            </a:r>
            <a:r>
              <a:rPr lang="en-US" sz="1200" kern="1200" dirty="0">
                <a:solidFill>
                  <a:schemeClr val="tx1"/>
                </a:solidFill>
                <a:effectLst/>
                <a:latin typeface="Arial" charset="0"/>
                <a:ea typeface="+mn-ea"/>
                <a:cs typeface="+mn-cs"/>
              </a:rPr>
              <a:t>.</a:t>
            </a:r>
          </a:p>
        </p:txBody>
      </p:sp>
      <p:sp>
        <p:nvSpPr>
          <p:cNvPr id="4" name="Date Placeholder 3"/>
          <p:cNvSpPr>
            <a:spLocks noGrp="1"/>
          </p:cNvSpPr>
          <p:nvPr>
            <p:ph type="dt" idx="10"/>
          </p:nvPr>
        </p:nvSpPr>
        <p:spPr/>
        <p:txBody>
          <a:bodyPr/>
          <a:lstStyle/>
          <a:p>
            <a:pPr>
              <a:defRPr/>
            </a:pPr>
            <a:r>
              <a:rPr lang="en-US">
                <a:solidFill>
                  <a:prstClr val="black"/>
                </a:solidFill>
              </a:rPr>
              <a:t>2015-08-27 </a:t>
            </a:r>
            <a:endParaRPr lang="en-US" dirty="0">
              <a:solidFill>
                <a:prstClr val="black"/>
              </a:solidFill>
            </a:endParaRPr>
          </a:p>
        </p:txBody>
      </p:sp>
      <p:sp>
        <p:nvSpPr>
          <p:cNvPr id="5" name="Slide Number Placeholder 4"/>
          <p:cNvSpPr>
            <a:spLocks noGrp="1"/>
          </p:cNvSpPr>
          <p:nvPr>
            <p:ph type="sldNum" sz="quarter" idx="11"/>
          </p:nvPr>
        </p:nvSpPr>
        <p:spPr/>
        <p:txBody>
          <a:bodyPr/>
          <a:lstStyle/>
          <a:p>
            <a:pPr>
              <a:defRPr/>
            </a:pPr>
            <a:fld id="{C897F17B-89D0-4A9F-9AC8-9B2438E44789}" type="slidenum">
              <a:rPr lang="en-US" smtClean="0">
                <a:solidFill>
                  <a:prstClr val="black"/>
                </a:solidFill>
              </a:rPr>
              <a:t>3</a:t>
            </a:fld>
            <a:endParaRPr lang="en-US" dirty="0">
              <a:solidFill>
                <a:prstClr val="black"/>
              </a:solidFill>
            </a:endParaRPr>
          </a:p>
        </p:txBody>
      </p:sp>
      <p:sp>
        <p:nvSpPr>
          <p:cNvPr id="6" name="Header Placeholder 5"/>
          <p:cNvSpPr>
            <a:spLocks noGrp="1"/>
          </p:cNvSpPr>
          <p:nvPr>
            <p:ph type="hdr" sz="quarter" idx="12"/>
          </p:nvPr>
        </p:nvSpPr>
        <p:spPr/>
        <p:txBody>
          <a:bodyPr/>
          <a:lstStyle/>
          <a:p>
            <a:pPr>
              <a:defRPr/>
            </a:pPr>
            <a:r>
              <a:rPr lang="it-IT">
                <a:solidFill>
                  <a:prstClr val="black"/>
                </a:solidFill>
              </a:rPr>
              <a:t>Accelerating IoT </a:t>
            </a:r>
            <a:endParaRPr lang="en-US" dirty="0">
              <a:solidFill>
                <a:prstClr val="black"/>
              </a:solidFill>
            </a:endParaRPr>
          </a:p>
        </p:txBody>
      </p:sp>
      <p:sp>
        <p:nvSpPr>
          <p:cNvPr id="7" name="Footer Placeholder 6"/>
          <p:cNvSpPr>
            <a:spLocks noGrp="1"/>
          </p:cNvSpPr>
          <p:nvPr>
            <p:ph type="ftr" sz="quarter" idx="13"/>
          </p:nvPr>
        </p:nvSpPr>
        <p:spPr/>
        <p:txBody>
          <a:bodyPr/>
          <a:lstStyle/>
          <a:p>
            <a:pPr>
              <a:defRPr/>
            </a:pPr>
            <a:r>
              <a:rPr lang="en-US">
                <a:solidFill>
                  <a:prstClr val="black"/>
                </a:solidFill>
              </a:rPr>
              <a:t>© Ericsson AB 2015 </a:t>
            </a:r>
            <a:endParaRPr lang="en-US" dirty="0">
              <a:solidFill>
                <a:prstClr val="black"/>
              </a:solidFill>
            </a:endParaRPr>
          </a:p>
        </p:txBody>
      </p:sp>
    </p:spTree>
    <p:extLst>
      <p:ext uri="{BB962C8B-B14F-4D97-AF65-F5344CB8AC3E}">
        <p14:creationId xmlns:p14="http://schemas.microsoft.com/office/powerpoint/2010/main" val="2173524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Date Placeholder 3"/>
          <p:cNvSpPr>
            <a:spLocks noGrp="1"/>
          </p:cNvSpPr>
          <p:nvPr>
            <p:ph type="dt" idx="10"/>
          </p:nvPr>
        </p:nvSpPr>
        <p:spPr/>
        <p:txBody>
          <a:bodyPr/>
          <a:lstStyle/>
          <a:p>
            <a:r>
              <a:rPr lang="en-US"/>
              <a:t>2016-09-25 </a:t>
            </a:r>
            <a:endParaRPr lang="en-US" dirty="0"/>
          </a:p>
        </p:txBody>
      </p:sp>
      <p:sp>
        <p:nvSpPr>
          <p:cNvPr id="5" name="Slide Number Placeholder 4"/>
          <p:cNvSpPr>
            <a:spLocks noGrp="1"/>
          </p:cNvSpPr>
          <p:nvPr>
            <p:ph type="sldNum" sz="quarter" idx="11"/>
          </p:nvPr>
        </p:nvSpPr>
        <p:spPr/>
        <p:txBody>
          <a:bodyPr/>
          <a:lstStyle/>
          <a:p>
            <a:fld id="{5852353D-F306-481A-B3D0-C36CE0BF9563}" type="slidenum">
              <a:rPr lang="en-US" smtClean="0"/>
              <a:pPr/>
              <a:t>4</a:t>
            </a:fld>
            <a:endParaRPr lang="en-US" dirty="0"/>
          </a:p>
        </p:txBody>
      </p:sp>
      <p:sp>
        <p:nvSpPr>
          <p:cNvPr id="6" name="Header Placeholder 5"/>
          <p:cNvSpPr>
            <a:spLocks noGrp="1"/>
          </p:cNvSpPr>
          <p:nvPr>
            <p:ph type="hdr" sz="quarter" idx="12"/>
          </p:nvPr>
        </p:nvSpPr>
        <p:spPr/>
        <p:txBody>
          <a:bodyPr/>
          <a:lstStyle/>
          <a:p>
            <a:r>
              <a:rPr lang="en-US"/>
              <a:t>GSMA CAT M1 DEMO PROPOSAL </a:t>
            </a:r>
            <a:endParaRPr lang="en-US" dirty="0"/>
          </a:p>
        </p:txBody>
      </p:sp>
      <p:sp>
        <p:nvSpPr>
          <p:cNvPr id="7" name="Footer Placeholder 6"/>
          <p:cNvSpPr>
            <a:spLocks noGrp="1"/>
          </p:cNvSpPr>
          <p:nvPr>
            <p:ph type="ftr" sz="quarter" idx="13"/>
          </p:nvPr>
        </p:nvSpPr>
        <p:spPr/>
        <p:txBody>
          <a:bodyPr/>
          <a:lstStyle/>
          <a:p>
            <a:r>
              <a:rPr lang="en-US"/>
              <a:t> </a:t>
            </a:r>
            <a:endParaRPr lang="en-US" dirty="0"/>
          </a:p>
        </p:txBody>
      </p:sp>
    </p:spTree>
    <p:extLst>
      <p:ext uri="{BB962C8B-B14F-4D97-AF65-F5344CB8AC3E}">
        <p14:creationId xmlns:p14="http://schemas.microsoft.com/office/powerpoint/2010/main" val="373756431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r>
              <a:rPr lang="en-US"/>
              <a:t>2016-11-15 </a:t>
            </a:r>
            <a:endParaRPr lang="en-US" dirty="0"/>
          </a:p>
        </p:txBody>
      </p:sp>
      <p:sp>
        <p:nvSpPr>
          <p:cNvPr id="5" name="Slide Number Placeholder 4"/>
          <p:cNvSpPr>
            <a:spLocks noGrp="1"/>
          </p:cNvSpPr>
          <p:nvPr>
            <p:ph type="sldNum" sz="quarter" idx="11"/>
          </p:nvPr>
        </p:nvSpPr>
        <p:spPr/>
        <p:txBody>
          <a:bodyPr/>
          <a:lstStyle/>
          <a:p>
            <a:fld id="{5852353D-F306-481A-B3D0-C36CE0BF9563}" type="slidenum">
              <a:rPr lang="en-US" smtClean="0"/>
              <a:pPr/>
              <a:t>5</a:t>
            </a:fld>
            <a:endParaRPr lang="en-US" dirty="0"/>
          </a:p>
        </p:txBody>
      </p:sp>
      <p:sp>
        <p:nvSpPr>
          <p:cNvPr id="6" name="Header Placeholder 5"/>
          <p:cNvSpPr>
            <a:spLocks noGrp="1"/>
          </p:cNvSpPr>
          <p:nvPr>
            <p:ph type="hdr" sz="quarter" idx="12"/>
          </p:nvPr>
        </p:nvSpPr>
        <p:spPr/>
        <p:txBody>
          <a:bodyPr/>
          <a:lstStyle/>
          <a:p>
            <a:r>
              <a:rPr lang="en-US"/>
              <a:t> </a:t>
            </a:r>
            <a:endParaRPr lang="en-US" dirty="0"/>
          </a:p>
        </p:txBody>
      </p:sp>
      <p:sp>
        <p:nvSpPr>
          <p:cNvPr id="7" name="Footer Placeholder 6"/>
          <p:cNvSpPr>
            <a:spLocks noGrp="1"/>
          </p:cNvSpPr>
          <p:nvPr>
            <p:ph type="ftr" sz="quarter" idx="13"/>
          </p:nvPr>
        </p:nvSpPr>
        <p:spPr/>
        <p:txBody>
          <a:bodyPr/>
          <a:lstStyle/>
          <a:p>
            <a:r>
              <a:rPr lang="en-US"/>
              <a:t> </a:t>
            </a:r>
            <a:endParaRPr lang="en-US" dirty="0"/>
          </a:p>
        </p:txBody>
      </p:sp>
    </p:spTree>
    <p:extLst>
      <p:ext uri="{BB962C8B-B14F-4D97-AF65-F5344CB8AC3E}">
        <p14:creationId xmlns:p14="http://schemas.microsoft.com/office/powerpoint/2010/main" val="34454232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resh fish has to be delivered from the fish processing plant to the St. John's airport, 9 km away, in a timely manner, so that the fish can arrive in Toronto in plenty of time to be cooked for supper.  </a:t>
            </a:r>
          </a:p>
          <a:p>
            <a:endParaRPr lang="en-US" dirty="0"/>
          </a:p>
          <a:p>
            <a:r>
              <a:rPr lang="en-US" dirty="0"/>
              <a:t>At the fish plant, the truck's doors are opened so that the fresh fish can be loaded into the trailer.  The trailer must be kept between 0ºC and 5ºC.  If the fish is kept at temperatures outside of this range for too long, it may spoil.</a:t>
            </a:r>
          </a:p>
          <a:p>
            <a:endParaRPr lang="en-US" dirty="0"/>
          </a:p>
          <a:p>
            <a:r>
              <a:rPr lang="en-US" dirty="0"/>
              <a:t>In the picture, you can see that the door sensor is open (one part of the door sensor is hanging over the side of the trailer).</a:t>
            </a:r>
          </a:p>
        </p:txBody>
      </p:sp>
      <p:sp>
        <p:nvSpPr>
          <p:cNvPr id="4" name="Date Placeholder 3"/>
          <p:cNvSpPr>
            <a:spLocks noGrp="1"/>
          </p:cNvSpPr>
          <p:nvPr>
            <p:ph type="dt" idx="10"/>
          </p:nvPr>
        </p:nvSpPr>
        <p:spPr/>
        <p:txBody>
          <a:bodyPr/>
          <a:lstStyle/>
          <a:p>
            <a:r>
              <a:rPr lang="en-US"/>
              <a:t>2016-11-15 </a:t>
            </a:r>
            <a:endParaRPr lang="en-US" dirty="0"/>
          </a:p>
        </p:txBody>
      </p:sp>
      <p:sp>
        <p:nvSpPr>
          <p:cNvPr id="5" name="Slide Number Placeholder 4"/>
          <p:cNvSpPr>
            <a:spLocks noGrp="1"/>
          </p:cNvSpPr>
          <p:nvPr>
            <p:ph type="sldNum" sz="quarter" idx="11"/>
          </p:nvPr>
        </p:nvSpPr>
        <p:spPr/>
        <p:txBody>
          <a:bodyPr/>
          <a:lstStyle/>
          <a:p>
            <a:fld id="{5852353D-F306-481A-B3D0-C36CE0BF9563}" type="slidenum">
              <a:rPr lang="en-US" smtClean="0"/>
              <a:pPr/>
              <a:t>6</a:t>
            </a:fld>
            <a:endParaRPr lang="en-US" dirty="0"/>
          </a:p>
        </p:txBody>
      </p:sp>
      <p:sp>
        <p:nvSpPr>
          <p:cNvPr id="6" name="Header Placeholder 5"/>
          <p:cNvSpPr>
            <a:spLocks noGrp="1"/>
          </p:cNvSpPr>
          <p:nvPr>
            <p:ph type="hdr" sz="quarter" idx="12"/>
          </p:nvPr>
        </p:nvSpPr>
        <p:spPr/>
        <p:txBody>
          <a:bodyPr/>
          <a:lstStyle/>
          <a:p>
            <a:r>
              <a:rPr lang="en-US"/>
              <a:t> </a:t>
            </a:r>
            <a:endParaRPr lang="en-US" dirty="0"/>
          </a:p>
        </p:txBody>
      </p:sp>
      <p:sp>
        <p:nvSpPr>
          <p:cNvPr id="7" name="Footer Placeholder 6"/>
          <p:cNvSpPr>
            <a:spLocks noGrp="1"/>
          </p:cNvSpPr>
          <p:nvPr>
            <p:ph type="ftr" sz="quarter" idx="13"/>
          </p:nvPr>
        </p:nvSpPr>
        <p:spPr/>
        <p:txBody>
          <a:bodyPr/>
          <a:lstStyle/>
          <a:p>
            <a:r>
              <a:rPr lang="en-US"/>
              <a:t> </a:t>
            </a:r>
            <a:endParaRPr lang="en-US" dirty="0"/>
          </a:p>
        </p:txBody>
      </p:sp>
    </p:spTree>
    <p:extLst>
      <p:ext uri="{BB962C8B-B14F-4D97-AF65-F5344CB8AC3E}">
        <p14:creationId xmlns:p14="http://schemas.microsoft.com/office/powerpoint/2010/main" val="375464288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ile in transit to the airport, the temperature in the trailer rises above 5ºC, threatening the freshness of the fish.</a:t>
            </a:r>
          </a:p>
          <a:p>
            <a:endParaRPr lang="en-US" dirty="0"/>
          </a:p>
          <a:p>
            <a:r>
              <a:rPr lang="en-US" dirty="0"/>
              <a:t>Scott is holding the temperature sensor between his thumb and forefinger in order to heat it up to trigger the alarm.</a:t>
            </a:r>
          </a:p>
        </p:txBody>
      </p:sp>
      <p:sp>
        <p:nvSpPr>
          <p:cNvPr id="4" name="Date Placeholder 3"/>
          <p:cNvSpPr>
            <a:spLocks noGrp="1"/>
          </p:cNvSpPr>
          <p:nvPr>
            <p:ph type="dt" idx="10"/>
          </p:nvPr>
        </p:nvSpPr>
        <p:spPr/>
        <p:txBody>
          <a:bodyPr/>
          <a:lstStyle/>
          <a:p>
            <a:r>
              <a:rPr lang="en-US"/>
              <a:t>2016-11-15 </a:t>
            </a:r>
            <a:endParaRPr lang="en-US" dirty="0"/>
          </a:p>
        </p:txBody>
      </p:sp>
      <p:sp>
        <p:nvSpPr>
          <p:cNvPr id="5" name="Slide Number Placeholder 4"/>
          <p:cNvSpPr>
            <a:spLocks noGrp="1"/>
          </p:cNvSpPr>
          <p:nvPr>
            <p:ph type="sldNum" sz="quarter" idx="11"/>
          </p:nvPr>
        </p:nvSpPr>
        <p:spPr/>
        <p:txBody>
          <a:bodyPr/>
          <a:lstStyle/>
          <a:p>
            <a:fld id="{5852353D-F306-481A-B3D0-C36CE0BF9563}" type="slidenum">
              <a:rPr lang="en-US" smtClean="0"/>
              <a:pPr/>
              <a:t>7</a:t>
            </a:fld>
            <a:endParaRPr lang="en-US" dirty="0"/>
          </a:p>
        </p:txBody>
      </p:sp>
      <p:sp>
        <p:nvSpPr>
          <p:cNvPr id="6" name="Header Placeholder 5"/>
          <p:cNvSpPr>
            <a:spLocks noGrp="1"/>
          </p:cNvSpPr>
          <p:nvPr>
            <p:ph type="hdr" sz="quarter" idx="12"/>
          </p:nvPr>
        </p:nvSpPr>
        <p:spPr/>
        <p:txBody>
          <a:bodyPr/>
          <a:lstStyle/>
          <a:p>
            <a:r>
              <a:rPr lang="en-US"/>
              <a:t> </a:t>
            </a:r>
            <a:endParaRPr lang="en-US" dirty="0"/>
          </a:p>
        </p:txBody>
      </p:sp>
      <p:sp>
        <p:nvSpPr>
          <p:cNvPr id="7" name="Footer Placeholder 6"/>
          <p:cNvSpPr>
            <a:spLocks noGrp="1"/>
          </p:cNvSpPr>
          <p:nvPr>
            <p:ph type="ftr" sz="quarter" idx="13"/>
          </p:nvPr>
        </p:nvSpPr>
        <p:spPr/>
        <p:txBody>
          <a:bodyPr/>
          <a:lstStyle/>
          <a:p>
            <a:r>
              <a:rPr lang="en-US"/>
              <a:t> </a:t>
            </a:r>
            <a:endParaRPr lang="en-US" dirty="0"/>
          </a:p>
        </p:txBody>
      </p:sp>
    </p:spTree>
    <p:extLst>
      <p:ext uri="{BB962C8B-B14F-4D97-AF65-F5344CB8AC3E}">
        <p14:creationId xmlns:p14="http://schemas.microsoft.com/office/powerpoint/2010/main" val="157525076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h no!  Now the trailer has been cooled too much!  The fish might freeze.  </a:t>
            </a:r>
          </a:p>
          <a:p>
            <a:endParaRPr lang="en-US" dirty="0"/>
          </a:p>
          <a:p>
            <a:r>
              <a:rPr lang="en-US" dirty="0"/>
              <a:t>The temperature sensor was cooled by blowing on it with a can of compressed air.</a:t>
            </a:r>
          </a:p>
        </p:txBody>
      </p:sp>
      <p:sp>
        <p:nvSpPr>
          <p:cNvPr id="4" name="Date Placeholder 3"/>
          <p:cNvSpPr>
            <a:spLocks noGrp="1"/>
          </p:cNvSpPr>
          <p:nvPr>
            <p:ph type="dt" idx="10"/>
          </p:nvPr>
        </p:nvSpPr>
        <p:spPr/>
        <p:txBody>
          <a:bodyPr/>
          <a:lstStyle/>
          <a:p>
            <a:r>
              <a:rPr lang="en-US"/>
              <a:t>2016-11-15 </a:t>
            </a:r>
            <a:endParaRPr lang="en-US" dirty="0"/>
          </a:p>
        </p:txBody>
      </p:sp>
      <p:sp>
        <p:nvSpPr>
          <p:cNvPr id="5" name="Slide Number Placeholder 4"/>
          <p:cNvSpPr>
            <a:spLocks noGrp="1"/>
          </p:cNvSpPr>
          <p:nvPr>
            <p:ph type="sldNum" sz="quarter" idx="11"/>
          </p:nvPr>
        </p:nvSpPr>
        <p:spPr/>
        <p:txBody>
          <a:bodyPr/>
          <a:lstStyle/>
          <a:p>
            <a:fld id="{5852353D-F306-481A-B3D0-C36CE0BF9563}" type="slidenum">
              <a:rPr lang="en-US" smtClean="0"/>
              <a:pPr/>
              <a:t>8</a:t>
            </a:fld>
            <a:endParaRPr lang="en-US" dirty="0"/>
          </a:p>
        </p:txBody>
      </p:sp>
      <p:sp>
        <p:nvSpPr>
          <p:cNvPr id="6" name="Header Placeholder 5"/>
          <p:cNvSpPr>
            <a:spLocks noGrp="1"/>
          </p:cNvSpPr>
          <p:nvPr>
            <p:ph type="hdr" sz="quarter" idx="12"/>
          </p:nvPr>
        </p:nvSpPr>
        <p:spPr/>
        <p:txBody>
          <a:bodyPr/>
          <a:lstStyle/>
          <a:p>
            <a:r>
              <a:rPr lang="en-US"/>
              <a:t> </a:t>
            </a:r>
            <a:endParaRPr lang="en-US" dirty="0"/>
          </a:p>
        </p:txBody>
      </p:sp>
      <p:sp>
        <p:nvSpPr>
          <p:cNvPr id="7" name="Footer Placeholder 6"/>
          <p:cNvSpPr>
            <a:spLocks noGrp="1"/>
          </p:cNvSpPr>
          <p:nvPr>
            <p:ph type="ftr" sz="quarter" idx="13"/>
          </p:nvPr>
        </p:nvSpPr>
        <p:spPr/>
        <p:txBody>
          <a:bodyPr/>
          <a:lstStyle/>
          <a:p>
            <a:r>
              <a:rPr lang="en-US"/>
              <a:t> </a:t>
            </a:r>
            <a:endParaRPr lang="en-US" dirty="0"/>
          </a:p>
        </p:txBody>
      </p:sp>
    </p:spTree>
    <p:extLst>
      <p:ext uri="{BB962C8B-B14F-4D97-AF65-F5344CB8AC3E}">
        <p14:creationId xmlns:p14="http://schemas.microsoft.com/office/powerpoint/2010/main" val="378941412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ops!  The truck has rolled-over and the doors have broken open.</a:t>
            </a:r>
          </a:p>
          <a:p>
            <a:endParaRPr lang="en-US" dirty="0"/>
          </a:p>
          <a:p>
            <a:r>
              <a:rPr lang="en-US" dirty="0"/>
              <a:t>Our model trailer was turned on its side, triggering both the tilt sensor and the door sensor.</a:t>
            </a:r>
          </a:p>
        </p:txBody>
      </p:sp>
      <p:sp>
        <p:nvSpPr>
          <p:cNvPr id="4" name="Date Placeholder 3"/>
          <p:cNvSpPr>
            <a:spLocks noGrp="1"/>
          </p:cNvSpPr>
          <p:nvPr>
            <p:ph type="dt" idx="10"/>
          </p:nvPr>
        </p:nvSpPr>
        <p:spPr/>
        <p:txBody>
          <a:bodyPr/>
          <a:lstStyle/>
          <a:p>
            <a:r>
              <a:rPr lang="en-US"/>
              <a:t>2016-11-15 </a:t>
            </a:r>
            <a:endParaRPr lang="en-US" dirty="0"/>
          </a:p>
        </p:txBody>
      </p:sp>
      <p:sp>
        <p:nvSpPr>
          <p:cNvPr id="5" name="Slide Number Placeholder 4"/>
          <p:cNvSpPr>
            <a:spLocks noGrp="1"/>
          </p:cNvSpPr>
          <p:nvPr>
            <p:ph type="sldNum" sz="quarter" idx="11"/>
          </p:nvPr>
        </p:nvSpPr>
        <p:spPr/>
        <p:txBody>
          <a:bodyPr/>
          <a:lstStyle/>
          <a:p>
            <a:fld id="{5852353D-F306-481A-B3D0-C36CE0BF9563}" type="slidenum">
              <a:rPr lang="en-US" smtClean="0"/>
              <a:pPr/>
              <a:t>9</a:t>
            </a:fld>
            <a:endParaRPr lang="en-US" dirty="0"/>
          </a:p>
        </p:txBody>
      </p:sp>
      <p:sp>
        <p:nvSpPr>
          <p:cNvPr id="6" name="Header Placeholder 5"/>
          <p:cNvSpPr>
            <a:spLocks noGrp="1"/>
          </p:cNvSpPr>
          <p:nvPr>
            <p:ph type="hdr" sz="quarter" idx="12"/>
          </p:nvPr>
        </p:nvSpPr>
        <p:spPr/>
        <p:txBody>
          <a:bodyPr/>
          <a:lstStyle/>
          <a:p>
            <a:r>
              <a:rPr lang="en-US"/>
              <a:t> </a:t>
            </a:r>
            <a:endParaRPr lang="en-US" dirty="0"/>
          </a:p>
        </p:txBody>
      </p:sp>
      <p:sp>
        <p:nvSpPr>
          <p:cNvPr id="7" name="Footer Placeholder 6"/>
          <p:cNvSpPr>
            <a:spLocks noGrp="1"/>
          </p:cNvSpPr>
          <p:nvPr>
            <p:ph type="ftr" sz="quarter" idx="13"/>
          </p:nvPr>
        </p:nvSpPr>
        <p:spPr/>
        <p:txBody>
          <a:bodyPr/>
          <a:lstStyle/>
          <a:p>
            <a:r>
              <a:rPr lang="en-US"/>
              <a:t> </a:t>
            </a:r>
            <a:endParaRPr lang="en-US" dirty="0"/>
          </a:p>
        </p:txBody>
      </p:sp>
    </p:spTree>
    <p:extLst>
      <p:ext uri="{BB962C8B-B14F-4D97-AF65-F5344CB8AC3E}">
        <p14:creationId xmlns:p14="http://schemas.microsoft.com/office/powerpoint/2010/main" val="406982163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Page">
    <p:spTree>
      <p:nvGrpSpPr>
        <p:cNvPr id="1" name=""/>
        <p:cNvGrpSpPr/>
        <p:nvPr/>
      </p:nvGrpSpPr>
      <p:grpSpPr>
        <a:xfrm>
          <a:off x="0" y="0"/>
          <a:ext cx="0" cy="0"/>
          <a:chOff x="0" y="0"/>
          <a:chExt cx="0" cy="0"/>
        </a:xfrm>
      </p:grpSpPr>
      <p:sp>
        <p:nvSpPr>
          <p:cNvPr id="22532" name="LeftInfo"/>
          <p:cNvSpPr txBox="1">
            <a:spLocks noChangeArrowheads="1"/>
          </p:cNvSpPr>
          <p:nvPr/>
        </p:nvSpPr>
        <p:spPr bwMode="auto">
          <a:xfrm>
            <a:off x="-2019299" y="2828876"/>
            <a:ext cx="1968500" cy="3416320"/>
          </a:xfrm>
          <a:prstGeom prst="rect">
            <a:avLst/>
          </a:prstGeom>
          <a:noFill/>
          <a:ln w="9525">
            <a:noFill/>
            <a:miter lim="800000"/>
            <a:headEnd/>
            <a:tailEnd/>
          </a:ln>
          <a:effectLst/>
        </p:spPr>
        <p:txBody>
          <a:bodyPr>
            <a:spAutoFit/>
          </a:bodyPr>
          <a:lstStyle/>
          <a:p>
            <a:pPr algn="r">
              <a:spcBef>
                <a:spcPct val="0"/>
              </a:spcBef>
            </a:pPr>
            <a:r>
              <a:rPr lang="en-US" sz="1200" dirty="0">
                <a:solidFill>
                  <a:srgbClr val="FFFFFF"/>
                </a:solidFill>
              </a:rPr>
              <a:t>Slide title</a:t>
            </a:r>
          </a:p>
          <a:p>
            <a:pPr algn="r">
              <a:spcBef>
                <a:spcPct val="0"/>
              </a:spcBef>
            </a:pPr>
            <a:r>
              <a:rPr lang="en-US" sz="1200" dirty="0">
                <a:solidFill>
                  <a:srgbClr val="FFFFFF"/>
                </a:solidFill>
              </a:rPr>
              <a:t>70 pt</a:t>
            </a:r>
          </a:p>
          <a:p>
            <a:pPr algn="r">
              <a:spcBef>
                <a:spcPct val="0"/>
              </a:spcBef>
            </a:pPr>
            <a:endParaRPr lang="en-US" sz="1200" dirty="0">
              <a:solidFill>
                <a:srgbClr val="FFFFFF"/>
              </a:solidFill>
            </a:endParaRPr>
          </a:p>
          <a:p>
            <a:pPr algn="r">
              <a:spcBef>
                <a:spcPct val="0"/>
              </a:spcBef>
            </a:pPr>
            <a:endParaRPr lang="en-US" sz="1200" dirty="0">
              <a:solidFill>
                <a:srgbClr val="FFFFFF"/>
              </a:solidFill>
            </a:endParaRPr>
          </a:p>
          <a:p>
            <a:pPr algn="r">
              <a:spcBef>
                <a:spcPct val="0"/>
              </a:spcBef>
            </a:pPr>
            <a:endParaRPr lang="en-US" sz="1200" dirty="0">
              <a:solidFill>
                <a:srgbClr val="FFFFFF"/>
              </a:solidFill>
            </a:endParaRPr>
          </a:p>
          <a:p>
            <a:pPr algn="r">
              <a:spcBef>
                <a:spcPct val="0"/>
              </a:spcBef>
            </a:pPr>
            <a:r>
              <a:rPr lang="en-US" sz="1200" dirty="0">
                <a:solidFill>
                  <a:srgbClr val="9FB7D3"/>
                </a:solidFill>
              </a:rPr>
              <a:t>CAPITALS</a:t>
            </a:r>
          </a:p>
          <a:p>
            <a:pPr algn="r">
              <a:spcBef>
                <a:spcPct val="0"/>
              </a:spcBef>
            </a:pPr>
            <a:endParaRPr lang="en-US" sz="1200" dirty="0">
              <a:solidFill>
                <a:srgbClr val="FFFFFF"/>
              </a:solidFill>
            </a:endParaRPr>
          </a:p>
          <a:p>
            <a:pPr algn="r">
              <a:spcBef>
                <a:spcPct val="0"/>
              </a:spcBef>
            </a:pPr>
            <a:endParaRPr lang="en-US" sz="1200" dirty="0">
              <a:solidFill>
                <a:srgbClr val="FFFFFF"/>
              </a:solidFill>
            </a:endParaRPr>
          </a:p>
          <a:p>
            <a:pPr algn="r">
              <a:spcBef>
                <a:spcPct val="0"/>
              </a:spcBef>
            </a:pPr>
            <a:endParaRPr lang="en-US" sz="1200" dirty="0">
              <a:solidFill>
                <a:srgbClr val="FFFFFF"/>
              </a:solidFill>
            </a:endParaRPr>
          </a:p>
          <a:p>
            <a:pPr algn="r">
              <a:spcBef>
                <a:spcPct val="0"/>
              </a:spcBef>
            </a:pPr>
            <a:endParaRPr lang="en-US" sz="1200" dirty="0">
              <a:solidFill>
                <a:srgbClr val="FFFFFF"/>
              </a:solidFill>
            </a:endParaRPr>
          </a:p>
          <a:p>
            <a:pPr algn="r">
              <a:spcBef>
                <a:spcPct val="0"/>
              </a:spcBef>
            </a:pPr>
            <a:endParaRPr lang="en-US" sz="1200" dirty="0">
              <a:solidFill>
                <a:srgbClr val="FFFFFF"/>
              </a:solidFill>
            </a:endParaRPr>
          </a:p>
          <a:p>
            <a:pPr algn="r">
              <a:spcBef>
                <a:spcPct val="0"/>
              </a:spcBef>
            </a:pPr>
            <a:endParaRPr lang="en-US" sz="1200" dirty="0">
              <a:solidFill>
                <a:srgbClr val="FFFFFF"/>
              </a:solidFill>
            </a:endParaRPr>
          </a:p>
          <a:p>
            <a:pPr algn="r">
              <a:spcBef>
                <a:spcPct val="0"/>
              </a:spcBef>
            </a:pPr>
            <a:endParaRPr lang="en-US" sz="1200" dirty="0">
              <a:solidFill>
                <a:srgbClr val="FFFFFF"/>
              </a:solidFill>
            </a:endParaRPr>
          </a:p>
          <a:p>
            <a:pPr algn="r">
              <a:spcBef>
                <a:spcPct val="0"/>
              </a:spcBef>
            </a:pPr>
            <a:endParaRPr lang="en-US" sz="1200" dirty="0">
              <a:solidFill>
                <a:srgbClr val="FFFFFF"/>
              </a:solidFill>
            </a:endParaRPr>
          </a:p>
          <a:p>
            <a:pPr algn="r">
              <a:spcBef>
                <a:spcPct val="0"/>
              </a:spcBef>
            </a:pPr>
            <a:endParaRPr lang="en-US" sz="1200" dirty="0">
              <a:solidFill>
                <a:srgbClr val="FFFFFF"/>
              </a:solidFill>
            </a:endParaRPr>
          </a:p>
          <a:p>
            <a:pPr algn="r">
              <a:spcBef>
                <a:spcPct val="0"/>
              </a:spcBef>
            </a:pPr>
            <a:r>
              <a:rPr lang="en-US" sz="1200" dirty="0">
                <a:solidFill>
                  <a:srgbClr val="FFFFFF"/>
                </a:solidFill>
              </a:rPr>
              <a:t>Slide subtitle </a:t>
            </a:r>
          </a:p>
          <a:p>
            <a:pPr algn="r">
              <a:spcBef>
                <a:spcPct val="0"/>
              </a:spcBef>
            </a:pPr>
            <a:r>
              <a:rPr lang="en-US" sz="1200" dirty="0">
                <a:solidFill>
                  <a:srgbClr val="FFFFFF"/>
                </a:solidFill>
              </a:rPr>
              <a:t>minimum 30 pt</a:t>
            </a:r>
          </a:p>
          <a:p>
            <a:pPr algn="r">
              <a:spcBef>
                <a:spcPct val="0"/>
              </a:spcBef>
            </a:pPr>
            <a:endParaRPr lang="en-GB" sz="1200" dirty="0">
              <a:solidFill>
                <a:schemeClr val="bg1"/>
              </a:solidFill>
            </a:endParaRPr>
          </a:p>
        </p:txBody>
      </p:sp>
      <p:pic>
        <p:nvPicPr>
          <p:cNvPr id="6" name="Logo2011" descr="ERI_UF_rgb"/>
          <p:cNvPicPr>
            <a:picLocks noChangeArrowheads="1"/>
          </p:cNvPicPr>
          <p:nvPr/>
        </p:nvPicPr>
        <p:blipFill>
          <a:blip r:embed="rId2" cstate="print"/>
          <a:srcRect/>
          <a:stretch>
            <a:fillRect/>
          </a:stretch>
        </p:blipFill>
        <p:spPr bwMode="auto">
          <a:xfrm>
            <a:off x="10628483" y="432000"/>
            <a:ext cx="1027112" cy="900113"/>
          </a:xfrm>
          <a:prstGeom prst="rect">
            <a:avLst/>
          </a:prstGeom>
          <a:noFill/>
        </p:spPr>
      </p:pic>
      <p:sp>
        <p:nvSpPr>
          <p:cNvPr id="22530" name="SubTitle_TM"/>
          <p:cNvSpPr>
            <a:spLocks noGrp="1" noChangeArrowheads="1"/>
          </p:cNvSpPr>
          <p:nvPr>
            <p:ph type="subTitle" idx="1" hasCustomPrompt="1"/>
          </p:nvPr>
        </p:nvSpPr>
        <p:spPr>
          <a:xfrm>
            <a:off x="524932" y="5137201"/>
            <a:ext cx="11140019" cy="1386001"/>
          </a:xfrm>
        </p:spPr>
        <p:txBody>
          <a:bodyPr anchor="b" anchorCtr="0"/>
          <a:lstStyle>
            <a:lvl1pPr marL="0" indent="0">
              <a:lnSpc>
                <a:spcPct val="75000"/>
              </a:lnSpc>
              <a:spcBef>
                <a:spcPts val="0"/>
              </a:spcBef>
              <a:buFont typeface="Arial" charset="0"/>
              <a:buNone/>
              <a:defRPr sz="3000" baseline="0">
                <a:latin typeface="+mn-lt"/>
              </a:defRPr>
            </a:lvl1pPr>
          </a:lstStyle>
          <a:p>
            <a:r>
              <a:rPr lang="en-US" dirty="0"/>
              <a:t>Click to Add subtitle</a:t>
            </a:r>
          </a:p>
        </p:txBody>
      </p:sp>
      <p:sp>
        <p:nvSpPr>
          <p:cNvPr id="22531" name="Title_TM"/>
          <p:cNvSpPr>
            <a:spLocks noGrp="1" noChangeArrowheads="1"/>
          </p:cNvSpPr>
          <p:nvPr>
            <p:ph type="ctrTitle" hasCustomPrompt="1"/>
          </p:nvPr>
        </p:nvSpPr>
        <p:spPr>
          <a:xfrm>
            <a:off x="524934" y="1808710"/>
            <a:ext cx="11135785" cy="2839491"/>
          </a:xfrm>
        </p:spPr>
        <p:txBody>
          <a:bodyPr anchor="ctr">
            <a:normAutofit/>
          </a:bodyPr>
          <a:lstStyle>
            <a:lvl1pPr>
              <a:lnSpc>
                <a:spcPct val="75000"/>
              </a:lnSpc>
              <a:defRPr sz="7000">
                <a:latin typeface="Ericsson Capital TT"/>
              </a:defRPr>
            </a:lvl1pPr>
          </a:lstStyle>
          <a:p>
            <a:r>
              <a:rPr lang="en-US" dirty="0"/>
              <a:t>Click to add title</a:t>
            </a:r>
          </a:p>
        </p:txBody>
      </p:sp>
    </p:spTree>
  </p:cSld>
  <p:clrMapOvr>
    <a:masterClrMapping/>
  </p:clrMapOvr>
  <p:hf sldNum="0"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Header, two horizontal contents">
    <p:spTree>
      <p:nvGrpSpPr>
        <p:cNvPr id="1" name=""/>
        <p:cNvGrpSpPr/>
        <p:nvPr/>
      </p:nvGrpSpPr>
      <p:grpSpPr>
        <a:xfrm>
          <a:off x="0" y="0"/>
          <a:ext cx="0" cy="0"/>
          <a:chOff x="0" y="0"/>
          <a:chExt cx="0" cy="0"/>
        </a:xfrm>
      </p:grpSpPr>
      <p:sp>
        <p:nvSpPr>
          <p:cNvPr id="7" name="Content Placeholder 2"/>
          <p:cNvSpPr>
            <a:spLocks noGrp="1"/>
          </p:cNvSpPr>
          <p:nvPr>
            <p:ph sz="quarter" idx="11" hasCustomPrompt="1"/>
          </p:nvPr>
        </p:nvSpPr>
        <p:spPr>
          <a:xfrm>
            <a:off x="524934" y="4010025"/>
            <a:ext cx="11140017" cy="2070100"/>
          </a:xfrm>
        </p:spPr>
        <p:txBody>
          <a:bodyPr/>
          <a:lstStyle/>
          <a:p>
            <a:pPr lvl="0"/>
            <a:r>
              <a:rPr lang="sv-SE" dirty="0" err="1"/>
              <a:t>Click</a:t>
            </a:r>
            <a:r>
              <a:rPr lang="sv-SE" dirty="0"/>
              <a:t> to </a:t>
            </a:r>
            <a:r>
              <a:rPr lang="sv-SE" dirty="0" err="1"/>
              <a:t>add</a:t>
            </a:r>
            <a:r>
              <a:rPr lang="sv-SE" dirty="0"/>
              <a: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ntent Placeholder 1"/>
          <p:cNvSpPr>
            <a:spLocks noGrp="1"/>
          </p:cNvSpPr>
          <p:nvPr>
            <p:ph sz="quarter" idx="10" hasCustomPrompt="1"/>
          </p:nvPr>
        </p:nvSpPr>
        <p:spPr>
          <a:xfrm>
            <a:off x="524935" y="1795463"/>
            <a:ext cx="11140016" cy="2070100"/>
          </a:xfrm>
        </p:spPr>
        <p:txBody>
          <a:bodyPr/>
          <a:lstStyle/>
          <a:p>
            <a:pPr lvl="0"/>
            <a:r>
              <a:rPr lang="sv-SE" dirty="0" err="1"/>
              <a:t>Click</a:t>
            </a:r>
            <a:r>
              <a:rPr lang="sv-SE" dirty="0"/>
              <a:t> to </a:t>
            </a:r>
            <a:r>
              <a:rPr lang="sv-SE" dirty="0" err="1"/>
              <a:t>add</a:t>
            </a:r>
            <a:r>
              <a:rPr lang="sv-SE" dirty="0"/>
              <a: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hasCustomPrompt="1"/>
          </p:nvPr>
        </p:nvSpPr>
        <p:spPr>
          <a:xfrm>
            <a:off x="524935" y="239714"/>
            <a:ext cx="9992784" cy="1085371"/>
          </a:xfrm>
        </p:spPr>
        <p:txBody>
          <a:bodyPr/>
          <a:lstStyle/>
          <a:p>
            <a:r>
              <a:rPr lang="en-US" dirty="0"/>
              <a:t>Click to ADD title</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Header, Content over two content parts">
    <p:spTree>
      <p:nvGrpSpPr>
        <p:cNvPr id="1" name=""/>
        <p:cNvGrpSpPr/>
        <p:nvPr/>
      </p:nvGrpSpPr>
      <p:grpSpPr>
        <a:xfrm>
          <a:off x="0" y="0"/>
          <a:ext cx="0" cy="0"/>
          <a:chOff x="0" y="0"/>
          <a:chExt cx="0" cy="0"/>
        </a:xfrm>
      </p:grpSpPr>
      <p:sp>
        <p:nvSpPr>
          <p:cNvPr id="7" name="Content Placeholder 3"/>
          <p:cNvSpPr>
            <a:spLocks noGrp="1"/>
          </p:cNvSpPr>
          <p:nvPr>
            <p:ph sz="quarter" idx="11" hasCustomPrompt="1"/>
          </p:nvPr>
        </p:nvSpPr>
        <p:spPr>
          <a:xfrm>
            <a:off x="6193367" y="4010025"/>
            <a:ext cx="5471584" cy="2070100"/>
          </a:xfrm>
        </p:spPr>
        <p:txBody>
          <a:bodyPr/>
          <a:lstStyle/>
          <a:p>
            <a:pPr lvl="0"/>
            <a:r>
              <a:rPr lang="sv-SE" dirty="0" err="1"/>
              <a:t>Click</a:t>
            </a:r>
            <a:r>
              <a:rPr lang="sv-SE" dirty="0"/>
              <a:t> to </a:t>
            </a:r>
            <a:r>
              <a:rPr lang="sv-SE" dirty="0" err="1"/>
              <a:t>add</a:t>
            </a:r>
            <a:r>
              <a:rPr lang="sv-SE" dirty="0"/>
              <a: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sz="quarter" idx="12" hasCustomPrompt="1"/>
          </p:nvPr>
        </p:nvSpPr>
        <p:spPr>
          <a:xfrm>
            <a:off x="524934" y="4010025"/>
            <a:ext cx="5473700" cy="2070100"/>
          </a:xfrm>
        </p:spPr>
        <p:txBody>
          <a:bodyPr/>
          <a:lstStyle/>
          <a:p>
            <a:pPr lvl="0"/>
            <a:r>
              <a:rPr lang="sv-SE" dirty="0" err="1"/>
              <a:t>Click</a:t>
            </a:r>
            <a:r>
              <a:rPr lang="sv-SE" dirty="0"/>
              <a:t> to </a:t>
            </a:r>
            <a:r>
              <a:rPr lang="sv-SE" dirty="0" err="1"/>
              <a:t>add</a:t>
            </a:r>
            <a:r>
              <a:rPr lang="sv-SE" dirty="0"/>
              <a: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Content Placeholder 1"/>
          <p:cNvSpPr>
            <a:spLocks noGrp="1"/>
          </p:cNvSpPr>
          <p:nvPr>
            <p:ph idx="1" hasCustomPrompt="1"/>
          </p:nvPr>
        </p:nvSpPr>
        <p:spPr>
          <a:xfrm>
            <a:off x="529167" y="1795463"/>
            <a:ext cx="11135784" cy="2070100"/>
          </a:xfrm>
        </p:spPr>
        <p:txBody>
          <a:bodyPr/>
          <a:lstStyle/>
          <a:p>
            <a:pPr lvl="0"/>
            <a:r>
              <a:rPr lang="sv-SE" dirty="0" err="1"/>
              <a:t>Click</a:t>
            </a:r>
            <a:r>
              <a:rPr lang="sv-SE" dirty="0"/>
              <a:t> to </a:t>
            </a:r>
            <a:r>
              <a:rPr lang="sv-SE" dirty="0" err="1"/>
              <a:t>add</a:t>
            </a:r>
            <a:r>
              <a:rPr lang="sv-SE" dirty="0"/>
              <a: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itle 1"/>
          <p:cNvSpPr>
            <a:spLocks noGrp="1"/>
          </p:cNvSpPr>
          <p:nvPr>
            <p:ph type="title" hasCustomPrompt="1"/>
          </p:nvPr>
        </p:nvSpPr>
        <p:spPr>
          <a:xfrm>
            <a:off x="524935" y="239714"/>
            <a:ext cx="9992784" cy="1085371"/>
          </a:xfrm>
        </p:spPr>
        <p:txBody>
          <a:bodyPr/>
          <a:lstStyle/>
          <a:p>
            <a:r>
              <a:rPr lang="en-US" dirty="0"/>
              <a:t>Click to ADD title</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Header, two content parts over content.">
    <p:spTree>
      <p:nvGrpSpPr>
        <p:cNvPr id="1" name=""/>
        <p:cNvGrpSpPr/>
        <p:nvPr/>
      </p:nvGrpSpPr>
      <p:grpSpPr>
        <a:xfrm>
          <a:off x="0" y="0"/>
          <a:ext cx="0" cy="0"/>
          <a:chOff x="0" y="0"/>
          <a:chExt cx="0" cy="0"/>
        </a:xfrm>
      </p:grpSpPr>
      <p:sp>
        <p:nvSpPr>
          <p:cNvPr id="8" name="Content Placeholder 3"/>
          <p:cNvSpPr>
            <a:spLocks noGrp="1"/>
          </p:cNvSpPr>
          <p:nvPr>
            <p:ph sz="quarter" idx="12" hasCustomPrompt="1"/>
          </p:nvPr>
        </p:nvSpPr>
        <p:spPr>
          <a:xfrm>
            <a:off x="524934" y="4010025"/>
            <a:ext cx="11140017" cy="2070100"/>
          </a:xfrm>
        </p:spPr>
        <p:txBody>
          <a:bodyPr/>
          <a:lstStyle/>
          <a:p>
            <a:pPr lvl="0"/>
            <a:r>
              <a:rPr lang="sv-SE" dirty="0" err="1"/>
              <a:t>Click</a:t>
            </a:r>
            <a:r>
              <a:rPr lang="sv-SE" dirty="0"/>
              <a:t> to </a:t>
            </a:r>
            <a:r>
              <a:rPr lang="sv-SE" dirty="0" err="1"/>
              <a:t>add</a:t>
            </a:r>
            <a:r>
              <a:rPr lang="sv-SE" dirty="0"/>
              <a: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ntent Placeholder 2"/>
          <p:cNvSpPr>
            <a:spLocks noGrp="1"/>
          </p:cNvSpPr>
          <p:nvPr>
            <p:ph sz="quarter" idx="10" hasCustomPrompt="1"/>
          </p:nvPr>
        </p:nvSpPr>
        <p:spPr>
          <a:xfrm>
            <a:off x="6193367" y="1795463"/>
            <a:ext cx="5471584" cy="2070100"/>
          </a:xfrm>
        </p:spPr>
        <p:txBody>
          <a:bodyPr/>
          <a:lstStyle/>
          <a:p>
            <a:pPr lvl="0"/>
            <a:r>
              <a:rPr lang="sv-SE" dirty="0" err="1"/>
              <a:t>Click</a:t>
            </a:r>
            <a:r>
              <a:rPr lang="sv-SE" dirty="0"/>
              <a:t> to </a:t>
            </a:r>
            <a:r>
              <a:rPr lang="sv-SE" dirty="0" err="1"/>
              <a:t>add</a:t>
            </a:r>
            <a:r>
              <a:rPr lang="sv-SE" dirty="0"/>
              <a: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Content Placeholder 1"/>
          <p:cNvSpPr>
            <a:spLocks noGrp="1"/>
          </p:cNvSpPr>
          <p:nvPr>
            <p:ph idx="1" hasCustomPrompt="1"/>
          </p:nvPr>
        </p:nvSpPr>
        <p:spPr>
          <a:xfrm>
            <a:off x="529167" y="1795463"/>
            <a:ext cx="5469467" cy="2070100"/>
          </a:xfrm>
        </p:spPr>
        <p:txBody>
          <a:bodyPr/>
          <a:lstStyle/>
          <a:p>
            <a:pPr lvl="0"/>
            <a:r>
              <a:rPr lang="sv-SE" dirty="0" err="1"/>
              <a:t>Click</a:t>
            </a:r>
            <a:r>
              <a:rPr lang="sv-SE" dirty="0"/>
              <a:t> to </a:t>
            </a:r>
            <a:r>
              <a:rPr lang="sv-SE" dirty="0" err="1"/>
              <a:t>add</a:t>
            </a:r>
            <a:r>
              <a:rPr lang="sv-SE" dirty="0"/>
              <a: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itle 1"/>
          <p:cNvSpPr>
            <a:spLocks noGrp="1"/>
          </p:cNvSpPr>
          <p:nvPr>
            <p:ph type="title" hasCustomPrompt="1"/>
          </p:nvPr>
        </p:nvSpPr>
        <p:spPr>
          <a:xfrm>
            <a:off x="524935" y="239714"/>
            <a:ext cx="9992784" cy="1085371"/>
          </a:xfrm>
        </p:spPr>
        <p:txBody>
          <a:bodyPr/>
          <a:lstStyle/>
          <a:p>
            <a:r>
              <a:rPr lang="en-US" dirty="0"/>
              <a:t>Click to ADD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5" name="Content Placeholder 3"/>
          <p:cNvSpPr>
            <a:spLocks noGrp="1"/>
          </p:cNvSpPr>
          <p:nvPr>
            <p:ph sz="quarter" idx="3"/>
          </p:nvPr>
        </p:nvSpPr>
        <p:spPr>
          <a:xfrm>
            <a:off x="6193367" y="4013201"/>
            <a:ext cx="5467351" cy="20669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2"/>
          <p:cNvSpPr>
            <a:spLocks noGrp="1"/>
          </p:cNvSpPr>
          <p:nvPr>
            <p:ph sz="quarter" idx="2"/>
          </p:nvPr>
        </p:nvSpPr>
        <p:spPr>
          <a:xfrm>
            <a:off x="6193367" y="1795464"/>
            <a:ext cx="5467351" cy="206533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Content Placeholder 1"/>
          <p:cNvSpPr>
            <a:spLocks noGrp="1"/>
          </p:cNvSpPr>
          <p:nvPr>
            <p:ph sz="half" idx="1"/>
          </p:nvPr>
        </p:nvSpPr>
        <p:spPr>
          <a:xfrm>
            <a:off x="524934" y="1795463"/>
            <a:ext cx="5465233" cy="42846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a:xfrm>
            <a:off x="524935" y="239714"/>
            <a:ext cx="9992784" cy="1085371"/>
          </a:xfrm>
        </p:spPr>
        <p:txBody>
          <a:bodyPr/>
          <a:lstStyle/>
          <a:p>
            <a:r>
              <a:rPr lang="en-US"/>
              <a:t>Click to edit Master title style</a:t>
            </a:r>
          </a:p>
        </p:txBody>
      </p:sp>
    </p:spTree>
    <p:extLst>
      <p:ext uri="{BB962C8B-B14F-4D97-AF65-F5344CB8AC3E}">
        <p14:creationId xmlns:p14="http://schemas.microsoft.com/office/powerpoint/2010/main" val="2542340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AndObj" preserve="1">
  <p:cSld name="Title, 2 Content and Content">
    <p:spTree>
      <p:nvGrpSpPr>
        <p:cNvPr id="1" name=""/>
        <p:cNvGrpSpPr/>
        <p:nvPr/>
      </p:nvGrpSpPr>
      <p:grpSpPr>
        <a:xfrm>
          <a:off x="0" y="0"/>
          <a:ext cx="0" cy="0"/>
          <a:chOff x="0" y="0"/>
          <a:chExt cx="0" cy="0"/>
        </a:xfrm>
      </p:grpSpPr>
      <p:sp>
        <p:nvSpPr>
          <p:cNvPr id="5" name="Content Placeholder 3"/>
          <p:cNvSpPr>
            <a:spLocks noGrp="1"/>
          </p:cNvSpPr>
          <p:nvPr>
            <p:ph sz="half" idx="3"/>
          </p:nvPr>
        </p:nvSpPr>
        <p:spPr>
          <a:xfrm>
            <a:off x="6197601" y="1795463"/>
            <a:ext cx="5467351" cy="42846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2"/>
          <p:cNvSpPr>
            <a:spLocks noGrp="1"/>
          </p:cNvSpPr>
          <p:nvPr>
            <p:ph sz="quarter" idx="2"/>
          </p:nvPr>
        </p:nvSpPr>
        <p:spPr>
          <a:xfrm>
            <a:off x="529168" y="4013201"/>
            <a:ext cx="5465233" cy="20669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Content Placeholder 1"/>
          <p:cNvSpPr>
            <a:spLocks noGrp="1"/>
          </p:cNvSpPr>
          <p:nvPr>
            <p:ph sz="quarter" idx="1"/>
          </p:nvPr>
        </p:nvSpPr>
        <p:spPr>
          <a:xfrm>
            <a:off x="529168" y="1795464"/>
            <a:ext cx="5465233" cy="206533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a:xfrm>
            <a:off x="524935" y="239714"/>
            <a:ext cx="9992784" cy="1085371"/>
          </a:xfrm>
        </p:spPr>
        <p:txBody>
          <a:bodyPr/>
          <a:lstStyle/>
          <a:p>
            <a:r>
              <a:rPr lang="en-US"/>
              <a:t>Click to edit Master title style</a:t>
            </a:r>
          </a:p>
        </p:txBody>
      </p:sp>
    </p:spTree>
    <p:extLst>
      <p:ext uri="{BB962C8B-B14F-4D97-AF65-F5344CB8AC3E}">
        <p14:creationId xmlns:p14="http://schemas.microsoft.com/office/powerpoint/2010/main" val="42672718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fourObj" preserve="1">
  <p:cSld name="Title and 4 Content">
    <p:spTree>
      <p:nvGrpSpPr>
        <p:cNvPr id="1" name=""/>
        <p:cNvGrpSpPr/>
        <p:nvPr/>
      </p:nvGrpSpPr>
      <p:grpSpPr>
        <a:xfrm>
          <a:off x="0" y="0"/>
          <a:ext cx="0" cy="0"/>
          <a:chOff x="0" y="0"/>
          <a:chExt cx="0" cy="0"/>
        </a:xfrm>
      </p:grpSpPr>
      <p:sp>
        <p:nvSpPr>
          <p:cNvPr id="6" name="Content Placeholder 4"/>
          <p:cNvSpPr>
            <a:spLocks noGrp="1"/>
          </p:cNvSpPr>
          <p:nvPr>
            <p:ph sz="quarter" idx="4"/>
          </p:nvPr>
        </p:nvSpPr>
        <p:spPr>
          <a:xfrm>
            <a:off x="6197601" y="4022726"/>
            <a:ext cx="5467351" cy="20669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3"/>
          <p:cNvSpPr>
            <a:spLocks noGrp="1"/>
          </p:cNvSpPr>
          <p:nvPr>
            <p:ph sz="quarter" idx="3"/>
          </p:nvPr>
        </p:nvSpPr>
        <p:spPr>
          <a:xfrm>
            <a:off x="529168" y="4022726"/>
            <a:ext cx="5465233" cy="20669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2"/>
          <p:cNvSpPr>
            <a:spLocks noGrp="1"/>
          </p:cNvSpPr>
          <p:nvPr>
            <p:ph sz="quarter" idx="2"/>
          </p:nvPr>
        </p:nvSpPr>
        <p:spPr>
          <a:xfrm>
            <a:off x="6197601" y="1804989"/>
            <a:ext cx="5467351" cy="206533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Content Placeholder 1"/>
          <p:cNvSpPr>
            <a:spLocks noGrp="1"/>
          </p:cNvSpPr>
          <p:nvPr>
            <p:ph sz="quarter" idx="1"/>
          </p:nvPr>
        </p:nvSpPr>
        <p:spPr>
          <a:xfrm>
            <a:off x="529168" y="1804989"/>
            <a:ext cx="5465233" cy="206533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sz="quarter"/>
          </p:nvPr>
        </p:nvSpPr>
        <p:spPr>
          <a:xfrm>
            <a:off x="524935" y="239714"/>
            <a:ext cx="9992784" cy="1085371"/>
          </a:xfrm>
        </p:spPr>
        <p:txBody>
          <a:bodyPr/>
          <a:lstStyle/>
          <a:p>
            <a:r>
              <a:rPr lang="en-US"/>
              <a:t>Click to edit Master title style</a:t>
            </a:r>
          </a:p>
        </p:txBody>
      </p:sp>
    </p:spTree>
    <p:extLst>
      <p:ext uri="{BB962C8B-B14F-4D97-AF65-F5344CB8AC3E}">
        <p14:creationId xmlns:p14="http://schemas.microsoft.com/office/powerpoint/2010/main" val="16881117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24935" y="239714"/>
            <a:ext cx="9992784" cy="1085371"/>
          </a:xfrm>
        </p:spPr>
        <p:txBody>
          <a:bodyPr/>
          <a:lstStyle/>
          <a:p>
            <a:r>
              <a:rPr lang="en-US"/>
              <a:t>Click to edit Master title style</a:t>
            </a:r>
            <a:endParaRPr lang="en-US" dirty="0"/>
          </a:p>
        </p:txBody>
      </p:sp>
    </p:spTree>
    <p:extLst>
      <p:ext uri="{BB962C8B-B14F-4D97-AF65-F5344CB8AC3E}">
        <p14:creationId xmlns:p14="http://schemas.microsoft.com/office/powerpoint/2010/main" val="31303356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3403756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4933" y="239713"/>
            <a:ext cx="9992784" cy="1085850"/>
          </a:xfrm>
        </p:spPr>
        <p:txBody>
          <a:bodyPr/>
          <a:lstStyle/>
          <a:p>
            <a:r>
              <a:rPr lang="en-US"/>
              <a:t>Click to edit Master title style</a:t>
            </a:r>
          </a:p>
        </p:txBody>
      </p:sp>
      <p:sp>
        <p:nvSpPr>
          <p:cNvPr id="3" name="Content Placeholder 2"/>
          <p:cNvSpPr>
            <a:spLocks noGrp="1"/>
          </p:cNvSpPr>
          <p:nvPr>
            <p:ph idx="1"/>
          </p:nvPr>
        </p:nvSpPr>
        <p:spPr>
          <a:xfrm>
            <a:off x="529167" y="1800228"/>
            <a:ext cx="11135784" cy="38512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6974527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1 column">
    <p:spTree>
      <p:nvGrpSpPr>
        <p:cNvPr id="1" name=""/>
        <p:cNvGrpSpPr/>
        <p:nvPr/>
      </p:nvGrpSpPr>
      <p:grpSpPr>
        <a:xfrm>
          <a:off x="0" y="0"/>
          <a:ext cx="0" cy="0"/>
          <a:chOff x="0" y="0"/>
          <a:chExt cx="0" cy="0"/>
        </a:xfrm>
      </p:grpSpPr>
      <p:sp>
        <p:nvSpPr>
          <p:cNvPr id="3" name="Content Placeholder 1"/>
          <p:cNvSpPr>
            <a:spLocks noGrp="1"/>
          </p:cNvSpPr>
          <p:nvPr>
            <p:ph idx="1"/>
          </p:nvPr>
        </p:nvSpPr>
        <p:spPr>
          <a:xfrm>
            <a:off x="529168" y="1800000"/>
            <a:ext cx="11135785" cy="3852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3"/>
          <p:cNvSpPr>
            <a:spLocks noGrp="1"/>
          </p:cNvSpPr>
          <p:nvPr>
            <p:ph type="title"/>
          </p:nvPr>
        </p:nvSpPr>
        <p:spPr>
          <a:xfrm>
            <a:off x="524935" y="239714"/>
            <a:ext cx="9992784" cy="1085371"/>
          </a:xfrm>
        </p:spPr>
        <p:txBody>
          <a:bodyPr/>
          <a:lstStyle/>
          <a:p>
            <a:r>
              <a:rPr lang="en-US"/>
              <a:t>Click to edit Master title style</a:t>
            </a:r>
            <a:endParaRPr lang="en-US" dirty="0"/>
          </a:p>
        </p:txBody>
      </p:sp>
    </p:spTree>
    <p:extLst>
      <p:ext uri="{BB962C8B-B14F-4D97-AF65-F5344CB8AC3E}">
        <p14:creationId xmlns:p14="http://schemas.microsoft.com/office/powerpoint/2010/main" val="333432299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2 columns">
    <p:spTree>
      <p:nvGrpSpPr>
        <p:cNvPr id="1" name=""/>
        <p:cNvGrpSpPr/>
        <p:nvPr/>
      </p:nvGrpSpPr>
      <p:grpSpPr>
        <a:xfrm>
          <a:off x="0" y="0"/>
          <a:ext cx="0" cy="0"/>
          <a:chOff x="0" y="0"/>
          <a:chExt cx="0" cy="0"/>
        </a:xfrm>
      </p:grpSpPr>
      <p:sp>
        <p:nvSpPr>
          <p:cNvPr id="5" name="Content Placeholder 3"/>
          <p:cNvSpPr>
            <a:spLocks noGrp="1"/>
          </p:cNvSpPr>
          <p:nvPr>
            <p:ph sz="quarter" idx="3"/>
          </p:nvPr>
        </p:nvSpPr>
        <p:spPr>
          <a:xfrm>
            <a:off x="6193367" y="1795464"/>
            <a:ext cx="5467351" cy="42846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Content Placeholder 1"/>
          <p:cNvSpPr>
            <a:spLocks noGrp="1"/>
          </p:cNvSpPr>
          <p:nvPr>
            <p:ph sz="half" idx="1"/>
          </p:nvPr>
        </p:nvSpPr>
        <p:spPr>
          <a:xfrm>
            <a:off x="524934" y="1795463"/>
            <a:ext cx="5465233" cy="42846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a:xfrm>
            <a:off x="524935" y="239714"/>
            <a:ext cx="9992784" cy="1085371"/>
          </a:xfrm>
        </p:spPr>
        <p:txBody>
          <a:bodyPr/>
          <a:lstStyle/>
          <a:p>
            <a:r>
              <a:rPr lang="en-US"/>
              <a:t>Click to edit Master title style</a:t>
            </a:r>
          </a:p>
        </p:txBody>
      </p:sp>
    </p:spTree>
    <p:extLst>
      <p:ext uri="{BB962C8B-B14F-4D97-AF65-F5344CB8AC3E}">
        <p14:creationId xmlns:p14="http://schemas.microsoft.com/office/powerpoint/2010/main" val="36747264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nd 3 columns">
    <p:spTree>
      <p:nvGrpSpPr>
        <p:cNvPr id="1" name=""/>
        <p:cNvGrpSpPr/>
        <p:nvPr/>
      </p:nvGrpSpPr>
      <p:grpSpPr>
        <a:xfrm>
          <a:off x="0" y="0"/>
          <a:ext cx="0" cy="0"/>
          <a:chOff x="0" y="0"/>
          <a:chExt cx="0" cy="0"/>
        </a:xfrm>
      </p:grpSpPr>
      <p:sp>
        <p:nvSpPr>
          <p:cNvPr id="8" name="Content Placeholder 3"/>
          <p:cNvSpPr>
            <a:spLocks noGrp="1"/>
          </p:cNvSpPr>
          <p:nvPr>
            <p:ph sz="quarter" idx="12" hasCustomPrompt="1"/>
          </p:nvPr>
        </p:nvSpPr>
        <p:spPr>
          <a:xfrm>
            <a:off x="8081434" y="1800225"/>
            <a:ext cx="3583517" cy="4724399"/>
          </a:xfrm>
        </p:spPr>
        <p:txBody>
          <a:bodyPr/>
          <a:lstStyle/>
          <a:p>
            <a:pPr lvl="0"/>
            <a:r>
              <a:rPr lang="sv-SE" dirty="0" err="1"/>
              <a:t>Click</a:t>
            </a:r>
            <a:r>
              <a:rPr lang="sv-SE" dirty="0"/>
              <a:t> to </a:t>
            </a:r>
            <a:r>
              <a:rPr lang="sv-SE" dirty="0" err="1"/>
              <a:t>add</a:t>
            </a:r>
            <a:r>
              <a:rPr lang="sv-SE" dirty="0"/>
              <a: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2"/>
          <p:cNvSpPr>
            <a:spLocks noGrp="1"/>
          </p:cNvSpPr>
          <p:nvPr>
            <p:ph sz="quarter" idx="11" hasCustomPrompt="1"/>
          </p:nvPr>
        </p:nvSpPr>
        <p:spPr>
          <a:xfrm>
            <a:off x="4305300" y="1800225"/>
            <a:ext cx="3583517" cy="4724399"/>
          </a:xfrm>
        </p:spPr>
        <p:txBody>
          <a:bodyPr/>
          <a:lstStyle/>
          <a:p>
            <a:pPr lvl="0"/>
            <a:r>
              <a:rPr lang="sv-SE" dirty="0" err="1"/>
              <a:t>Click</a:t>
            </a:r>
            <a:r>
              <a:rPr lang="sv-SE" dirty="0"/>
              <a:t> to </a:t>
            </a:r>
            <a:r>
              <a:rPr lang="sv-SE" dirty="0" err="1"/>
              <a:t>add</a:t>
            </a:r>
            <a:r>
              <a:rPr lang="sv-SE" dirty="0"/>
              <a: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1"/>
          <p:cNvSpPr>
            <a:spLocks noGrp="1"/>
          </p:cNvSpPr>
          <p:nvPr>
            <p:ph sz="quarter" idx="10" hasCustomPrompt="1"/>
          </p:nvPr>
        </p:nvSpPr>
        <p:spPr>
          <a:xfrm>
            <a:off x="524934" y="1800225"/>
            <a:ext cx="3583517" cy="4724399"/>
          </a:xfrm>
        </p:spPr>
        <p:txBody>
          <a:bodyPr/>
          <a:lstStyle/>
          <a:p>
            <a:pPr lvl="0"/>
            <a:r>
              <a:rPr lang="sv-SE" dirty="0" err="1"/>
              <a:t>Click</a:t>
            </a:r>
            <a:r>
              <a:rPr lang="sv-SE" dirty="0"/>
              <a:t> to </a:t>
            </a:r>
            <a:r>
              <a:rPr lang="sv-SE" dirty="0" err="1"/>
              <a:t>add</a:t>
            </a:r>
            <a:r>
              <a:rPr lang="sv-SE" dirty="0"/>
              <a: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1"/>
          <p:cNvSpPr>
            <a:spLocks noGrp="1"/>
          </p:cNvSpPr>
          <p:nvPr>
            <p:ph type="title"/>
          </p:nvPr>
        </p:nvSpPr>
        <p:spPr>
          <a:xfrm>
            <a:off x="524935" y="239714"/>
            <a:ext cx="9992784" cy="1085371"/>
          </a:xfrm>
        </p:spPr>
        <p:txBody>
          <a:bodyPr/>
          <a:lstStyle/>
          <a:p>
            <a:r>
              <a:rPr lang="en-US"/>
              <a:t>Click to edit Master title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Full title, right Image">
    <p:spTree>
      <p:nvGrpSpPr>
        <p:cNvPr id="1" name=""/>
        <p:cNvGrpSpPr/>
        <p:nvPr/>
      </p:nvGrpSpPr>
      <p:grpSpPr>
        <a:xfrm>
          <a:off x="0" y="0"/>
          <a:ext cx="0" cy="0"/>
          <a:chOff x="0" y="0"/>
          <a:chExt cx="0" cy="0"/>
        </a:xfrm>
      </p:grpSpPr>
      <p:sp>
        <p:nvSpPr>
          <p:cNvPr id="4" name="Content Placeholder 1"/>
          <p:cNvSpPr>
            <a:spLocks noGrp="1"/>
          </p:cNvSpPr>
          <p:nvPr>
            <p:ph sz="quarter" idx="10" hasCustomPrompt="1"/>
          </p:nvPr>
        </p:nvSpPr>
        <p:spPr>
          <a:xfrm>
            <a:off x="524934" y="1800225"/>
            <a:ext cx="5473700" cy="4724400"/>
          </a:xfrm>
        </p:spPr>
        <p:txBody>
          <a:bodyPr/>
          <a:lstStyle/>
          <a:p>
            <a:pPr lvl="0"/>
            <a:r>
              <a:rPr lang="sv-SE" dirty="0" err="1"/>
              <a:t>Click</a:t>
            </a:r>
            <a:r>
              <a:rPr lang="sv-SE" dirty="0"/>
              <a:t> to </a:t>
            </a:r>
            <a:r>
              <a:rPr lang="sv-SE" dirty="0" err="1"/>
              <a:t>add</a:t>
            </a:r>
            <a:r>
              <a:rPr lang="sv-SE" dirty="0"/>
              <a: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1"/>
          <p:cNvSpPr>
            <a:spLocks noGrp="1"/>
          </p:cNvSpPr>
          <p:nvPr>
            <p:ph type="title"/>
          </p:nvPr>
        </p:nvSpPr>
        <p:spPr>
          <a:xfrm>
            <a:off x="524935" y="239714"/>
            <a:ext cx="9992783" cy="1085371"/>
          </a:xfrm>
        </p:spPr>
        <p:txBody>
          <a:bodyPr/>
          <a:lstStyle/>
          <a:p>
            <a:r>
              <a:rPr lang="en-US"/>
              <a:t>Click to edit Master title style</a:t>
            </a:r>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mall title, right Image">
    <p:spTree>
      <p:nvGrpSpPr>
        <p:cNvPr id="1" name=""/>
        <p:cNvGrpSpPr/>
        <p:nvPr/>
      </p:nvGrpSpPr>
      <p:grpSpPr>
        <a:xfrm>
          <a:off x="0" y="0"/>
          <a:ext cx="0" cy="0"/>
          <a:chOff x="0" y="0"/>
          <a:chExt cx="0" cy="0"/>
        </a:xfrm>
      </p:grpSpPr>
      <p:sp>
        <p:nvSpPr>
          <p:cNvPr id="4" name="Content Placeholder 1"/>
          <p:cNvSpPr>
            <a:spLocks noGrp="1"/>
          </p:cNvSpPr>
          <p:nvPr>
            <p:ph sz="quarter" idx="10" hasCustomPrompt="1"/>
          </p:nvPr>
        </p:nvSpPr>
        <p:spPr>
          <a:xfrm>
            <a:off x="524934" y="1800225"/>
            <a:ext cx="5139267" cy="4724400"/>
          </a:xfrm>
        </p:spPr>
        <p:txBody>
          <a:bodyPr/>
          <a:lstStyle/>
          <a:p>
            <a:pPr lvl="0"/>
            <a:r>
              <a:rPr lang="sv-SE" dirty="0" err="1"/>
              <a:t>Click</a:t>
            </a:r>
            <a:r>
              <a:rPr lang="sv-SE" dirty="0"/>
              <a:t> to </a:t>
            </a:r>
            <a:r>
              <a:rPr lang="sv-SE" dirty="0" err="1"/>
              <a:t>add</a:t>
            </a:r>
            <a:r>
              <a:rPr lang="sv-SE" dirty="0"/>
              <a: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1"/>
          <p:cNvSpPr>
            <a:spLocks noGrp="1"/>
          </p:cNvSpPr>
          <p:nvPr>
            <p:ph type="title"/>
          </p:nvPr>
        </p:nvSpPr>
        <p:spPr>
          <a:xfrm>
            <a:off x="524935" y="239714"/>
            <a:ext cx="5139265" cy="1085371"/>
          </a:xfrm>
        </p:spPr>
        <p:txBody>
          <a:bodyPr/>
          <a:lstStyle/>
          <a:p>
            <a:r>
              <a:rPr lang="en-US"/>
              <a:t>Click to edit Master title style</a:t>
            </a:r>
          </a:p>
        </p:txBody>
      </p:sp>
    </p:spTree>
    <p:extLst>
      <p:ext uri="{BB962C8B-B14F-4D97-AF65-F5344CB8AC3E}">
        <p14:creationId xmlns:p14="http://schemas.microsoft.com/office/powerpoint/2010/main" val="228354883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Full title, left Image">
    <p:spTree>
      <p:nvGrpSpPr>
        <p:cNvPr id="1" name=""/>
        <p:cNvGrpSpPr/>
        <p:nvPr/>
      </p:nvGrpSpPr>
      <p:grpSpPr>
        <a:xfrm>
          <a:off x="0" y="0"/>
          <a:ext cx="0" cy="0"/>
          <a:chOff x="0" y="0"/>
          <a:chExt cx="0" cy="0"/>
        </a:xfrm>
      </p:grpSpPr>
      <p:sp>
        <p:nvSpPr>
          <p:cNvPr id="4" name="Content Placeholder 1"/>
          <p:cNvSpPr>
            <a:spLocks noGrp="1"/>
          </p:cNvSpPr>
          <p:nvPr>
            <p:ph sz="quarter" idx="10" hasCustomPrompt="1"/>
          </p:nvPr>
        </p:nvSpPr>
        <p:spPr>
          <a:xfrm>
            <a:off x="6191251" y="1800225"/>
            <a:ext cx="5473700" cy="4724400"/>
          </a:xfrm>
        </p:spPr>
        <p:txBody>
          <a:bodyPr/>
          <a:lstStyle/>
          <a:p>
            <a:pPr lvl="0"/>
            <a:r>
              <a:rPr lang="sv-SE" dirty="0" err="1"/>
              <a:t>Click</a:t>
            </a:r>
            <a:r>
              <a:rPr lang="sv-SE" dirty="0"/>
              <a:t> to </a:t>
            </a:r>
            <a:r>
              <a:rPr lang="sv-SE" dirty="0" err="1"/>
              <a:t>add</a:t>
            </a:r>
            <a:r>
              <a:rPr lang="sv-SE" dirty="0"/>
              <a: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1"/>
          <p:cNvSpPr>
            <a:spLocks noGrp="1"/>
          </p:cNvSpPr>
          <p:nvPr>
            <p:ph type="title"/>
          </p:nvPr>
        </p:nvSpPr>
        <p:spPr>
          <a:xfrm>
            <a:off x="524935" y="239714"/>
            <a:ext cx="9992784" cy="1085371"/>
          </a:xfrm>
        </p:spPr>
        <p:txBody>
          <a:bodyPr/>
          <a:lstStyle/>
          <a:p>
            <a:r>
              <a:rPr lang="en-US"/>
              <a:t>Click to edit Master title style</a:t>
            </a:r>
            <a:endParaRPr lang="en-US" dirty="0"/>
          </a:p>
        </p:txBody>
      </p:sp>
    </p:spTree>
    <p:extLst>
      <p:ext uri="{BB962C8B-B14F-4D97-AF65-F5344CB8AC3E}">
        <p14:creationId xmlns:p14="http://schemas.microsoft.com/office/powerpoint/2010/main" val="26297392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itle, left Image">
    <p:spTree>
      <p:nvGrpSpPr>
        <p:cNvPr id="1" name=""/>
        <p:cNvGrpSpPr/>
        <p:nvPr/>
      </p:nvGrpSpPr>
      <p:grpSpPr>
        <a:xfrm>
          <a:off x="0" y="0"/>
          <a:ext cx="0" cy="0"/>
          <a:chOff x="0" y="0"/>
          <a:chExt cx="0" cy="0"/>
        </a:xfrm>
      </p:grpSpPr>
      <p:sp>
        <p:nvSpPr>
          <p:cNvPr id="4" name="Content Placeholder 1"/>
          <p:cNvSpPr>
            <a:spLocks noGrp="1"/>
          </p:cNvSpPr>
          <p:nvPr>
            <p:ph sz="quarter" idx="10" hasCustomPrompt="1"/>
          </p:nvPr>
        </p:nvSpPr>
        <p:spPr>
          <a:xfrm>
            <a:off x="6191251" y="1800225"/>
            <a:ext cx="5473700" cy="4724400"/>
          </a:xfrm>
        </p:spPr>
        <p:txBody>
          <a:bodyPr/>
          <a:lstStyle/>
          <a:p>
            <a:pPr lvl="0"/>
            <a:r>
              <a:rPr lang="sv-SE" dirty="0" err="1"/>
              <a:t>Click</a:t>
            </a:r>
            <a:r>
              <a:rPr lang="sv-SE" dirty="0"/>
              <a:t> to </a:t>
            </a:r>
            <a:r>
              <a:rPr lang="sv-SE" dirty="0" err="1"/>
              <a:t>add</a:t>
            </a:r>
            <a:r>
              <a:rPr lang="sv-SE" dirty="0"/>
              <a: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1"/>
          <p:cNvSpPr>
            <a:spLocks noGrp="1"/>
          </p:cNvSpPr>
          <p:nvPr>
            <p:ph type="title"/>
          </p:nvPr>
        </p:nvSpPr>
        <p:spPr>
          <a:xfrm>
            <a:off x="6193367" y="239714"/>
            <a:ext cx="4324351" cy="1085371"/>
          </a:xfrm>
        </p:spPr>
        <p:txBody>
          <a:bodyPr/>
          <a:lstStyle/>
          <a:p>
            <a:r>
              <a:rPr lang="en-US"/>
              <a:t>Click to edit Master title style</a:t>
            </a:r>
            <a:endParaRPr lang="en-US" dirty="0"/>
          </a:p>
        </p:txBody>
      </p:sp>
    </p:spTree>
    <p:extLst>
      <p:ext uri="{BB962C8B-B14F-4D97-AF65-F5344CB8AC3E}">
        <p14:creationId xmlns:p14="http://schemas.microsoft.com/office/powerpoint/2010/main" val="52590919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ow small title, left Image">
    <p:spTree>
      <p:nvGrpSpPr>
        <p:cNvPr id="1" name=""/>
        <p:cNvGrpSpPr/>
        <p:nvPr/>
      </p:nvGrpSpPr>
      <p:grpSpPr>
        <a:xfrm>
          <a:off x="0" y="0"/>
          <a:ext cx="0" cy="0"/>
          <a:chOff x="0" y="0"/>
          <a:chExt cx="0" cy="0"/>
        </a:xfrm>
      </p:grpSpPr>
      <p:sp>
        <p:nvSpPr>
          <p:cNvPr id="4" name="Content Placeholder 1"/>
          <p:cNvSpPr>
            <a:spLocks noGrp="1"/>
          </p:cNvSpPr>
          <p:nvPr>
            <p:ph sz="quarter" idx="10" hasCustomPrompt="1"/>
          </p:nvPr>
        </p:nvSpPr>
        <p:spPr>
          <a:xfrm>
            <a:off x="6191251" y="3545841"/>
            <a:ext cx="5473700" cy="2978785"/>
          </a:xfrm>
        </p:spPr>
        <p:txBody>
          <a:bodyPr/>
          <a:lstStyle/>
          <a:p>
            <a:pPr lvl="0"/>
            <a:r>
              <a:rPr lang="sv-SE" dirty="0" err="1"/>
              <a:t>Click</a:t>
            </a:r>
            <a:r>
              <a:rPr lang="sv-SE" dirty="0"/>
              <a:t> to </a:t>
            </a:r>
            <a:r>
              <a:rPr lang="sv-SE" dirty="0" err="1"/>
              <a:t>add</a:t>
            </a:r>
            <a:r>
              <a:rPr lang="sv-SE" dirty="0"/>
              <a: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1"/>
          <p:cNvSpPr>
            <a:spLocks noGrp="1"/>
          </p:cNvSpPr>
          <p:nvPr>
            <p:ph type="title"/>
          </p:nvPr>
        </p:nvSpPr>
        <p:spPr>
          <a:xfrm>
            <a:off x="6191251" y="1797525"/>
            <a:ext cx="5473700" cy="1085371"/>
          </a:xfrm>
        </p:spPr>
        <p:txBody>
          <a:bodyPr/>
          <a:lstStyle/>
          <a:p>
            <a:r>
              <a:rPr lang="en-US"/>
              <a:t>Click to edit Master title style</a:t>
            </a:r>
            <a:endParaRPr lang="en-US" dirty="0"/>
          </a:p>
        </p:txBody>
      </p:sp>
    </p:spTree>
    <p:extLst>
      <p:ext uri="{BB962C8B-B14F-4D97-AF65-F5344CB8AC3E}">
        <p14:creationId xmlns:p14="http://schemas.microsoft.com/office/powerpoint/2010/main" val="407186510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1508" name="LeftInfo"/>
          <p:cNvSpPr txBox="1">
            <a:spLocks noChangeArrowheads="1"/>
          </p:cNvSpPr>
          <p:nvPr/>
        </p:nvSpPr>
        <p:spPr bwMode="auto">
          <a:xfrm>
            <a:off x="-2515809" y="438151"/>
            <a:ext cx="2352392" cy="5970865"/>
          </a:xfrm>
          <a:prstGeom prst="rect">
            <a:avLst/>
          </a:prstGeom>
          <a:noFill/>
          <a:ln w="9525">
            <a:noFill/>
            <a:miter lim="800000"/>
            <a:headEnd/>
            <a:tailEnd/>
          </a:ln>
          <a:effectLst/>
        </p:spPr>
        <p:txBody>
          <a:bodyPr wrap="square">
            <a:spAutoFit/>
          </a:bodyPr>
          <a:lstStyle/>
          <a:p>
            <a:pPr algn="r">
              <a:spcBef>
                <a:spcPct val="0"/>
              </a:spcBef>
            </a:pPr>
            <a:r>
              <a:rPr lang="en-US" sz="1200" noProof="0" dirty="0">
                <a:solidFill>
                  <a:srgbClr val="FFFFFF"/>
                </a:solidFill>
              </a:rPr>
              <a:t>Slide title </a:t>
            </a:r>
          </a:p>
          <a:p>
            <a:pPr algn="r">
              <a:spcBef>
                <a:spcPct val="0"/>
              </a:spcBef>
            </a:pPr>
            <a:r>
              <a:rPr lang="en-US" sz="1200" noProof="0" dirty="0">
                <a:solidFill>
                  <a:srgbClr val="FFFFFF"/>
                </a:solidFill>
              </a:rPr>
              <a:t>44 pt</a:t>
            </a:r>
          </a:p>
          <a:p>
            <a:pPr algn="r">
              <a:spcBef>
                <a:spcPct val="0"/>
              </a:spcBef>
            </a:pPr>
            <a:endParaRPr lang="en-US" sz="1200" noProof="0" dirty="0">
              <a:solidFill>
                <a:srgbClr val="FFFFFF"/>
              </a:solidFill>
            </a:endParaRPr>
          </a:p>
          <a:p>
            <a:pPr algn="r">
              <a:spcBef>
                <a:spcPct val="0"/>
              </a:spcBef>
            </a:pPr>
            <a:endParaRPr lang="en-US" sz="1200" noProof="0" dirty="0">
              <a:solidFill>
                <a:srgbClr val="FFFFFF"/>
              </a:solidFill>
            </a:endParaRPr>
          </a:p>
          <a:p>
            <a:pPr algn="r">
              <a:spcBef>
                <a:spcPct val="0"/>
              </a:spcBef>
            </a:pPr>
            <a:endParaRPr lang="en-US" sz="1200" noProof="0" dirty="0">
              <a:solidFill>
                <a:srgbClr val="FFFFFF"/>
              </a:solidFill>
            </a:endParaRPr>
          </a:p>
          <a:p>
            <a:pPr algn="r">
              <a:spcBef>
                <a:spcPct val="0"/>
              </a:spcBef>
            </a:pPr>
            <a:endParaRPr lang="en-US" sz="1200" noProof="0" dirty="0">
              <a:solidFill>
                <a:srgbClr val="FFFFFF"/>
              </a:solidFill>
            </a:endParaRPr>
          </a:p>
          <a:p>
            <a:pPr algn="r">
              <a:spcBef>
                <a:spcPct val="0"/>
              </a:spcBef>
            </a:pPr>
            <a:endParaRPr lang="en-US" sz="1200" noProof="0" dirty="0">
              <a:solidFill>
                <a:srgbClr val="FFFFFF"/>
              </a:solidFill>
            </a:endParaRPr>
          </a:p>
          <a:p>
            <a:pPr algn="r">
              <a:spcBef>
                <a:spcPct val="0"/>
              </a:spcBef>
            </a:pPr>
            <a:endParaRPr lang="en-US" sz="1200" noProof="0" dirty="0">
              <a:solidFill>
                <a:srgbClr val="FFFFFF"/>
              </a:solidFill>
            </a:endParaRPr>
          </a:p>
          <a:p>
            <a:pPr algn="r">
              <a:spcBef>
                <a:spcPct val="0"/>
              </a:spcBef>
            </a:pPr>
            <a:r>
              <a:rPr lang="en-US" sz="1200" noProof="0" dirty="0">
                <a:solidFill>
                  <a:srgbClr val="FFFFFF"/>
                </a:solidFill>
              </a:rPr>
              <a:t>Text and bullet level 1</a:t>
            </a:r>
          </a:p>
          <a:p>
            <a:pPr algn="r">
              <a:spcBef>
                <a:spcPct val="0"/>
              </a:spcBef>
            </a:pPr>
            <a:r>
              <a:rPr lang="en-US" sz="1200" noProof="0" dirty="0">
                <a:solidFill>
                  <a:srgbClr val="FFFFFF"/>
                </a:solidFill>
              </a:rPr>
              <a:t> minimum 24 pt</a:t>
            </a:r>
          </a:p>
          <a:p>
            <a:pPr algn="r">
              <a:spcBef>
                <a:spcPct val="0"/>
              </a:spcBef>
            </a:pPr>
            <a:endParaRPr lang="en-US" sz="1200" noProof="0" dirty="0">
              <a:solidFill>
                <a:srgbClr val="FFFFFF"/>
              </a:solidFill>
            </a:endParaRPr>
          </a:p>
          <a:p>
            <a:pPr algn="r">
              <a:spcBef>
                <a:spcPct val="0"/>
              </a:spcBef>
            </a:pPr>
            <a:r>
              <a:rPr lang="en-US" sz="1200" noProof="0" dirty="0">
                <a:solidFill>
                  <a:srgbClr val="FFFFFF"/>
                </a:solidFill>
              </a:rPr>
              <a:t>Bullets level 2-5</a:t>
            </a:r>
          </a:p>
          <a:p>
            <a:pPr algn="r">
              <a:spcBef>
                <a:spcPct val="0"/>
              </a:spcBef>
            </a:pPr>
            <a:r>
              <a:rPr lang="en-US" sz="1200" noProof="0" dirty="0">
                <a:solidFill>
                  <a:srgbClr val="FFFFFF"/>
                </a:solidFill>
              </a:rPr>
              <a:t>minimum 20 pt</a:t>
            </a:r>
          </a:p>
          <a:p>
            <a:pPr algn="r">
              <a:spcBef>
                <a:spcPct val="0"/>
              </a:spcBef>
            </a:pPr>
            <a:endParaRPr lang="en-US" sz="1200" noProof="0" dirty="0">
              <a:solidFill>
                <a:srgbClr val="FFFFFF"/>
              </a:solidFill>
            </a:endParaRPr>
          </a:p>
          <a:p>
            <a:pPr algn="r"/>
            <a:endParaRPr lang="en-US" sz="800" noProof="0" dirty="0">
              <a:solidFill>
                <a:schemeClr val="bg1"/>
              </a:solidFill>
            </a:endParaRPr>
          </a:p>
          <a:p>
            <a:pPr algn="r"/>
            <a:endParaRPr lang="en-US" sz="800" noProof="0" dirty="0">
              <a:solidFill>
                <a:schemeClr val="bg1"/>
              </a:solidFill>
            </a:endParaRPr>
          </a:p>
          <a:p>
            <a:pPr algn="r"/>
            <a:endParaRPr lang="en-US" sz="800" noProof="0" dirty="0">
              <a:solidFill>
                <a:schemeClr val="bg1"/>
              </a:solidFill>
            </a:endParaRPr>
          </a:p>
          <a:p>
            <a:r>
              <a:rPr lang="en-US" sz="500" noProof="0" dirty="0">
                <a:solidFill>
                  <a:srgbClr val="9FB7D3"/>
                </a:solidFill>
                <a:latin typeface="+mn-lt"/>
              </a:rPr>
              <a:t>Characters for Embedded font:</a:t>
            </a:r>
            <a:br>
              <a:rPr lang="en-US" sz="500" noProof="0" dirty="0">
                <a:solidFill>
                  <a:srgbClr val="9FB7D3"/>
                </a:solidFill>
                <a:latin typeface="+mn-lt"/>
              </a:rPr>
            </a:br>
            <a:r>
              <a:rPr lang="en-US" sz="500" noProof="0" dirty="0">
                <a:solidFill>
                  <a:srgbClr val="9FB7D3"/>
                </a:solidFill>
                <a:latin typeface="Ericsson Capital TT" pitchFamily="2" charset="0"/>
              </a:rPr>
              <a:t>!"#$%&amp;'()*+,-./0123456789:;&lt;=&gt;?@ABCDEFGHIJKLMNOPQRSTUVWXYZ[\]^_`abcdefghijklmnopqrstuvwxyz{|}~¡¢£¤¥¦§¨©ª«¬®¯°±²³´¶·¸¹º»¼½ÀÁÂÃÄÅÆÇÈËÌÍÎÏÐÑÒÓÔÕÖ×ØÙÚÛÜÝÞßàáâãäåæçèéêëìíîïðñòóôõö÷øùúûüýþÿĀāĂăąĆćĊċČĎďĐđĒĖėĘęĚěĞğĠġĢģĪīĮįİıĶķĹĺĻļĽľŁłŃńŅņŇňŌŐőŒœŔŕŖŗŘřŚśŞşŠšŢţŤťŪūŮůŰűŲųŴŵŶŷŸŹźŻżŽžƒȘșˆˇ˘˙˚˛˜˝ẀẁẃẄẅỲỳ–—‘’‚“”„†‡•…‰‹›⁄€™ĀĀĂĂĄĄĆĆĊĊČČĎĎĐĐĒĒĖĖĘĘĚĚĞĞĠĠĢĢĪĪĮĮİĶĶĹĹĻĻĽĽŃŃŅŅŇŇŌŌŐŐŔŔŖŖŘŘŚŚŞŞŢŢŤŤŪŪŮŮŰŰŲŲŴŴŶŶŹŹŻŻȘș−≤≥ﬁﬂ</a:t>
            </a:r>
            <a:endParaRPr lang="en-US" sz="500" i="1" noProof="0" dirty="0">
              <a:solidFill>
                <a:srgbClr val="9FB7D3"/>
              </a:solidFill>
              <a:latin typeface="Ericsson Capital TT" pitchFamily="2" charset="0"/>
            </a:endParaRPr>
          </a:p>
          <a:p>
            <a:endParaRPr lang="en-US" sz="500" i="1" noProof="0" dirty="0">
              <a:solidFill>
                <a:srgbClr val="9FB7D3"/>
              </a:solidFill>
              <a:latin typeface="Ericsson Capital TT" pitchFamily="2" charset="0"/>
            </a:endParaRPr>
          </a:p>
          <a:p>
            <a:r>
              <a:rPr lang="en-US" sz="500" noProof="0" dirty="0">
                <a:solidFill>
                  <a:srgbClr val="9FB7D3"/>
                </a:solidFill>
                <a:latin typeface="Ericsson Capital TT" pitchFamily="2" charset="0"/>
              </a:rPr>
              <a:t>ΆΈΉΊΌΎΏΐΑΒΓΕΖΗΘΙΚΛΜΝΞΟΠΡΣΤΥΦΧΨΪΫΆΈΉΊΰαβγδεζηθικλνξορςΣΤΥΦΧΨΩΪΫΌΎΏ</a:t>
            </a:r>
            <a:endParaRPr lang="en-US" sz="500" i="1" noProof="0" dirty="0">
              <a:solidFill>
                <a:srgbClr val="9FB7D3"/>
              </a:solidFill>
              <a:latin typeface="Ericsson Capital TT" pitchFamily="2" charset="0"/>
            </a:endParaRPr>
          </a:p>
          <a:p>
            <a:r>
              <a:rPr lang="en-US" sz="500" noProof="0" dirty="0">
                <a:solidFill>
                  <a:srgbClr val="9FB7D3"/>
                </a:solidFill>
                <a:latin typeface="Ericsson Capital TT" pitchFamily="2" charset="0"/>
              </a:rPr>
              <a:t>ЁЂЃЄЅІЇЈЉЊЋЌЎЏАБВГДЕЖЗИЙКЛМНОПРСТУФХЦЧШЩЪЫЬЭЮЯАБВГДЕЖЗИЙКЛМНОПРСТУФХЦЧШЩЪЫЬЭЮЯЁЂЃЄЅІЇЈЉЊЋЌЎЏѢѢѲѲѴѴҐҐәǽẀẁẂẃẄẅỲỳ№</a:t>
            </a:r>
          </a:p>
          <a:p>
            <a:pPr>
              <a:lnSpc>
                <a:spcPct val="80000"/>
              </a:lnSpc>
              <a:spcBef>
                <a:spcPct val="20000"/>
              </a:spcBef>
            </a:pPr>
            <a:endParaRPr lang="en-US" sz="500" noProof="0" dirty="0">
              <a:solidFill>
                <a:srgbClr val="9FB7D3"/>
              </a:solidFill>
              <a:latin typeface="Ericsson Capital TT" pitchFamily="2" charset="0"/>
            </a:endParaRPr>
          </a:p>
          <a:p>
            <a:pPr algn="r">
              <a:spcBef>
                <a:spcPct val="0"/>
              </a:spcBef>
            </a:pPr>
            <a:endParaRPr lang="en-US" sz="500" noProof="0" dirty="0">
              <a:solidFill>
                <a:schemeClr val="bg1"/>
              </a:solidFill>
              <a:latin typeface="Ericsson Capital TT" pitchFamily="2" charset="0"/>
            </a:endParaRPr>
          </a:p>
          <a:p>
            <a:pPr algn="r">
              <a:spcBef>
                <a:spcPct val="0"/>
              </a:spcBef>
            </a:pPr>
            <a:endParaRPr lang="en-US" sz="800" noProof="0" dirty="0">
              <a:solidFill>
                <a:schemeClr val="bg1"/>
              </a:solidFill>
              <a:latin typeface="Ericsson Capital TT" pitchFamily="2" charset="0"/>
            </a:endParaRPr>
          </a:p>
          <a:p>
            <a:pPr algn="r">
              <a:spcBef>
                <a:spcPct val="0"/>
              </a:spcBef>
            </a:pPr>
            <a:endParaRPr lang="en-US" sz="800" noProof="0" dirty="0">
              <a:solidFill>
                <a:schemeClr val="bg1"/>
              </a:solidFill>
              <a:latin typeface="Ericsson Capital TT" pitchFamily="2" charset="0"/>
            </a:endParaRPr>
          </a:p>
          <a:p>
            <a:pPr algn="r">
              <a:spcBef>
                <a:spcPct val="0"/>
              </a:spcBef>
            </a:pPr>
            <a:endParaRPr lang="en-US" sz="800" noProof="0" dirty="0">
              <a:solidFill>
                <a:schemeClr val="bg1"/>
              </a:solidFill>
              <a:latin typeface="Ericsson Capital TT" pitchFamily="2" charset="0"/>
            </a:endParaRPr>
          </a:p>
          <a:p>
            <a:pPr algn="r">
              <a:spcBef>
                <a:spcPct val="0"/>
              </a:spcBef>
            </a:pPr>
            <a:endParaRPr lang="en-US" sz="800" noProof="0" dirty="0">
              <a:solidFill>
                <a:schemeClr val="bg1"/>
              </a:solidFill>
              <a:latin typeface="Ericsson Capital TT" pitchFamily="2" charset="0"/>
            </a:endParaRPr>
          </a:p>
          <a:p>
            <a:pPr algn="r">
              <a:spcBef>
                <a:spcPct val="0"/>
              </a:spcBef>
            </a:pPr>
            <a:endParaRPr lang="en-US" sz="800" noProof="0" dirty="0">
              <a:solidFill>
                <a:schemeClr val="bg1"/>
              </a:solidFill>
              <a:latin typeface="Ericsson Capital TT" pitchFamily="2" charset="0"/>
            </a:endParaRPr>
          </a:p>
          <a:p>
            <a:pPr algn="r">
              <a:spcBef>
                <a:spcPct val="0"/>
              </a:spcBef>
            </a:pPr>
            <a:endParaRPr lang="en-US" sz="1400" noProof="0" dirty="0">
              <a:solidFill>
                <a:schemeClr val="bg1"/>
              </a:solidFill>
            </a:endParaRPr>
          </a:p>
          <a:p>
            <a:pPr algn="r">
              <a:spcBef>
                <a:spcPct val="0"/>
              </a:spcBef>
            </a:pPr>
            <a:r>
              <a:rPr lang="en-US" sz="1200" noProof="0" dirty="0">
                <a:solidFill>
                  <a:schemeClr val="bg1"/>
                </a:solidFill>
              </a:rPr>
              <a:t>Do not add objects or text in the footer area</a:t>
            </a:r>
          </a:p>
        </p:txBody>
      </p:sp>
      <p:pic>
        <p:nvPicPr>
          <p:cNvPr id="9" name="Econ2011" descr="ECON_RGB"/>
          <p:cNvPicPr>
            <a:picLocks noChangeArrowheads="1"/>
          </p:cNvPicPr>
          <p:nvPr/>
        </p:nvPicPr>
        <p:blipFill>
          <a:blip r:embed="rId20" cstate="print"/>
          <a:srcRect/>
          <a:stretch>
            <a:fillRect/>
          </a:stretch>
        </p:blipFill>
        <p:spPr bwMode="auto">
          <a:xfrm>
            <a:off x="11209564" y="360000"/>
            <a:ext cx="444500" cy="588962"/>
          </a:xfrm>
          <a:prstGeom prst="rect">
            <a:avLst/>
          </a:prstGeom>
          <a:noFill/>
        </p:spPr>
      </p:pic>
      <p:sp>
        <p:nvSpPr>
          <p:cNvPr id="21523" name="txtfooterCopy"/>
          <p:cNvSpPr txBox="1">
            <a:spLocks noChangeArrowheads="1"/>
          </p:cNvSpPr>
          <p:nvPr/>
        </p:nvSpPr>
        <p:spPr bwMode="auto">
          <a:xfrm>
            <a:off x="527051" y="6524625"/>
            <a:ext cx="9865784" cy="215900"/>
          </a:xfrm>
          <a:prstGeom prst="rect">
            <a:avLst/>
          </a:prstGeom>
          <a:noFill/>
          <a:ln w="12700" algn="ctr">
            <a:noFill/>
            <a:miter lim="800000"/>
            <a:headEnd/>
            <a:tailEnd/>
          </a:ln>
          <a:effectLst/>
        </p:spPr>
        <p:txBody>
          <a:bodyPr lIns="72000" rIns="72000"/>
          <a:lstStyle/>
          <a:p>
            <a:pPr algn="l"/>
            <a:r>
              <a:rPr lang="en-US" sz="800" b="0" i="0" u="none">
                <a:solidFill>
                  <a:srgbClr val="87888A"/>
                </a:solidFill>
              </a:rPr>
              <a:t>Ericsson Internal  |  2016-11-15  |  Page </a:t>
            </a:r>
            <a:fld id="{E2999290-936E-4A4F-9459-C743A5F1C692}" type="slidenum">
              <a:rPr lang="en-US" sz="800" b="0" i="0" u="none" smtClean="0">
                <a:solidFill>
                  <a:srgbClr val="87888A"/>
                </a:solidFill>
              </a:rPr>
              <a:t>‹#›</a:t>
            </a:fld>
            <a:endParaRPr lang="en-US" sz="800" b="0" i="0" u="none" dirty="0">
              <a:solidFill>
                <a:srgbClr val="87888A"/>
              </a:solidFill>
            </a:endParaRPr>
          </a:p>
        </p:txBody>
      </p:sp>
      <p:sp>
        <p:nvSpPr>
          <p:cNvPr id="21507" name="Content_SM"/>
          <p:cNvSpPr>
            <a:spLocks noGrp="1" noChangeArrowheads="1"/>
          </p:cNvSpPr>
          <p:nvPr>
            <p:ph type="body" idx="1"/>
          </p:nvPr>
        </p:nvSpPr>
        <p:spPr bwMode="auto">
          <a:xfrm>
            <a:off x="529168" y="1800000"/>
            <a:ext cx="11135785" cy="3852000"/>
          </a:xfrm>
          <a:prstGeom prst="rect">
            <a:avLst/>
          </a:prstGeom>
          <a:noFill/>
          <a:ln w="9525">
            <a:noFill/>
            <a:miter lim="800000"/>
            <a:headEnd/>
            <a:tailEnd/>
          </a:ln>
        </p:spPr>
        <p:txBody>
          <a:bodyPr vert="horz" wrap="square" lIns="72000" tIns="0" rIns="72000" bIns="0" numCol="1" anchor="t" anchorCtr="0" compatLnSpc="1">
            <a:prstTxWarp prst="textNoShape">
              <a:avLst/>
            </a:prstTxWarp>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506" name="Title_SM"/>
          <p:cNvSpPr>
            <a:spLocks noGrp="1" noChangeArrowheads="1"/>
          </p:cNvSpPr>
          <p:nvPr>
            <p:ph type="title"/>
          </p:nvPr>
        </p:nvSpPr>
        <p:spPr bwMode="auto">
          <a:xfrm>
            <a:off x="524935" y="239714"/>
            <a:ext cx="9992784" cy="1085371"/>
          </a:xfrm>
          <a:prstGeom prst="rect">
            <a:avLst/>
          </a:prstGeom>
          <a:noFill/>
          <a:ln w="9525">
            <a:noFill/>
            <a:miter lim="800000"/>
            <a:headEnd/>
            <a:tailEnd/>
          </a:ln>
        </p:spPr>
        <p:txBody>
          <a:bodyPr vert="horz" wrap="square" lIns="72000" tIns="0" rIns="72000" bIns="0" numCol="1" anchor="ctr" anchorCtr="0" compatLnSpc="1">
            <a:prstTxWarp prst="textNoShape">
              <a:avLst/>
            </a:prstTxWarp>
            <a:normAutofit/>
          </a:bodyPr>
          <a:lstStyle/>
          <a:p>
            <a:pPr lvl="0"/>
            <a:r>
              <a:rPr lang="en-US" dirty="0"/>
              <a:t>Click to Add Header</a:t>
            </a:r>
          </a:p>
        </p:txBody>
      </p:sp>
    </p:spTree>
  </p:cSld>
  <p:clrMap bg1="lt1" tx1="dk1" bg2="lt2" tx2="dk2" accent1="accent1" accent2="accent2" accent3="accent3" accent4="accent4" accent5="accent5" accent6="accent6" hlink="hlink" folHlink="folHlink"/>
  <p:sldLayoutIdLst>
    <p:sldLayoutId id="2147483677" r:id="rId1"/>
    <p:sldLayoutId id="2147483678" r:id="rId2"/>
    <p:sldLayoutId id="2147483700" r:id="rId3"/>
    <p:sldLayoutId id="2147483681" r:id="rId4"/>
    <p:sldLayoutId id="2147483680" r:id="rId5"/>
    <p:sldLayoutId id="2147483699" r:id="rId6"/>
    <p:sldLayoutId id="2147483696" r:id="rId7"/>
    <p:sldLayoutId id="2147483698" r:id="rId8"/>
    <p:sldLayoutId id="2147483697" r:id="rId9"/>
    <p:sldLayoutId id="2147483685" r:id="rId10"/>
    <p:sldLayoutId id="2147483686" r:id="rId11"/>
    <p:sldLayoutId id="2147483687" r:id="rId12"/>
    <p:sldLayoutId id="2147483682" r:id="rId13"/>
    <p:sldLayoutId id="2147483683" r:id="rId14"/>
    <p:sldLayoutId id="2147483684" r:id="rId15"/>
    <p:sldLayoutId id="2147483688" r:id="rId16"/>
    <p:sldLayoutId id="2147483695" r:id="rId17"/>
    <p:sldLayoutId id="2147483701" r:id="rId18"/>
  </p:sldLayoutIdLst>
  <p:hf sldNum="0" hdr="0" ftr="0" dt="0"/>
  <p:txStyles>
    <p:titleStyle>
      <a:lvl1pPr algn="l" rtl="0" eaLnBrk="1" fontAlgn="base" hangingPunct="1">
        <a:lnSpc>
          <a:spcPct val="75000"/>
        </a:lnSpc>
        <a:spcBef>
          <a:spcPct val="0"/>
        </a:spcBef>
        <a:spcAft>
          <a:spcPct val="0"/>
        </a:spcAft>
        <a:defRPr sz="4400">
          <a:solidFill>
            <a:schemeClr val="tx1"/>
          </a:solidFill>
          <a:latin typeface="Ericsson Capital TT"/>
          <a:ea typeface="+mj-ea"/>
          <a:cs typeface="+mj-cs"/>
        </a:defRPr>
      </a:lvl1pPr>
      <a:lvl2pPr algn="l" rtl="0" eaLnBrk="1" fontAlgn="base" hangingPunct="1">
        <a:spcBef>
          <a:spcPct val="0"/>
        </a:spcBef>
        <a:spcAft>
          <a:spcPct val="0"/>
        </a:spcAft>
        <a:defRPr sz="3200">
          <a:solidFill>
            <a:schemeClr val="tx1"/>
          </a:solidFill>
          <a:latin typeface="Ericsson Capital TT" pitchFamily="2" charset="0"/>
        </a:defRPr>
      </a:lvl2pPr>
      <a:lvl3pPr algn="l" rtl="0" eaLnBrk="1" fontAlgn="base" hangingPunct="1">
        <a:spcBef>
          <a:spcPct val="0"/>
        </a:spcBef>
        <a:spcAft>
          <a:spcPct val="0"/>
        </a:spcAft>
        <a:defRPr sz="3200">
          <a:solidFill>
            <a:schemeClr val="tx1"/>
          </a:solidFill>
          <a:latin typeface="Ericsson Capital TT" pitchFamily="2" charset="0"/>
        </a:defRPr>
      </a:lvl3pPr>
      <a:lvl4pPr algn="l" rtl="0" eaLnBrk="1" fontAlgn="base" hangingPunct="1">
        <a:spcBef>
          <a:spcPct val="0"/>
        </a:spcBef>
        <a:spcAft>
          <a:spcPct val="0"/>
        </a:spcAft>
        <a:defRPr sz="3200">
          <a:solidFill>
            <a:schemeClr val="tx1"/>
          </a:solidFill>
          <a:latin typeface="Ericsson Capital TT" pitchFamily="2" charset="0"/>
        </a:defRPr>
      </a:lvl4pPr>
      <a:lvl5pPr algn="l" rtl="0" eaLnBrk="1" fontAlgn="base" hangingPunct="1">
        <a:spcBef>
          <a:spcPct val="0"/>
        </a:spcBef>
        <a:spcAft>
          <a:spcPct val="0"/>
        </a:spcAft>
        <a:defRPr sz="3200">
          <a:solidFill>
            <a:schemeClr val="tx1"/>
          </a:solidFill>
          <a:latin typeface="Ericsson Capital TT" pitchFamily="2" charset="0"/>
        </a:defRPr>
      </a:lvl5pPr>
      <a:lvl6pPr marL="457200" algn="l" rtl="0" eaLnBrk="1" fontAlgn="base" hangingPunct="1">
        <a:spcBef>
          <a:spcPct val="0"/>
        </a:spcBef>
        <a:spcAft>
          <a:spcPct val="0"/>
        </a:spcAft>
        <a:defRPr sz="3200">
          <a:solidFill>
            <a:schemeClr val="tx1"/>
          </a:solidFill>
          <a:latin typeface="Ericsson Capital TT" pitchFamily="2" charset="0"/>
        </a:defRPr>
      </a:lvl6pPr>
      <a:lvl7pPr marL="914400" algn="l" rtl="0" eaLnBrk="1" fontAlgn="base" hangingPunct="1">
        <a:spcBef>
          <a:spcPct val="0"/>
        </a:spcBef>
        <a:spcAft>
          <a:spcPct val="0"/>
        </a:spcAft>
        <a:defRPr sz="3200">
          <a:solidFill>
            <a:schemeClr val="tx1"/>
          </a:solidFill>
          <a:latin typeface="Ericsson Capital TT" pitchFamily="2" charset="0"/>
        </a:defRPr>
      </a:lvl7pPr>
      <a:lvl8pPr marL="1371600" algn="l" rtl="0" eaLnBrk="1" fontAlgn="base" hangingPunct="1">
        <a:spcBef>
          <a:spcPct val="0"/>
        </a:spcBef>
        <a:spcAft>
          <a:spcPct val="0"/>
        </a:spcAft>
        <a:defRPr sz="3200">
          <a:solidFill>
            <a:schemeClr val="tx1"/>
          </a:solidFill>
          <a:latin typeface="Ericsson Capital TT" pitchFamily="2" charset="0"/>
        </a:defRPr>
      </a:lvl8pPr>
      <a:lvl9pPr marL="1828800" algn="l" rtl="0" eaLnBrk="1" fontAlgn="base" hangingPunct="1">
        <a:spcBef>
          <a:spcPct val="0"/>
        </a:spcBef>
        <a:spcAft>
          <a:spcPct val="0"/>
        </a:spcAft>
        <a:defRPr sz="3200">
          <a:solidFill>
            <a:schemeClr val="tx1"/>
          </a:solidFill>
          <a:latin typeface="Ericsson Capital TT" pitchFamily="2" charset="0"/>
        </a:defRPr>
      </a:lvl9pPr>
    </p:titleStyle>
    <p:bodyStyle>
      <a:lvl1pPr marL="176213" indent="-176213" algn="l" rtl="0" eaLnBrk="1" fontAlgn="base" hangingPunct="1">
        <a:spcBef>
          <a:spcPct val="20000"/>
        </a:spcBef>
        <a:spcAft>
          <a:spcPct val="0"/>
        </a:spcAft>
        <a:buClr>
          <a:srgbClr val="00A9D4"/>
        </a:buClr>
        <a:buFont typeface="Arial" charset="0"/>
        <a:buChar char="›"/>
        <a:defRPr sz="24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20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1.xml"/><Relationship Id="rId1" Type="http://schemas.openxmlformats.org/officeDocument/2006/relationships/slideLayout" Target="../slideLayouts/slideLayout16.xml"/><Relationship Id="rId6" Type="http://schemas.openxmlformats.org/officeDocument/2006/relationships/image" Target="../media/image6.emf"/><Relationship Id="rId5" Type="http://schemas.openxmlformats.org/officeDocument/2006/relationships/image" Target="../media/image5.png"/><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0.xml"/><Relationship Id="rId1" Type="http://schemas.openxmlformats.org/officeDocument/2006/relationships/slideLayout" Target="../slideLayouts/slideLayout16.xml"/><Relationship Id="rId4" Type="http://schemas.openxmlformats.org/officeDocument/2006/relationships/image" Target="../media/image19.png"/></Relationships>
</file>

<file path=ppt/slides/_rels/slide11.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notesSlide" Target="../notesSlides/notesSlide11.xml"/><Relationship Id="rId1" Type="http://schemas.openxmlformats.org/officeDocument/2006/relationships/slideLayout" Target="../slideLayouts/slideLayout17.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6.xml"/><Relationship Id="rId1" Type="http://schemas.openxmlformats.org/officeDocument/2006/relationships/tags" Target="../tags/tag1.xml"/><Relationship Id="rId5" Type="http://schemas.openxmlformats.org/officeDocument/2006/relationships/image" Target="../media/image6.emf"/><Relationship Id="rId4" Type="http://schemas.openxmlformats.org/officeDocument/2006/relationships/image" Target="../media/image7.jpg"/></Relationships>
</file>

<file path=ppt/slides/_rels/slide3.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Layout" Target="../slideLayouts/slideLayout18.xml"/><Relationship Id="rId7" Type="http://schemas.openxmlformats.org/officeDocument/2006/relationships/image" Target="../media/image8.em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image" Target="../media/image9.jpg"/><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8" Type="http://schemas.openxmlformats.org/officeDocument/2006/relationships/image" Target="../media/image15.jpeg"/><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notesSlide" Target="../notesSlides/notesSlide4.xml"/><Relationship Id="rId1" Type="http://schemas.openxmlformats.org/officeDocument/2006/relationships/slideLayout" Target="../slideLayouts/slideLayout10.xml"/><Relationship Id="rId6" Type="http://schemas.openxmlformats.org/officeDocument/2006/relationships/image" Target="../media/image13.jpeg"/><Relationship Id="rId5" Type="http://schemas.openxmlformats.org/officeDocument/2006/relationships/image" Target="../media/image12.png"/><Relationship Id="rId4" Type="http://schemas.openxmlformats.org/officeDocument/2006/relationships/image" Target="../media/image11.jpeg"/><Relationship Id="rId9" Type="http://schemas.openxmlformats.org/officeDocument/2006/relationships/image" Target="../media/image16.png"/></Relationships>
</file>

<file path=ppt/slides/_rels/slide5.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5.xml"/><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6.xml"/><Relationship Id="rId1" Type="http://schemas.openxmlformats.org/officeDocument/2006/relationships/slideLayout" Target="../slideLayouts/slideLayout16.xml"/><Relationship Id="rId4" Type="http://schemas.openxmlformats.org/officeDocument/2006/relationships/image" Target="../media/image19.png"/></Relationships>
</file>

<file path=ppt/slides/_rels/slide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7.xml"/><Relationship Id="rId1" Type="http://schemas.openxmlformats.org/officeDocument/2006/relationships/slideLayout" Target="../slideLayouts/slideLayout16.xml"/><Relationship Id="rId4" Type="http://schemas.openxmlformats.org/officeDocument/2006/relationships/image" Target="../media/image21.png"/></Relationships>
</file>

<file path=ppt/slides/_rels/slide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8.xml"/><Relationship Id="rId1" Type="http://schemas.openxmlformats.org/officeDocument/2006/relationships/slideLayout" Target="../slideLayouts/slideLayout16.xml"/><Relationship Id="rId4" Type="http://schemas.openxmlformats.org/officeDocument/2006/relationships/image" Target="../media/image23.png"/></Relationships>
</file>

<file path=ppt/slides/_rels/slide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9.xml"/><Relationship Id="rId1" Type="http://schemas.openxmlformats.org/officeDocument/2006/relationships/slideLayout" Target="../slideLayouts/slideLayout16.xml"/><Relationship Id="rId4" Type="http://schemas.openxmlformats.org/officeDocument/2006/relationships/image" Target="../media/image25.pn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9000" b="-9000"/>
          </a:stretch>
        </a:blipFill>
        <a:effectLst/>
      </p:bgPr>
    </p:bg>
    <p:spTree>
      <p:nvGrpSpPr>
        <p:cNvPr id="1" name=""/>
        <p:cNvGrpSpPr/>
        <p:nvPr/>
      </p:nvGrpSpPr>
      <p:grpSpPr>
        <a:xfrm>
          <a:off x="0" y="0"/>
          <a:ext cx="0" cy="0"/>
          <a:chOff x="0" y="0"/>
          <a:chExt cx="0" cy="0"/>
        </a:xfrm>
      </p:grpSpPr>
      <p:sp>
        <p:nvSpPr>
          <p:cNvPr id="89" name="Rectangle 88"/>
          <p:cNvSpPr/>
          <p:nvPr/>
        </p:nvSpPr>
        <p:spPr bwMode="auto">
          <a:xfrm>
            <a:off x="-23921" y="-699"/>
            <a:ext cx="12192000" cy="6864304"/>
          </a:xfrm>
          <a:prstGeom prst="rect">
            <a:avLst/>
          </a:prstGeom>
          <a:solidFill>
            <a:srgbClr val="000000">
              <a:alpha val="20000"/>
            </a:srgbClr>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bg1"/>
              </a:solidFill>
              <a:effectLst/>
              <a:latin typeface="Arial" charset="0"/>
            </a:endParaRPr>
          </a:p>
        </p:txBody>
      </p:sp>
      <p:sp>
        <p:nvSpPr>
          <p:cNvPr id="101" name="Title 3"/>
          <p:cNvSpPr txBox="1">
            <a:spLocks/>
          </p:cNvSpPr>
          <p:nvPr/>
        </p:nvSpPr>
        <p:spPr bwMode="auto">
          <a:xfrm>
            <a:off x="5721026" y="1365207"/>
            <a:ext cx="4820990" cy="989658"/>
          </a:xfrm>
          <a:prstGeom prst="rect">
            <a:avLst/>
          </a:prstGeom>
          <a:noFill/>
          <a:ln w="9525">
            <a:noFill/>
            <a:miter lim="800000"/>
            <a:headEnd/>
            <a:tailEnd/>
          </a:ln>
        </p:spPr>
        <p:txBody>
          <a:bodyPr vert="horz" wrap="square" lIns="72000" tIns="0" rIns="72000" bIns="0" numCol="1" anchor="ctr" anchorCtr="0" compatLnSpc="1">
            <a:prstTxWarp prst="textNoShape">
              <a:avLst/>
            </a:prstTxWarp>
            <a:noAutofit/>
          </a:bodyPr>
          <a:lstStyle>
            <a:lvl1pPr algn="l" rtl="0" eaLnBrk="1" fontAlgn="base" hangingPunct="1">
              <a:lnSpc>
                <a:spcPct val="75000"/>
              </a:lnSpc>
              <a:spcBef>
                <a:spcPct val="0"/>
              </a:spcBef>
              <a:spcAft>
                <a:spcPct val="0"/>
              </a:spcAft>
              <a:defRPr sz="4400">
                <a:solidFill>
                  <a:schemeClr val="tx1"/>
                </a:solidFill>
                <a:latin typeface="Ericsson Capital TT"/>
                <a:ea typeface="+mj-ea"/>
                <a:cs typeface="+mj-cs"/>
              </a:defRPr>
            </a:lvl1pPr>
            <a:lvl2pPr algn="l" rtl="0" eaLnBrk="1" fontAlgn="base" hangingPunct="1">
              <a:spcBef>
                <a:spcPct val="0"/>
              </a:spcBef>
              <a:spcAft>
                <a:spcPct val="0"/>
              </a:spcAft>
              <a:defRPr sz="3200">
                <a:solidFill>
                  <a:schemeClr val="tx1"/>
                </a:solidFill>
                <a:latin typeface="Ericsson Capital TT" pitchFamily="2" charset="0"/>
              </a:defRPr>
            </a:lvl2pPr>
            <a:lvl3pPr algn="l" rtl="0" eaLnBrk="1" fontAlgn="base" hangingPunct="1">
              <a:spcBef>
                <a:spcPct val="0"/>
              </a:spcBef>
              <a:spcAft>
                <a:spcPct val="0"/>
              </a:spcAft>
              <a:defRPr sz="3200">
                <a:solidFill>
                  <a:schemeClr val="tx1"/>
                </a:solidFill>
                <a:latin typeface="Ericsson Capital TT" pitchFamily="2" charset="0"/>
              </a:defRPr>
            </a:lvl3pPr>
            <a:lvl4pPr algn="l" rtl="0" eaLnBrk="1" fontAlgn="base" hangingPunct="1">
              <a:spcBef>
                <a:spcPct val="0"/>
              </a:spcBef>
              <a:spcAft>
                <a:spcPct val="0"/>
              </a:spcAft>
              <a:defRPr sz="3200">
                <a:solidFill>
                  <a:schemeClr val="tx1"/>
                </a:solidFill>
                <a:latin typeface="Ericsson Capital TT" pitchFamily="2" charset="0"/>
              </a:defRPr>
            </a:lvl4pPr>
            <a:lvl5pPr algn="l" rtl="0" eaLnBrk="1" fontAlgn="base" hangingPunct="1">
              <a:spcBef>
                <a:spcPct val="0"/>
              </a:spcBef>
              <a:spcAft>
                <a:spcPct val="0"/>
              </a:spcAft>
              <a:defRPr sz="3200">
                <a:solidFill>
                  <a:schemeClr val="tx1"/>
                </a:solidFill>
                <a:latin typeface="Ericsson Capital TT" pitchFamily="2" charset="0"/>
              </a:defRPr>
            </a:lvl5pPr>
            <a:lvl6pPr marL="457200" algn="l" rtl="0" eaLnBrk="1" fontAlgn="base" hangingPunct="1">
              <a:spcBef>
                <a:spcPct val="0"/>
              </a:spcBef>
              <a:spcAft>
                <a:spcPct val="0"/>
              </a:spcAft>
              <a:defRPr sz="3200">
                <a:solidFill>
                  <a:schemeClr val="tx1"/>
                </a:solidFill>
                <a:latin typeface="Ericsson Capital TT" pitchFamily="2" charset="0"/>
              </a:defRPr>
            </a:lvl6pPr>
            <a:lvl7pPr marL="914400" algn="l" rtl="0" eaLnBrk="1" fontAlgn="base" hangingPunct="1">
              <a:spcBef>
                <a:spcPct val="0"/>
              </a:spcBef>
              <a:spcAft>
                <a:spcPct val="0"/>
              </a:spcAft>
              <a:defRPr sz="3200">
                <a:solidFill>
                  <a:schemeClr val="tx1"/>
                </a:solidFill>
                <a:latin typeface="Ericsson Capital TT" pitchFamily="2" charset="0"/>
              </a:defRPr>
            </a:lvl7pPr>
            <a:lvl8pPr marL="1371600" algn="l" rtl="0" eaLnBrk="1" fontAlgn="base" hangingPunct="1">
              <a:spcBef>
                <a:spcPct val="0"/>
              </a:spcBef>
              <a:spcAft>
                <a:spcPct val="0"/>
              </a:spcAft>
              <a:defRPr sz="3200">
                <a:solidFill>
                  <a:schemeClr val="tx1"/>
                </a:solidFill>
                <a:latin typeface="Ericsson Capital TT" pitchFamily="2" charset="0"/>
              </a:defRPr>
            </a:lvl8pPr>
            <a:lvl9pPr marL="1828800" algn="l" rtl="0" eaLnBrk="1" fontAlgn="base" hangingPunct="1">
              <a:spcBef>
                <a:spcPct val="0"/>
              </a:spcBef>
              <a:spcAft>
                <a:spcPct val="0"/>
              </a:spcAft>
              <a:defRPr sz="3200">
                <a:solidFill>
                  <a:schemeClr val="tx1"/>
                </a:solidFill>
                <a:latin typeface="Ericsson Capital TT" pitchFamily="2" charset="0"/>
              </a:defRPr>
            </a:lvl9pPr>
          </a:lstStyle>
          <a:p>
            <a:pPr>
              <a:lnSpc>
                <a:spcPct val="100000"/>
              </a:lnSpc>
            </a:pPr>
            <a:r>
              <a:rPr lang="en-US" sz="1800" kern="0" dirty="0">
                <a:solidFill>
                  <a:schemeClr val="bg1"/>
                </a:solidFill>
                <a:latin typeface="Arial" charset="0"/>
                <a:cs typeface="Arial" charset="0"/>
              </a:rPr>
              <a:t>UTILIZES CAT-M WITH PARTNER SENSORS &amp; SECURITY FOR MASSIVE IOT</a:t>
            </a:r>
          </a:p>
        </p:txBody>
      </p:sp>
      <p:sp>
        <p:nvSpPr>
          <p:cNvPr id="102" name="Title 3"/>
          <p:cNvSpPr txBox="1">
            <a:spLocks/>
          </p:cNvSpPr>
          <p:nvPr/>
        </p:nvSpPr>
        <p:spPr bwMode="auto">
          <a:xfrm>
            <a:off x="5721026" y="2427536"/>
            <a:ext cx="4820991" cy="989658"/>
          </a:xfrm>
          <a:prstGeom prst="rect">
            <a:avLst/>
          </a:prstGeom>
          <a:noFill/>
          <a:ln w="9525">
            <a:noFill/>
            <a:miter lim="800000"/>
            <a:headEnd/>
            <a:tailEnd/>
          </a:ln>
        </p:spPr>
        <p:txBody>
          <a:bodyPr vert="horz" wrap="square" lIns="72000" tIns="0" rIns="72000" bIns="0" numCol="1" anchor="ctr" anchorCtr="0" compatLnSpc="1">
            <a:prstTxWarp prst="textNoShape">
              <a:avLst/>
            </a:prstTxWarp>
            <a:noAutofit/>
          </a:bodyPr>
          <a:lstStyle>
            <a:lvl1pPr algn="l" rtl="0" eaLnBrk="1" fontAlgn="base" hangingPunct="1">
              <a:lnSpc>
                <a:spcPct val="75000"/>
              </a:lnSpc>
              <a:spcBef>
                <a:spcPct val="0"/>
              </a:spcBef>
              <a:spcAft>
                <a:spcPct val="0"/>
              </a:spcAft>
              <a:defRPr sz="4400">
                <a:solidFill>
                  <a:schemeClr val="tx1"/>
                </a:solidFill>
                <a:latin typeface="Ericsson Capital TT"/>
                <a:ea typeface="+mj-ea"/>
                <a:cs typeface="+mj-cs"/>
              </a:defRPr>
            </a:lvl1pPr>
            <a:lvl2pPr algn="l" rtl="0" eaLnBrk="1" fontAlgn="base" hangingPunct="1">
              <a:spcBef>
                <a:spcPct val="0"/>
              </a:spcBef>
              <a:spcAft>
                <a:spcPct val="0"/>
              </a:spcAft>
              <a:defRPr sz="3200">
                <a:solidFill>
                  <a:schemeClr val="tx1"/>
                </a:solidFill>
                <a:latin typeface="Ericsson Capital TT" pitchFamily="2" charset="0"/>
              </a:defRPr>
            </a:lvl2pPr>
            <a:lvl3pPr algn="l" rtl="0" eaLnBrk="1" fontAlgn="base" hangingPunct="1">
              <a:spcBef>
                <a:spcPct val="0"/>
              </a:spcBef>
              <a:spcAft>
                <a:spcPct val="0"/>
              </a:spcAft>
              <a:defRPr sz="3200">
                <a:solidFill>
                  <a:schemeClr val="tx1"/>
                </a:solidFill>
                <a:latin typeface="Ericsson Capital TT" pitchFamily="2" charset="0"/>
              </a:defRPr>
            </a:lvl3pPr>
            <a:lvl4pPr algn="l" rtl="0" eaLnBrk="1" fontAlgn="base" hangingPunct="1">
              <a:spcBef>
                <a:spcPct val="0"/>
              </a:spcBef>
              <a:spcAft>
                <a:spcPct val="0"/>
              </a:spcAft>
              <a:defRPr sz="3200">
                <a:solidFill>
                  <a:schemeClr val="tx1"/>
                </a:solidFill>
                <a:latin typeface="Ericsson Capital TT" pitchFamily="2" charset="0"/>
              </a:defRPr>
            </a:lvl4pPr>
            <a:lvl5pPr algn="l" rtl="0" eaLnBrk="1" fontAlgn="base" hangingPunct="1">
              <a:spcBef>
                <a:spcPct val="0"/>
              </a:spcBef>
              <a:spcAft>
                <a:spcPct val="0"/>
              </a:spcAft>
              <a:defRPr sz="3200">
                <a:solidFill>
                  <a:schemeClr val="tx1"/>
                </a:solidFill>
                <a:latin typeface="Ericsson Capital TT" pitchFamily="2" charset="0"/>
              </a:defRPr>
            </a:lvl5pPr>
            <a:lvl6pPr marL="457200" algn="l" rtl="0" eaLnBrk="1" fontAlgn="base" hangingPunct="1">
              <a:spcBef>
                <a:spcPct val="0"/>
              </a:spcBef>
              <a:spcAft>
                <a:spcPct val="0"/>
              </a:spcAft>
              <a:defRPr sz="3200">
                <a:solidFill>
                  <a:schemeClr val="tx1"/>
                </a:solidFill>
                <a:latin typeface="Ericsson Capital TT" pitchFamily="2" charset="0"/>
              </a:defRPr>
            </a:lvl6pPr>
            <a:lvl7pPr marL="914400" algn="l" rtl="0" eaLnBrk="1" fontAlgn="base" hangingPunct="1">
              <a:spcBef>
                <a:spcPct val="0"/>
              </a:spcBef>
              <a:spcAft>
                <a:spcPct val="0"/>
              </a:spcAft>
              <a:defRPr sz="3200">
                <a:solidFill>
                  <a:schemeClr val="tx1"/>
                </a:solidFill>
                <a:latin typeface="Ericsson Capital TT" pitchFamily="2" charset="0"/>
              </a:defRPr>
            </a:lvl7pPr>
            <a:lvl8pPr marL="1371600" algn="l" rtl="0" eaLnBrk="1" fontAlgn="base" hangingPunct="1">
              <a:spcBef>
                <a:spcPct val="0"/>
              </a:spcBef>
              <a:spcAft>
                <a:spcPct val="0"/>
              </a:spcAft>
              <a:defRPr sz="3200">
                <a:solidFill>
                  <a:schemeClr val="tx1"/>
                </a:solidFill>
                <a:latin typeface="Ericsson Capital TT" pitchFamily="2" charset="0"/>
              </a:defRPr>
            </a:lvl8pPr>
            <a:lvl9pPr marL="1828800" algn="l" rtl="0" eaLnBrk="1" fontAlgn="base" hangingPunct="1">
              <a:spcBef>
                <a:spcPct val="0"/>
              </a:spcBef>
              <a:spcAft>
                <a:spcPct val="0"/>
              </a:spcAft>
              <a:defRPr sz="3200">
                <a:solidFill>
                  <a:schemeClr val="tx1"/>
                </a:solidFill>
                <a:latin typeface="Ericsson Capital TT" pitchFamily="2" charset="0"/>
              </a:defRPr>
            </a:lvl9pPr>
          </a:lstStyle>
          <a:p>
            <a:pPr>
              <a:lnSpc>
                <a:spcPct val="100000"/>
              </a:lnSpc>
            </a:pPr>
            <a:r>
              <a:rPr lang="en-US" sz="1800" kern="0" dirty="0">
                <a:solidFill>
                  <a:schemeClr val="bg1"/>
                </a:solidFill>
                <a:latin typeface="Arial" charset="0"/>
                <a:ea typeface="Arial" charset="0"/>
                <a:cs typeface="Arial" charset="0"/>
              </a:rPr>
              <a:t>IMPROVES EFFICIENCY AND SECURITY, LOWERS COST AND INCREASES GROWTH OPPORTUNITIES</a:t>
            </a:r>
          </a:p>
        </p:txBody>
      </p:sp>
      <p:sp>
        <p:nvSpPr>
          <p:cNvPr id="103" name="Title 3"/>
          <p:cNvSpPr txBox="1">
            <a:spLocks/>
          </p:cNvSpPr>
          <p:nvPr/>
        </p:nvSpPr>
        <p:spPr bwMode="auto">
          <a:xfrm>
            <a:off x="5721026" y="460924"/>
            <a:ext cx="4762553" cy="989658"/>
          </a:xfrm>
          <a:prstGeom prst="rect">
            <a:avLst/>
          </a:prstGeom>
          <a:noFill/>
          <a:ln w="9525">
            <a:noFill/>
            <a:miter lim="800000"/>
            <a:headEnd/>
            <a:tailEnd/>
          </a:ln>
        </p:spPr>
        <p:txBody>
          <a:bodyPr vert="horz" wrap="square" lIns="72000" tIns="0" rIns="72000" bIns="0" numCol="1" anchor="ctr" anchorCtr="0" compatLnSpc="1">
            <a:prstTxWarp prst="textNoShape">
              <a:avLst/>
            </a:prstTxWarp>
            <a:noAutofit/>
          </a:bodyPr>
          <a:lstStyle>
            <a:lvl1pPr algn="l" rtl="0" eaLnBrk="1" fontAlgn="base" hangingPunct="1">
              <a:lnSpc>
                <a:spcPct val="75000"/>
              </a:lnSpc>
              <a:spcBef>
                <a:spcPct val="0"/>
              </a:spcBef>
              <a:spcAft>
                <a:spcPct val="0"/>
              </a:spcAft>
              <a:defRPr sz="4400">
                <a:solidFill>
                  <a:schemeClr val="tx1"/>
                </a:solidFill>
                <a:latin typeface="Ericsson Capital TT"/>
                <a:ea typeface="+mj-ea"/>
                <a:cs typeface="+mj-cs"/>
              </a:defRPr>
            </a:lvl1pPr>
            <a:lvl2pPr algn="l" rtl="0" eaLnBrk="1" fontAlgn="base" hangingPunct="1">
              <a:spcBef>
                <a:spcPct val="0"/>
              </a:spcBef>
              <a:spcAft>
                <a:spcPct val="0"/>
              </a:spcAft>
              <a:defRPr sz="3200">
                <a:solidFill>
                  <a:schemeClr val="tx1"/>
                </a:solidFill>
                <a:latin typeface="Ericsson Capital TT" pitchFamily="2" charset="0"/>
              </a:defRPr>
            </a:lvl2pPr>
            <a:lvl3pPr algn="l" rtl="0" eaLnBrk="1" fontAlgn="base" hangingPunct="1">
              <a:spcBef>
                <a:spcPct val="0"/>
              </a:spcBef>
              <a:spcAft>
                <a:spcPct val="0"/>
              </a:spcAft>
              <a:defRPr sz="3200">
                <a:solidFill>
                  <a:schemeClr val="tx1"/>
                </a:solidFill>
                <a:latin typeface="Ericsson Capital TT" pitchFamily="2" charset="0"/>
              </a:defRPr>
            </a:lvl3pPr>
            <a:lvl4pPr algn="l" rtl="0" eaLnBrk="1" fontAlgn="base" hangingPunct="1">
              <a:spcBef>
                <a:spcPct val="0"/>
              </a:spcBef>
              <a:spcAft>
                <a:spcPct val="0"/>
              </a:spcAft>
              <a:defRPr sz="3200">
                <a:solidFill>
                  <a:schemeClr val="tx1"/>
                </a:solidFill>
                <a:latin typeface="Ericsson Capital TT" pitchFamily="2" charset="0"/>
              </a:defRPr>
            </a:lvl4pPr>
            <a:lvl5pPr algn="l" rtl="0" eaLnBrk="1" fontAlgn="base" hangingPunct="1">
              <a:spcBef>
                <a:spcPct val="0"/>
              </a:spcBef>
              <a:spcAft>
                <a:spcPct val="0"/>
              </a:spcAft>
              <a:defRPr sz="3200">
                <a:solidFill>
                  <a:schemeClr val="tx1"/>
                </a:solidFill>
                <a:latin typeface="Ericsson Capital TT" pitchFamily="2" charset="0"/>
              </a:defRPr>
            </a:lvl5pPr>
            <a:lvl6pPr marL="457200" algn="l" rtl="0" eaLnBrk="1" fontAlgn="base" hangingPunct="1">
              <a:spcBef>
                <a:spcPct val="0"/>
              </a:spcBef>
              <a:spcAft>
                <a:spcPct val="0"/>
              </a:spcAft>
              <a:defRPr sz="3200">
                <a:solidFill>
                  <a:schemeClr val="tx1"/>
                </a:solidFill>
                <a:latin typeface="Ericsson Capital TT" pitchFamily="2" charset="0"/>
              </a:defRPr>
            </a:lvl6pPr>
            <a:lvl7pPr marL="914400" algn="l" rtl="0" eaLnBrk="1" fontAlgn="base" hangingPunct="1">
              <a:spcBef>
                <a:spcPct val="0"/>
              </a:spcBef>
              <a:spcAft>
                <a:spcPct val="0"/>
              </a:spcAft>
              <a:defRPr sz="3200">
                <a:solidFill>
                  <a:schemeClr val="tx1"/>
                </a:solidFill>
                <a:latin typeface="Ericsson Capital TT" pitchFamily="2" charset="0"/>
              </a:defRPr>
            </a:lvl7pPr>
            <a:lvl8pPr marL="1371600" algn="l" rtl="0" eaLnBrk="1" fontAlgn="base" hangingPunct="1">
              <a:spcBef>
                <a:spcPct val="0"/>
              </a:spcBef>
              <a:spcAft>
                <a:spcPct val="0"/>
              </a:spcAft>
              <a:defRPr sz="3200">
                <a:solidFill>
                  <a:schemeClr val="tx1"/>
                </a:solidFill>
                <a:latin typeface="Ericsson Capital TT" pitchFamily="2" charset="0"/>
              </a:defRPr>
            </a:lvl8pPr>
            <a:lvl9pPr marL="1828800" algn="l" rtl="0" eaLnBrk="1" fontAlgn="base" hangingPunct="1">
              <a:spcBef>
                <a:spcPct val="0"/>
              </a:spcBef>
              <a:spcAft>
                <a:spcPct val="0"/>
              </a:spcAft>
              <a:defRPr sz="3200">
                <a:solidFill>
                  <a:schemeClr val="tx1"/>
                </a:solidFill>
                <a:latin typeface="Ericsson Capital TT" pitchFamily="2" charset="0"/>
              </a:defRPr>
            </a:lvl9pPr>
          </a:lstStyle>
          <a:p>
            <a:pPr>
              <a:lnSpc>
                <a:spcPct val="100000"/>
              </a:lnSpc>
            </a:pPr>
            <a:r>
              <a:rPr lang="en-US" sz="1800" kern="0" dirty="0">
                <a:solidFill>
                  <a:schemeClr val="bg1"/>
                </a:solidFill>
                <a:latin typeface="Arial" charset="0"/>
                <a:cs typeface="Arial" charset="0"/>
              </a:rPr>
              <a:t>REAL TIME COLLECTION AND DELIVERY OF ASSET DATA </a:t>
            </a:r>
          </a:p>
        </p:txBody>
      </p:sp>
      <p:cxnSp>
        <p:nvCxnSpPr>
          <p:cNvPr id="104" name="Rak 103"/>
          <p:cNvCxnSpPr>
            <a:cxnSpLocks/>
          </p:cNvCxnSpPr>
          <p:nvPr/>
        </p:nvCxnSpPr>
        <p:spPr bwMode="auto">
          <a:xfrm>
            <a:off x="5518151" y="713528"/>
            <a:ext cx="0" cy="2575367"/>
          </a:xfrm>
          <a:prstGeom prst="line">
            <a:avLst/>
          </a:prstGeom>
          <a:solidFill>
            <a:schemeClr val="accent1"/>
          </a:solidFill>
          <a:ln w="12700" cap="flat" cmpd="sng" algn="ctr">
            <a:solidFill>
              <a:schemeClr val="bg1"/>
            </a:solidFill>
            <a:prstDash val="solid"/>
            <a:round/>
            <a:headEnd type="none" w="med" len="med"/>
            <a:tailEnd type="none" w="med" len="med"/>
          </a:ln>
          <a:effectLst/>
        </p:spPr>
      </p:cxnSp>
      <p:grpSp>
        <p:nvGrpSpPr>
          <p:cNvPr id="107" name="Grupp 106"/>
          <p:cNvGrpSpPr/>
          <p:nvPr/>
        </p:nvGrpSpPr>
        <p:grpSpPr>
          <a:xfrm>
            <a:off x="3551178" y="4316687"/>
            <a:ext cx="1053885" cy="2231756"/>
            <a:chOff x="2758698" y="3502617"/>
            <a:chExt cx="1053885" cy="2231756"/>
          </a:xfrm>
        </p:grpSpPr>
        <p:sp>
          <p:nvSpPr>
            <p:cNvPr id="108" name="Ellips 107"/>
            <p:cNvSpPr/>
            <p:nvPr/>
          </p:nvSpPr>
          <p:spPr bwMode="auto">
            <a:xfrm>
              <a:off x="2758698" y="3502617"/>
              <a:ext cx="1053885" cy="1053885"/>
            </a:xfrm>
            <a:prstGeom prst="ellipse">
              <a:avLst/>
            </a:prstGeom>
            <a:noFill/>
            <a:ln w="12700" cap="flat" cmpd="sng" algn="ctr">
              <a:solidFill>
                <a:schemeClr val="bg1">
                  <a:alpha val="40000"/>
                </a:schemeClr>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sv-SE" sz="2000" b="0" i="0" u="none" strike="noStrike" cap="none" normalizeH="0" baseline="0" dirty="0">
                <a:ln>
                  <a:noFill/>
                </a:ln>
                <a:effectLst/>
                <a:latin typeface="Arial" charset="0"/>
              </a:endParaRPr>
            </a:p>
          </p:txBody>
        </p:sp>
        <p:cxnSp>
          <p:nvCxnSpPr>
            <p:cNvPr id="109" name="Rak 108"/>
            <p:cNvCxnSpPr/>
            <p:nvPr/>
          </p:nvCxnSpPr>
          <p:spPr bwMode="auto">
            <a:xfrm>
              <a:off x="3285641" y="4572000"/>
              <a:ext cx="0" cy="1162373"/>
            </a:xfrm>
            <a:prstGeom prst="line">
              <a:avLst/>
            </a:prstGeom>
            <a:solidFill>
              <a:schemeClr val="accent1"/>
            </a:solidFill>
            <a:ln w="12700" cap="flat" cmpd="sng" algn="ctr">
              <a:solidFill>
                <a:schemeClr val="bg1">
                  <a:alpha val="20000"/>
                </a:schemeClr>
              </a:solidFill>
              <a:prstDash val="solid"/>
              <a:round/>
              <a:headEnd type="none" w="med" len="med"/>
              <a:tailEnd type="oval" w="med" len="med"/>
            </a:ln>
            <a:effectLst/>
          </p:spPr>
        </p:cxnSp>
      </p:grpSp>
      <p:sp>
        <p:nvSpPr>
          <p:cNvPr id="110" name="Ellips 109"/>
          <p:cNvSpPr/>
          <p:nvPr/>
        </p:nvSpPr>
        <p:spPr bwMode="auto">
          <a:xfrm>
            <a:off x="8174660" y="4718673"/>
            <a:ext cx="774916" cy="774916"/>
          </a:xfrm>
          <a:prstGeom prst="ellipse">
            <a:avLst/>
          </a:prstGeom>
          <a:noFill/>
          <a:ln w="12700" cap="flat" cmpd="sng" algn="ctr">
            <a:solidFill>
              <a:schemeClr val="bg1">
                <a:alpha val="40000"/>
              </a:schemeClr>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sv-SE" sz="2000" b="0" i="0" u="none" strike="noStrike" cap="none" normalizeH="0" baseline="0" dirty="0">
              <a:ln>
                <a:noFill/>
              </a:ln>
              <a:effectLst/>
              <a:latin typeface="Arial" charset="0"/>
            </a:endParaRPr>
          </a:p>
        </p:txBody>
      </p:sp>
      <p:cxnSp>
        <p:nvCxnSpPr>
          <p:cNvPr id="111" name="Rak 110"/>
          <p:cNvCxnSpPr/>
          <p:nvPr/>
        </p:nvCxnSpPr>
        <p:spPr bwMode="auto">
          <a:xfrm flipH="1">
            <a:off x="8562119" y="5502707"/>
            <a:ext cx="1" cy="931113"/>
          </a:xfrm>
          <a:prstGeom prst="line">
            <a:avLst/>
          </a:prstGeom>
          <a:solidFill>
            <a:schemeClr val="accent1"/>
          </a:solidFill>
          <a:ln w="12700" cap="flat" cmpd="sng" algn="ctr">
            <a:solidFill>
              <a:schemeClr val="bg1">
                <a:alpha val="40000"/>
              </a:schemeClr>
            </a:solidFill>
            <a:prstDash val="solid"/>
            <a:round/>
            <a:headEnd type="none" w="med" len="med"/>
            <a:tailEnd type="oval" w="med" len="med"/>
          </a:ln>
          <a:effectLst/>
        </p:spPr>
      </p:cxnSp>
      <p:grpSp>
        <p:nvGrpSpPr>
          <p:cNvPr id="112" name="Grupp 111"/>
          <p:cNvGrpSpPr/>
          <p:nvPr/>
        </p:nvGrpSpPr>
        <p:grpSpPr>
          <a:xfrm>
            <a:off x="10071122" y="5498143"/>
            <a:ext cx="798808" cy="1211096"/>
            <a:chOff x="4649492" y="4138047"/>
            <a:chExt cx="480448" cy="728421"/>
          </a:xfrm>
        </p:grpSpPr>
        <p:sp>
          <p:nvSpPr>
            <p:cNvPr id="113" name="Ellips 112"/>
            <p:cNvSpPr/>
            <p:nvPr/>
          </p:nvSpPr>
          <p:spPr bwMode="auto">
            <a:xfrm>
              <a:off x="4649492" y="4138047"/>
              <a:ext cx="480448" cy="480448"/>
            </a:xfrm>
            <a:prstGeom prst="ellipse">
              <a:avLst/>
            </a:prstGeom>
            <a:noFill/>
            <a:ln w="12700" cap="flat" cmpd="sng" algn="ctr">
              <a:solidFill>
                <a:schemeClr val="bg1">
                  <a:alpha val="40000"/>
                </a:schemeClr>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sv-SE" sz="2000" b="0" i="0" u="none" strike="noStrike" cap="none" normalizeH="0" baseline="0" dirty="0">
                <a:ln>
                  <a:noFill/>
                </a:ln>
                <a:effectLst/>
                <a:latin typeface="Arial" charset="0"/>
              </a:endParaRPr>
            </a:p>
          </p:txBody>
        </p:sp>
        <p:cxnSp>
          <p:nvCxnSpPr>
            <p:cNvPr id="114" name="Rak 113"/>
            <p:cNvCxnSpPr/>
            <p:nvPr/>
          </p:nvCxnSpPr>
          <p:spPr bwMode="auto">
            <a:xfrm flipH="1">
              <a:off x="4897465" y="4612114"/>
              <a:ext cx="1" cy="254354"/>
            </a:xfrm>
            <a:prstGeom prst="line">
              <a:avLst/>
            </a:prstGeom>
            <a:solidFill>
              <a:schemeClr val="accent1"/>
            </a:solidFill>
            <a:ln w="12700" cap="flat" cmpd="sng" algn="ctr">
              <a:solidFill>
                <a:schemeClr val="bg1">
                  <a:alpha val="40000"/>
                </a:schemeClr>
              </a:solidFill>
              <a:prstDash val="solid"/>
              <a:round/>
              <a:headEnd type="none" w="med" len="med"/>
              <a:tailEnd type="oval" w="med" len="med"/>
            </a:ln>
            <a:effectLst/>
          </p:spPr>
        </p:cxnSp>
      </p:grpSp>
      <p:grpSp>
        <p:nvGrpSpPr>
          <p:cNvPr id="115" name="Grupp 114"/>
          <p:cNvGrpSpPr/>
          <p:nvPr/>
        </p:nvGrpSpPr>
        <p:grpSpPr>
          <a:xfrm>
            <a:off x="-3266870" y="2544479"/>
            <a:ext cx="1751308" cy="2293748"/>
            <a:chOff x="278970" y="3316639"/>
            <a:chExt cx="1751308" cy="2293748"/>
          </a:xfrm>
        </p:grpSpPr>
        <p:sp>
          <p:nvSpPr>
            <p:cNvPr id="116" name="Freeform 3"/>
            <p:cNvSpPr>
              <a:spLocks noChangeAspect="1" noEditPoints="1"/>
            </p:cNvSpPr>
            <p:nvPr/>
          </p:nvSpPr>
          <p:spPr bwMode="auto">
            <a:xfrm>
              <a:off x="829410" y="3709843"/>
              <a:ext cx="656395" cy="862160"/>
            </a:xfrm>
            <a:custGeom>
              <a:avLst/>
              <a:gdLst>
                <a:gd name="T0" fmla="*/ 2147483647 w 270"/>
                <a:gd name="T1" fmla="*/ 2147483647 h 355"/>
                <a:gd name="T2" fmla="*/ 2147483647 w 270"/>
                <a:gd name="T3" fmla="*/ 2147483647 h 355"/>
                <a:gd name="T4" fmla="*/ 2147483647 w 270"/>
                <a:gd name="T5" fmla="*/ 2147483647 h 355"/>
                <a:gd name="T6" fmla="*/ 2147483647 w 270"/>
                <a:gd name="T7" fmla="*/ 2147483647 h 355"/>
                <a:gd name="T8" fmla="*/ 2147483647 w 270"/>
                <a:gd name="T9" fmla="*/ 2147483647 h 355"/>
                <a:gd name="T10" fmla="*/ 2147483647 w 270"/>
                <a:gd name="T11" fmla="*/ 2147483647 h 355"/>
                <a:gd name="T12" fmla="*/ 2147483647 w 270"/>
                <a:gd name="T13" fmla="*/ 2147483647 h 355"/>
                <a:gd name="T14" fmla="*/ 2147483647 w 270"/>
                <a:gd name="T15" fmla="*/ 2147483647 h 355"/>
                <a:gd name="T16" fmla="*/ 2147483647 w 270"/>
                <a:gd name="T17" fmla="*/ 2147483647 h 355"/>
                <a:gd name="T18" fmla="*/ 2147483647 w 270"/>
                <a:gd name="T19" fmla="*/ 2147483647 h 355"/>
                <a:gd name="T20" fmla="*/ 2147483647 w 270"/>
                <a:gd name="T21" fmla="*/ 2147483647 h 355"/>
                <a:gd name="T22" fmla="*/ 2147483647 w 270"/>
                <a:gd name="T23" fmla="*/ 2147483647 h 355"/>
                <a:gd name="T24" fmla="*/ 2147483647 w 270"/>
                <a:gd name="T25" fmla="*/ 2147483647 h 355"/>
                <a:gd name="T26" fmla="*/ 2147483647 w 270"/>
                <a:gd name="T27" fmla="*/ 2147483647 h 355"/>
                <a:gd name="T28" fmla="*/ 2147483647 w 270"/>
                <a:gd name="T29" fmla="*/ 2147483647 h 355"/>
                <a:gd name="T30" fmla="*/ 2147483647 w 270"/>
                <a:gd name="T31" fmla="*/ 2147483647 h 355"/>
                <a:gd name="T32" fmla="*/ 2147483647 w 270"/>
                <a:gd name="T33" fmla="*/ 2147483647 h 355"/>
                <a:gd name="T34" fmla="*/ 2147483647 w 270"/>
                <a:gd name="T35" fmla="*/ 2147483647 h 355"/>
                <a:gd name="T36" fmla="*/ 2147483647 w 270"/>
                <a:gd name="T37" fmla="*/ 2147483647 h 355"/>
                <a:gd name="T38" fmla="*/ 2147483647 w 270"/>
                <a:gd name="T39" fmla="*/ 2147483647 h 355"/>
                <a:gd name="T40" fmla="*/ 2147483647 w 270"/>
                <a:gd name="T41" fmla="*/ 2147483647 h 355"/>
                <a:gd name="T42" fmla="*/ 2147483647 w 270"/>
                <a:gd name="T43" fmla="*/ 2147483647 h 355"/>
                <a:gd name="T44" fmla="*/ 2147483647 w 270"/>
                <a:gd name="T45" fmla="*/ 0 h 355"/>
                <a:gd name="T46" fmla="*/ 2147483647 w 270"/>
                <a:gd name="T47" fmla="*/ 2147483647 h 355"/>
                <a:gd name="T48" fmla="*/ 2147483647 w 270"/>
                <a:gd name="T49" fmla="*/ 2147483647 h 355"/>
                <a:gd name="T50" fmla="*/ 0 w 270"/>
                <a:gd name="T51" fmla="*/ 2147483647 h 355"/>
                <a:gd name="T52" fmla="*/ 2147483647 w 270"/>
                <a:gd name="T53" fmla="*/ 2147483647 h 355"/>
                <a:gd name="T54" fmla="*/ 2147483647 w 270"/>
                <a:gd name="T55" fmla="*/ 2147483647 h 355"/>
                <a:gd name="T56" fmla="*/ 2147483647 w 270"/>
                <a:gd name="T57" fmla="*/ 2147483647 h 355"/>
                <a:gd name="T58" fmla="*/ 2147483647 w 270"/>
                <a:gd name="T59" fmla="*/ 2147483647 h 355"/>
                <a:gd name="T60" fmla="*/ 2147483647 w 270"/>
                <a:gd name="T61" fmla="*/ 2147483647 h 355"/>
                <a:gd name="T62" fmla="*/ 2147483647 w 270"/>
                <a:gd name="T63" fmla="*/ 2147483647 h 355"/>
                <a:gd name="T64" fmla="*/ 2147483647 w 270"/>
                <a:gd name="T65" fmla="*/ 2147483647 h 355"/>
                <a:gd name="T66" fmla="*/ 2147483647 w 270"/>
                <a:gd name="T67" fmla="*/ 2147483647 h 35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70" h="355">
                  <a:moveTo>
                    <a:pt x="113" y="254"/>
                  </a:moveTo>
                  <a:cubicBezTo>
                    <a:pt x="106" y="297"/>
                    <a:pt x="106" y="297"/>
                    <a:pt x="106" y="297"/>
                  </a:cubicBezTo>
                  <a:cubicBezTo>
                    <a:pt x="105" y="300"/>
                    <a:pt x="106" y="302"/>
                    <a:pt x="107" y="304"/>
                  </a:cubicBezTo>
                  <a:cubicBezTo>
                    <a:pt x="109" y="306"/>
                    <a:pt x="111" y="307"/>
                    <a:pt x="113" y="307"/>
                  </a:cubicBezTo>
                  <a:cubicBezTo>
                    <a:pt x="157" y="307"/>
                    <a:pt x="157" y="307"/>
                    <a:pt x="157" y="307"/>
                  </a:cubicBezTo>
                  <a:cubicBezTo>
                    <a:pt x="160" y="307"/>
                    <a:pt x="162" y="306"/>
                    <a:pt x="164" y="304"/>
                  </a:cubicBezTo>
                  <a:cubicBezTo>
                    <a:pt x="165" y="302"/>
                    <a:pt x="166" y="300"/>
                    <a:pt x="165" y="297"/>
                  </a:cubicBezTo>
                  <a:cubicBezTo>
                    <a:pt x="157" y="254"/>
                    <a:pt x="157" y="254"/>
                    <a:pt x="157" y="254"/>
                  </a:cubicBezTo>
                  <a:cubicBezTo>
                    <a:pt x="167" y="248"/>
                    <a:pt x="173" y="237"/>
                    <a:pt x="173" y="225"/>
                  </a:cubicBezTo>
                  <a:cubicBezTo>
                    <a:pt x="173" y="206"/>
                    <a:pt x="157" y="188"/>
                    <a:pt x="135" y="188"/>
                  </a:cubicBezTo>
                  <a:cubicBezTo>
                    <a:pt x="114" y="188"/>
                    <a:pt x="97" y="206"/>
                    <a:pt x="97" y="225"/>
                  </a:cubicBezTo>
                  <a:cubicBezTo>
                    <a:pt x="97" y="237"/>
                    <a:pt x="103" y="248"/>
                    <a:pt x="113" y="254"/>
                  </a:cubicBezTo>
                  <a:close/>
                  <a:moveTo>
                    <a:pt x="135" y="204"/>
                  </a:moveTo>
                  <a:cubicBezTo>
                    <a:pt x="148" y="204"/>
                    <a:pt x="157" y="214"/>
                    <a:pt x="157" y="225"/>
                  </a:cubicBezTo>
                  <a:cubicBezTo>
                    <a:pt x="157" y="233"/>
                    <a:pt x="152" y="240"/>
                    <a:pt x="145" y="243"/>
                  </a:cubicBezTo>
                  <a:cubicBezTo>
                    <a:pt x="141" y="244"/>
                    <a:pt x="139" y="248"/>
                    <a:pt x="140" y="252"/>
                  </a:cubicBezTo>
                  <a:cubicBezTo>
                    <a:pt x="147" y="291"/>
                    <a:pt x="147" y="291"/>
                    <a:pt x="147" y="291"/>
                  </a:cubicBezTo>
                  <a:cubicBezTo>
                    <a:pt x="123" y="291"/>
                    <a:pt x="123" y="291"/>
                    <a:pt x="123" y="291"/>
                  </a:cubicBezTo>
                  <a:cubicBezTo>
                    <a:pt x="130" y="252"/>
                    <a:pt x="130" y="252"/>
                    <a:pt x="130" y="252"/>
                  </a:cubicBezTo>
                  <a:cubicBezTo>
                    <a:pt x="131" y="248"/>
                    <a:pt x="129" y="244"/>
                    <a:pt x="125" y="243"/>
                  </a:cubicBezTo>
                  <a:cubicBezTo>
                    <a:pt x="118" y="240"/>
                    <a:pt x="113" y="233"/>
                    <a:pt x="113" y="225"/>
                  </a:cubicBezTo>
                  <a:cubicBezTo>
                    <a:pt x="113" y="214"/>
                    <a:pt x="122" y="204"/>
                    <a:pt x="135" y="204"/>
                  </a:cubicBezTo>
                  <a:close/>
                  <a:moveTo>
                    <a:pt x="256" y="141"/>
                  </a:moveTo>
                  <a:cubicBezTo>
                    <a:pt x="243" y="141"/>
                    <a:pt x="243" y="141"/>
                    <a:pt x="243" y="141"/>
                  </a:cubicBezTo>
                  <a:cubicBezTo>
                    <a:pt x="243" y="106"/>
                    <a:pt x="243" y="106"/>
                    <a:pt x="243" y="106"/>
                  </a:cubicBezTo>
                  <a:cubicBezTo>
                    <a:pt x="243" y="106"/>
                    <a:pt x="243" y="105"/>
                    <a:pt x="243" y="105"/>
                  </a:cubicBezTo>
                  <a:cubicBezTo>
                    <a:pt x="243" y="93"/>
                    <a:pt x="242" y="82"/>
                    <a:pt x="238" y="70"/>
                  </a:cubicBezTo>
                  <a:cubicBezTo>
                    <a:pt x="236" y="66"/>
                    <a:pt x="232" y="64"/>
                    <a:pt x="227" y="66"/>
                  </a:cubicBezTo>
                  <a:cubicBezTo>
                    <a:pt x="223" y="67"/>
                    <a:pt x="221" y="72"/>
                    <a:pt x="223" y="76"/>
                  </a:cubicBezTo>
                  <a:cubicBezTo>
                    <a:pt x="226" y="85"/>
                    <a:pt x="227" y="94"/>
                    <a:pt x="227" y="106"/>
                  </a:cubicBezTo>
                  <a:cubicBezTo>
                    <a:pt x="227" y="106"/>
                    <a:pt x="227" y="107"/>
                    <a:pt x="227" y="107"/>
                  </a:cubicBezTo>
                  <a:cubicBezTo>
                    <a:pt x="227" y="141"/>
                    <a:pt x="227" y="141"/>
                    <a:pt x="227" y="141"/>
                  </a:cubicBezTo>
                  <a:cubicBezTo>
                    <a:pt x="211" y="141"/>
                    <a:pt x="211" y="141"/>
                    <a:pt x="211" y="141"/>
                  </a:cubicBezTo>
                  <a:cubicBezTo>
                    <a:pt x="211" y="106"/>
                    <a:pt x="211" y="106"/>
                    <a:pt x="211" y="106"/>
                  </a:cubicBezTo>
                  <a:cubicBezTo>
                    <a:pt x="211" y="89"/>
                    <a:pt x="204" y="71"/>
                    <a:pt x="191" y="56"/>
                  </a:cubicBezTo>
                  <a:cubicBezTo>
                    <a:pt x="177" y="41"/>
                    <a:pt x="158" y="30"/>
                    <a:pt x="135" y="30"/>
                  </a:cubicBezTo>
                  <a:cubicBezTo>
                    <a:pt x="93" y="30"/>
                    <a:pt x="59" y="64"/>
                    <a:pt x="59" y="106"/>
                  </a:cubicBezTo>
                  <a:cubicBezTo>
                    <a:pt x="59" y="141"/>
                    <a:pt x="59" y="141"/>
                    <a:pt x="59" y="141"/>
                  </a:cubicBezTo>
                  <a:cubicBezTo>
                    <a:pt x="43" y="141"/>
                    <a:pt x="43" y="141"/>
                    <a:pt x="43" y="141"/>
                  </a:cubicBezTo>
                  <a:cubicBezTo>
                    <a:pt x="43" y="106"/>
                    <a:pt x="43" y="106"/>
                    <a:pt x="43" y="106"/>
                  </a:cubicBezTo>
                  <a:cubicBezTo>
                    <a:pt x="43" y="106"/>
                    <a:pt x="43" y="106"/>
                    <a:pt x="43" y="106"/>
                  </a:cubicBezTo>
                  <a:cubicBezTo>
                    <a:pt x="44" y="56"/>
                    <a:pt x="85" y="16"/>
                    <a:pt x="135" y="16"/>
                  </a:cubicBezTo>
                  <a:cubicBezTo>
                    <a:pt x="179" y="16"/>
                    <a:pt x="199" y="40"/>
                    <a:pt x="207" y="50"/>
                  </a:cubicBezTo>
                  <a:cubicBezTo>
                    <a:pt x="210" y="54"/>
                    <a:pt x="215" y="55"/>
                    <a:pt x="218" y="52"/>
                  </a:cubicBezTo>
                  <a:cubicBezTo>
                    <a:pt x="222" y="49"/>
                    <a:pt x="223" y="44"/>
                    <a:pt x="220" y="41"/>
                  </a:cubicBezTo>
                  <a:cubicBezTo>
                    <a:pt x="211" y="29"/>
                    <a:pt x="185" y="0"/>
                    <a:pt x="135" y="0"/>
                  </a:cubicBezTo>
                  <a:cubicBezTo>
                    <a:pt x="77" y="0"/>
                    <a:pt x="29" y="46"/>
                    <a:pt x="27" y="104"/>
                  </a:cubicBezTo>
                  <a:cubicBezTo>
                    <a:pt x="27" y="105"/>
                    <a:pt x="27" y="105"/>
                    <a:pt x="27" y="106"/>
                  </a:cubicBezTo>
                  <a:cubicBezTo>
                    <a:pt x="27" y="141"/>
                    <a:pt x="27" y="141"/>
                    <a:pt x="27" y="141"/>
                  </a:cubicBezTo>
                  <a:cubicBezTo>
                    <a:pt x="14" y="141"/>
                    <a:pt x="14" y="141"/>
                    <a:pt x="14" y="141"/>
                  </a:cubicBezTo>
                  <a:cubicBezTo>
                    <a:pt x="6" y="141"/>
                    <a:pt x="0" y="148"/>
                    <a:pt x="0" y="156"/>
                  </a:cubicBezTo>
                  <a:cubicBezTo>
                    <a:pt x="0" y="341"/>
                    <a:pt x="0" y="341"/>
                    <a:pt x="0" y="341"/>
                  </a:cubicBezTo>
                  <a:cubicBezTo>
                    <a:pt x="0" y="349"/>
                    <a:pt x="6" y="355"/>
                    <a:pt x="14" y="355"/>
                  </a:cubicBezTo>
                  <a:cubicBezTo>
                    <a:pt x="14" y="355"/>
                    <a:pt x="256" y="355"/>
                    <a:pt x="256" y="355"/>
                  </a:cubicBezTo>
                  <a:cubicBezTo>
                    <a:pt x="264" y="355"/>
                    <a:pt x="270" y="349"/>
                    <a:pt x="270" y="341"/>
                  </a:cubicBezTo>
                  <a:cubicBezTo>
                    <a:pt x="270" y="156"/>
                    <a:pt x="270" y="156"/>
                    <a:pt x="270" y="156"/>
                  </a:cubicBezTo>
                  <a:cubicBezTo>
                    <a:pt x="270" y="148"/>
                    <a:pt x="264" y="141"/>
                    <a:pt x="256" y="141"/>
                  </a:cubicBezTo>
                  <a:close/>
                  <a:moveTo>
                    <a:pt x="75" y="106"/>
                  </a:moveTo>
                  <a:cubicBezTo>
                    <a:pt x="75" y="72"/>
                    <a:pt x="102" y="46"/>
                    <a:pt x="135" y="46"/>
                  </a:cubicBezTo>
                  <a:cubicBezTo>
                    <a:pt x="153" y="46"/>
                    <a:pt x="168" y="54"/>
                    <a:pt x="178" y="67"/>
                  </a:cubicBezTo>
                  <a:cubicBezTo>
                    <a:pt x="189" y="79"/>
                    <a:pt x="195" y="94"/>
                    <a:pt x="195" y="106"/>
                  </a:cubicBezTo>
                  <a:cubicBezTo>
                    <a:pt x="195" y="141"/>
                    <a:pt x="195" y="141"/>
                    <a:pt x="195" y="141"/>
                  </a:cubicBezTo>
                  <a:cubicBezTo>
                    <a:pt x="75" y="141"/>
                    <a:pt x="75" y="141"/>
                    <a:pt x="75" y="141"/>
                  </a:cubicBezTo>
                  <a:lnTo>
                    <a:pt x="75" y="106"/>
                  </a:lnTo>
                  <a:close/>
                  <a:moveTo>
                    <a:pt x="254" y="339"/>
                  </a:moveTo>
                  <a:cubicBezTo>
                    <a:pt x="16" y="339"/>
                    <a:pt x="16" y="339"/>
                    <a:pt x="16" y="339"/>
                  </a:cubicBezTo>
                  <a:cubicBezTo>
                    <a:pt x="16" y="157"/>
                    <a:pt x="16" y="157"/>
                    <a:pt x="16" y="157"/>
                  </a:cubicBezTo>
                  <a:cubicBezTo>
                    <a:pt x="254" y="157"/>
                    <a:pt x="254" y="157"/>
                    <a:pt x="254" y="157"/>
                  </a:cubicBezTo>
                  <a:lnTo>
                    <a:pt x="254" y="339"/>
                  </a:lnTo>
                  <a:close/>
                </a:path>
              </a:pathLst>
            </a:custGeom>
            <a:solidFill>
              <a:srgbClr val="FFFFFF"/>
            </a:solidFill>
            <a:ln>
              <a:noFill/>
            </a:ln>
          </p:spPr>
          <p:txBody>
            <a:bodyPr/>
            <a:lstStyle/>
            <a:p>
              <a:endParaRPr lang="en-US" dirty="0"/>
            </a:p>
          </p:txBody>
        </p:sp>
        <p:sp>
          <p:nvSpPr>
            <p:cNvPr id="117" name="Ellips 116"/>
            <p:cNvSpPr/>
            <p:nvPr/>
          </p:nvSpPr>
          <p:spPr bwMode="auto">
            <a:xfrm>
              <a:off x="278970" y="3316639"/>
              <a:ext cx="1751308" cy="1751308"/>
            </a:xfrm>
            <a:prstGeom prst="ellipse">
              <a:avLst/>
            </a:prstGeom>
            <a:noFill/>
            <a:ln w="12700" cap="flat" cmpd="sng" algn="ctr">
              <a:solidFill>
                <a:schemeClr val="bg1">
                  <a:alpha val="40000"/>
                </a:schemeClr>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sv-SE" sz="2000" b="0" i="0" u="none" strike="noStrike" cap="none" normalizeH="0" baseline="0" dirty="0">
                <a:ln>
                  <a:noFill/>
                </a:ln>
                <a:solidFill>
                  <a:schemeClr val="tx1"/>
                </a:solidFill>
                <a:effectLst/>
                <a:latin typeface="Arial" charset="0"/>
              </a:endParaRPr>
            </a:p>
          </p:txBody>
        </p:sp>
        <p:cxnSp>
          <p:nvCxnSpPr>
            <p:cNvPr id="118" name="Rak 117"/>
            <p:cNvCxnSpPr/>
            <p:nvPr/>
          </p:nvCxnSpPr>
          <p:spPr bwMode="auto">
            <a:xfrm>
              <a:off x="1146875" y="5067947"/>
              <a:ext cx="0" cy="542440"/>
            </a:xfrm>
            <a:prstGeom prst="line">
              <a:avLst/>
            </a:prstGeom>
            <a:solidFill>
              <a:schemeClr val="accent1"/>
            </a:solidFill>
            <a:ln w="12700" cap="flat" cmpd="sng" algn="ctr">
              <a:solidFill>
                <a:schemeClr val="bg1">
                  <a:alpha val="40000"/>
                </a:schemeClr>
              </a:solidFill>
              <a:prstDash val="solid"/>
              <a:round/>
              <a:headEnd type="none" w="med" len="med"/>
              <a:tailEnd type="oval" w="med" len="med"/>
            </a:ln>
            <a:effectLst/>
          </p:spPr>
        </p:cxnSp>
      </p:grpSp>
      <p:cxnSp>
        <p:nvCxnSpPr>
          <p:cNvPr id="119" name="Rak 118"/>
          <p:cNvCxnSpPr/>
          <p:nvPr/>
        </p:nvCxnSpPr>
        <p:spPr bwMode="auto">
          <a:xfrm flipH="1">
            <a:off x="4744548" y="6013505"/>
            <a:ext cx="1" cy="254354"/>
          </a:xfrm>
          <a:prstGeom prst="line">
            <a:avLst/>
          </a:prstGeom>
          <a:solidFill>
            <a:schemeClr val="accent1"/>
          </a:solidFill>
          <a:ln w="12700" cap="flat" cmpd="sng" algn="ctr">
            <a:solidFill>
              <a:schemeClr val="bg1">
                <a:alpha val="40000"/>
              </a:schemeClr>
            </a:solidFill>
            <a:prstDash val="solid"/>
            <a:round/>
            <a:headEnd type="none" w="med" len="med"/>
            <a:tailEnd type="oval" w="med" len="med"/>
          </a:ln>
          <a:effectLst/>
        </p:spPr>
      </p:cxnSp>
      <p:sp>
        <p:nvSpPr>
          <p:cNvPr id="120" name="Freeform 113"/>
          <p:cNvSpPr>
            <a:spLocks noChangeAspect="1" noEditPoints="1"/>
          </p:cNvSpPr>
          <p:nvPr/>
        </p:nvSpPr>
        <p:spPr bwMode="auto">
          <a:xfrm>
            <a:off x="4617729" y="5748693"/>
            <a:ext cx="256151" cy="255695"/>
          </a:xfrm>
          <a:custGeom>
            <a:avLst/>
            <a:gdLst>
              <a:gd name="T0" fmla="*/ 2147483647 w 385"/>
              <a:gd name="T1" fmla="*/ 2147483647 h 385"/>
              <a:gd name="T2" fmla="*/ 2147483647 w 385"/>
              <a:gd name="T3" fmla="*/ 2147483647 h 385"/>
              <a:gd name="T4" fmla="*/ 2147483647 w 385"/>
              <a:gd name="T5" fmla="*/ 2147483647 h 385"/>
              <a:gd name="T6" fmla="*/ 2147483647 w 385"/>
              <a:gd name="T7" fmla="*/ 2147483647 h 385"/>
              <a:gd name="T8" fmla="*/ 2147483647 w 385"/>
              <a:gd name="T9" fmla="*/ 2147483647 h 385"/>
              <a:gd name="T10" fmla="*/ 2147483647 w 385"/>
              <a:gd name="T11" fmla="*/ 2147483647 h 385"/>
              <a:gd name="T12" fmla="*/ 2147483647 w 385"/>
              <a:gd name="T13" fmla="*/ 2147483647 h 385"/>
              <a:gd name="T14" fmla="*/ 2147483647 w 385"/>
              <a:gd name="T15" fmla="*/ 2147483647 h 385"/>
              <a:gd name="T16" fmla="*/ 2147483647 w 385"/>
              <a:gd name="T17" fmla="*/ 2147483647 h 385"/>
              <a:gd name="T18" fmla="*/ 2147483647 w 385"/>
              <a:gd name="T19" fmla="*/ 2147483647 h 385"/>
              <a:gd name="T20" fmla="*/ 2147483647 w 385"/>
              <a:gd name="T21" fmla="*/ 2147483647 h 385"/>
              <a:gd name="T22" fmla="*/ 2147483647 w 385"/>
              <a:gd name="T23" fmla="*/ 2147483647 h 385"/>
              <a:gd name="T24" fmla="*/ 2147483647 w 385"/>
              <a:gd name="T25" fmla="*/ 2147483647 h 385"/>
              <a:gd name="T26" fmla="*/ 2147483647 w 385"/>
              <a:gd name="T27" fmla="*/ 2147483647 h 385"/>
              <a:gd name="T28" fmla="*/ 2147483647 w 385"/>
              <a:gd name="T29" fmla="*/ 2147483647 h 385"/>
              <a:gd name="T30" fmla="*/ 2147483647 w 385"/>
              <a:gd name="T31" fmla="*/ 2147483647 h 385"/>
              <a:gd name="T32" fmla="*/ 2147483647 w 385"/>
              <a:gd name="T33" fmla="*/ 2147483647 h 385"/>
              <a:gd name="T34" fmla="*/ 2147483647 w 385"/>
              <a:gd name="T35" fmla="*/ 2147483647 h 385"/>
              <a:gd name="T36" fmla="*/ 2147483647 w 385"/>
              <a:gd name="T37" fmla="*/ 2147483647 h 385"/>
              <a:gd name="T38" fmla="*/ 2147483647 w 385"/>
              <a:gd name="T39" fmla="*/ 2147483647 h 385"/>
              <a:gd name="T40" fmla="*/ 2147483647 w 385"/>
              <a:gd name="T41" fmla="*/ 2147483647 h 385"/>
              <a:gd name="T42" fmla="*/ 2147483647 w 385"/>
              <a:gd name="T43" fmla="*/ 2147483647 h 385"/>
              <a:gd name="T44" fmla="*/ 2147483647 w 385"/>
              <a:gd name="T45" fmla="*/ 2147483647 h 385"/>
              <a:gd name="T46" fmla="*/ 2147483647 w 385"/>
              <a:gd name="T47" fmla="*/ 2147483647 h 385"/>
              <a:gd name="T48" fmla="*/ 2147483647 w 385"/>
              <a:gd name="T49" fmla="*/ 2147483647 h 385"/>
              <a:gd name="T50" fmla="*/ 2147483647 w 385"/>
              <a:gd name="T51" fmla="*/ 2147483647 h 385"/>
              <a:gd name="T52" fmla="*/ 2147483647 w 385"/>
              <a:gd name="T53" fmla="*/ 2147483647 h 385"/>
              <a:gd name="T54" fmla="*/ 2147483647 w 385"/>
              <a:gd name="T55" fmla="*/ 2147483647 h 385"/>
              <a:gd name="T56" fmla="*/ 2147483647 w 385"/>
              <a:gd name="T57" fmla="*/ 2147483647 h 385"/>
              <a:gd name="T58" fmla="*/ 2147483647 w 385"/>
              <a:gd name="T59" fmla="*/ 2147483647 h 385"/>
              <a:gd name="T60" fmla="*/ 2147483647 w 385"/>
              <a:gd name="T61" fmla="*/ 2147483647 h 385"/>
              <a:gd name="T62" fmla="*/ 2147483647 w 385"/>
              <a:gd name="T63" fmla="*/ 2147483647 h 385"/>
              <a:gd name="T64" fmla="*/ 2147483647 w 385"/>
              <a:gd name="T65" fmla="*/ 2147483647 h 385"/>
              <a:gd name="T66" fmla="*/ 0 w 385"/>
              <a:gd name="T67" fmla="*/ 2147483647 h 385"/>
              <a:gd name="T68" fmla="*/ 2147483647 w 385"/>
              <a:gd name="T69" fmla="*/ 2147483647 h 385"/>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85"/>
              <a:gd name="T106" fmla="*/ 0 h 385"/>
              <a:gd name="T107" fmla="*/ 385 w 385"/>
              <a:gd name="T108" fmla="*/ 385 h 385"/>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85" h="385">
                <a:moveTo>
                  <a:pt x="192" y="333"/>
                </a:moveTo>
                <a:cubicBezTo>
                  <a:pt x="202" y="333"/>
                  <a:pt x="210" y="325"/>
                  <a:pt x="210" y="315"/>
                </a:cubicBezTo>
                <a:cubicBezTo>
                  <a:pt x="210" y="301"/>
                  <a:pt x="210" y="301"/>
                  <a:pt x="210" y="301"/>
                </a:cubicBezTo>
                <a:cubicBezTo>
                  <a:pt x="216" y="300"/>
                  <a:pt x="224" y="299"/>
                  <a:pt x="232" y="296"/>
                </a:cubicBezTo>
                <a:cubicBezTo>
                  <a:pt x="241" y="292"/>
                  <a:pt x="251" y="287"/>
                  <a:pt x="259" y="278"/>
                </a:cubicBezTo>
                <a:cubicBezTo>
                  <a:pt x="268" y="269"/>
                  <a:pt x="273" y="255"/>
                  <a:pt x="273" y="241"/>
                </a:cubicBezTo>
                <a:cubicBezTo>
                  <a:pt x="273" y="232"/>
                  <a:pt x="271" y="224"/>
                  <a:pt x="269" y="217"/>
                </a:cubicBezTo>
                <a:cubicBezTo>
                  <a:pt x="261" y="199"/>
                  <a:pt x="246" y="188"/>
                  <a:pt x="232" y="183"/>
                </a:cubicBezTo>
                <a:cubicBezTo>
                  <a:pt x="219" y="177"/>
                  <a:pt x="205" y="174"/>
                  <a:pt x="197" y="172"/>
                </a:cubicBezTo>
                <a:cubicBezTo>
                  <a:pt x="185" y="170"/>
                  <a:pt x="172" y="167"/>
                  <a:pt x="164" y="163"/>
                </a:cubicBezTo>
                <a:cubicBezTo>
                  <a:pt x="159" y="161"/>
                  <a:pt x="156" y="158"/>
                  <a:pt x="155" y="155"/>
                </a:cubicBezTo>
                <a:cubicBezTo>
                  <a:pt x="153" y="152"/>
                  <a:pt x="151" y="149"/>
                  <a:pt x="151" y="141"/>
                </a:cubicBezTo>
                <a:cubicBezTo>
                  <a:pt x="151" y="135"/>
                  <a:pt x="153" y="133"/>
                  <a:pt x="155" y="130"/>
                </a:cubicBezTo>
                <a:cubicBezTo>
                  <a:pt x="159" y="125"/>
                  <a:pt x="168" y="121"/>
                  <a:pt x="176" y="120"/>
                </a:cubicBezTo>
                <a:cubicBezTo>
                  <a:pt x="180" y="119"/>
                  <a:pt x="184" y="118"/>
                  <a:pt x="187" y="118"/>
                </a:cubicBezTo>
                <a:cubicBezTo>
                  <a:pt x="188" y="118"/>
                  <a:pt x="189" y="118"/>
                  <a:pt x="190" y="118"/>
                </a:cubicBezTo>
                <a:cubicBezTo>
                  <a:pt x="191" y="118"/>
                  <a:pt x="191" y="118"/>
                  <a:pt x="191" y="118"/>
                </a:cubicBezTo>
                <a:cubicBezTo>
                  <a:pt x="205" y="118"/>
                  <a:pt x="215" y="121"/>
                  <a:pt x="221" y="123"/>
                </a:cubicBezTo>
                <a:cubicBezTo>
                  <a:pt x="224" y="125"/>
                  <a:pt x="226" y="126"/>
                  <a:pt x="227" y="127"/>
                </a:cubicBezTo>
                <a:cubicBezTo>
                  <a:pt x="228" y="127"/>
                  <a:pt x="228" y="127"/>
                  <a:pt x="228" y="127"/>
                </a:cubicBezTo>
                <a:cubicBezTo>
                  <a:pt x="228" y="127"/>
                  <a:pt x="228" y="127"/>
                  <a:pt x="228" y="127"/>
                </a:cubicBezTo>
                <a:cubicBezTo>
                  <a:pt x="236" y="134"/>
                  <a:pt x="247" y="133"/>
                  <a:pt x="253" y="126"/>
                </a:cubicBezTo>
                <a:cubicBezTo>
                  <a:pt x="260" y="119"/>
                  <a:pt x="260" y="107"/>
                  <a:pt x="252" y="100"/>
                </a:cubicBezTo>
                <a:cubicBezTo>
                  <a:pt x="250" y="99"/>
                  <a:pt x="237" y="87"/>
                  <a:pt x="210" y="83"/>
                </a:cubicBezTo>
                <a:cubicBezTo>
                  <a:pt x="210" y="70"/>
                  <a:pt x="210" y="70"/>
                  <a:pt x="210" y="70"/>
                </a:cubicBezTo>
                <a:cubicBezTo>
                  <a:pt x="210" y="60"/>
                  <a:pt x="202" y="52"/>
                  <a:pt x="192" y="52"/>
                </a:cubicBezTo>
                <a:cubicBezTo>
                  <a:pt x="182" y="52"/>
                  <a:pt x="174" y="60"/>
                  <a:pt x="174" y="70"/>
                </a:cubicBezTo>
                <a:cubicBezTo>
                  <a:pt x="174" y="83"/>
                  <a:pt x="174" y="83"/>
                  <a:pt x="174" y="83"/>
                </a:cubicBezTo>
                <a:cubicBezTo>
                  <a:pt x="168" y="84"/>
                  <a:pt x="162" y="86"/>
                  <a:pt x="156" y="88"/>
                </a:cubicBezTo>
                <a:cubicBezTo>
                  <a:pt x="147" y="92"/>
                  <a:pt x="137" y="97"/>
                  <a:pt x="129" y="105"/>
                </a:cubicBezTo>
                <a:cubicBezTo>
                  <a:pt x="121" y="114"/>
                  <a:pt x="115" y="127"/>
                  <a:pt x="115" y="141"/>
                </a:cubicBezTo>
                <a:cubicBezTo>
                  <a:pt x="115" y="154"/>
                  <a:pt x="118" y="166"/>
                  <a:pt x="124" y="175"/>
                </a:cubicBezTo>
                <a:cubicBezTo>
                  <a:pt x="134" y="189"/>
                  <a:pt x="147" y="196"/>
                  <a:pt x="159" y="200"/>
                </a:cubicBezTo>
                <a:cubicBezTo>
                  <a:pt x="171" y="204"/>
                  <a:pt x="182" y="206"/>
                  <a:pt x="189" y="207"/>
                </a:cubicBezTo>
                <a:cubicBezTo>
                  <a:pt x="198" y="209"/>
                  <a:pt x="209" y="212"/>
                  <a:pt x="218" y="215"/>
                </a:cubicBezTo>
                <a:cubicBezTo>
                  <a:pt x="227" y="220"/>
                  <a:pt x="233" y="224"/>
                  <a:pt x="235" y="231"/>
                </a:cubicBezTo>
                <a:cubicBezTo>
                  <a:pt x="236" y="233"/>
                  <a:pt x="237" y="236"/>
                  <a:pt x="237" y="241"/>
                </a:cubicBezTo>
                <a:cubicBezTo>
                  <a:pt x="237" y="247"/>
                  <a:pt x="235" y="251"/>
                  <a:pt x="232" y="254"/>
                </a:cubicBezTo>
                <a:cubicBezTo>
                  <a:pt x="228" y="259"/>
                  <a:pt x="220" y="263"/>
                  <a:pt x="211" y="265"/>
                </a:cubicBezTo>
                <a:cubicBezTo>
                  <a:pt x="202" y="267"/>
                  <a:pt x="194" y="267"/>
                  <a:pt x="192" y="267"/>
                </a:cubicBezTo>
                <a:cubicBezTo>
                  <a:pt x="192" y="267"/>
                  <a:pt x="192" y="267"/>
                  <a:pt x="192" y="267"/>
                </a:cubicBezTo>
                <a:cubicBezTo>
                  <a:pt x="180" y="267"/>
                  <a:pt x="167" y="262"/>
                  <a:pt x="157" y="257"/>
                </a:cubicBezTo>
                <a:cubicBezTo>
                  <a:pt x="152" y="254"/>
                  <a:pt x="147" y="251"/>
                  <a:pt x="145" y="249"/>
                </a:cubicBezTo>
                <a:cubicBezTo>
                  <a:pt x="143" y="248"/>
                  <a:pt x="142" y="248"/>
                  <a:pt x="141" y="247"/>
                </a:cubicBezTo>
                <a:cubicBezTo>
                  <a:pt x="141" y="247"/>
                  <a:pt x="141" y="247"/>
                  <a:pt x="141" y="247"/>
                </a:cubicBezTo>
                <a:cubicBezTo>
                  <a:pt x="141" y="246"/>
                  <a:pt x="141" y="246"/>
                  <a:pt x="141" y="246"/>
                </a:cubicBezTo>
                <a:cubicBezTo>
                  <a:pt x="133" y="240"/>
                  <a:pt x="121" y="241"/>
                  <a:pt x="115" y="249"/>
                </a:cubicBezTo>
                <a:cubicBezTo>
                  <a:pt x="109" y="257"/>
                  <a:pt x="110" y="268"/>
                  <a:pt x="118" y="274"/>
                </a:cubicBezTo>
                <a:cubicBezTo>
                  <a:pt x="119" y="275"/>
                  <a:pt x="127" y="282"/>
                  <a:pt x="140" y="289"/>
                </a:cubicBezTo>
                <a:cubicBezTo>
                  <a:pt x="149" y="293"/>
                  <a:pt x="161" y="298"/>
                  <a:pt x="174" y="301"/>
                </a:cubicBezTo>
                <a:cubicBezTo>
                  <a:pt x="174" y="315"/>
                  <a:pt x="174" y="315"/>
                  <a:pt x="174" y="315"/>
                </a:cubicBezTo>
                <a:cubicBezTo>
                  <a:pt x="174" y="325"/>
                  <a:pt x="182" y="333"/>
                  <a:pt x="192" y="333"/>
                </a:cubicBezTo>
                <a:close/>
                <a:moveTo>
                  <a:pt x="339" y="68"/>
                </a:moveTo>
                <a:cubicBezTo>
                  <a:pt x="336" y="64"/>
                  <a:pt x="331" y="64"/>
                  <a:pt x="327" y="67"/>
                </a:cubicBezTo>
                <a:cubicBezTo>
                  <a:pt x="324" y="70"/>
                  <a:pt x="323" y="75"/>
                  <a:pt x="326" y="78"/>
                </a:cubicBezTo>
                <a:cubicBezTo>
                  <a:pt x="353" y="109"/>
                  <a:pt x="369" y="149"/>
                  <a:pt x="369" y="193"/>
                </a:cubicBezTo>
                <a:cubicBezTo>
                  <a:pt x="369" y="241"/>
                  <a:pt x="349" y="285"/>
                  <a:pt x="317" y="317"/>
                </a:cubicBezTo>
                <a:cubicBezTo>
                  <a:pt x="285" y="349"/>
                  <a:pt x="241" y="369"/>
                  <a:pt x="192" y="369"/>
                </a:cubicBezTo>
                <a:cubicBezTo>
                  <a:pt x="143" y="369"/>
                  <a:pt x="99" y="349"/>
                  <a:pt x="67" y="317"/>
                </a:cubicBezTo>
                <a:cubicBezTo>
                  <a:pt x="35" y="285"/>
                  <a:pt x="16" y="241"/>
                  <a:pt x="16" y="193"/>
                </a:cubicBezTo>
                <a:cubicBezTo>
                  <a:pt x="16" y="144"/>
                  <a:pt x="35" y="100"/>
                  <a:pt x="67" y="68"/>
                </a:cubicBezTo>
                <a:cubicBezTo>
                  <a:pt x="99" y="36"/>
                  <a:pt x="143" y="16"/>
                  <a:pt x="192" y="16"/>
                </a:cubicBezTo>
                <a:cubicBezTo>
                  <a:pt x="234" y="16"/>
                  <a:pt x="273" y="31"/>
                  <a:pt x="304" y="56"/>
                </a:cubicBezTo>
                <a:cubicBezTo>
                  <a:pt x="307" y="59"/>
                  <a:pt x="312" y="58"/>
                  <a:pt x="315" y="55"/>
                </a:cubicBezTo>
                <a:cubicBezTo>
                  <a:pt x="318" y="51"/>
                  <a:pt x="317" y="46"/>
                  <a:pt x="314" y="43"/>
                </a:cubicBezTo>
                <a:cubicBezTo>
                  <a:pt x="314" y="43"/>
                  <a:pt x="314" y="43"/>
                  <a:pt x="314" y="43"/>
                </a:cubicBezTo>
                <a:cubicBezTo>
                  <a:pt x="281" y="16"/>
                  <a:pt x="238" y="0"/>
                  <a:pt x="192" y="0"/>
                </a:cubicBezTo>
                <a:cubicBezTo>
                  <a:pt x="86" y="0"/>
                  <a:pt x="0" y="86"/>
                  <a:pt x="0" y="193"/>
                </a:cubicBezTo>
                <a:cubicBezTo>
                  <a:pt x="0" y="299"/>
                  <a:pt x="86" y="385"/>
                  <a:pt x="192" y="385"/>
                </a:cubicBezTo>
                <a:cubicBezTo>
                  <a:pt x="298" y="385"/>
                  <a:pt x="385" y="299"/>
                  <a:pt x="385" y="193"/>
                </a:cubicBezTo>
                <a:cubicBezTo>
                  <a:pt x="385" y="145"/>
                  <a:pt x="367" y="101"/>
                  <a:pt x="339" y="68"/>
                </a:cubicBezTo>
                <a:close/>
              </a:path>
            </a:pathLst>
          </a:custGeom>
          <a:solidFill>
            <a:srgbClr val="FFFFFF">
              <a:alpha val="59000"/>
            </a:srgbClr>
          </a:solidFill>
          <a:ln>
            <a:noFill/>
          </a:ln>
          <a:extLst/>
        </p:spPr>
        <p:txBody>
          <a:bodyPr/>
          <a:lstStyle/>
          <a:p>
            <a:endParaRPr lang="en-US" dirty="0">
              <a:solidFill>
                <a:srgbClr val="58585A"/>
              </a:solidFill>
            </a:endParaRPr>
          </a:p>
        </p:txBody>
      </p:sp>
      <p:grpSp>
        <p:nvGrpSpPr>
          <p:cNvPr id="122" name="Grupp 121"/>
          <p:cNvGrpSpPr/>
          <p:nvPr/>
        </p:nvGrpSpPr>
        <p:grpSpPr>
          <a:xfrm>
            <a:off x="5905306" y="4704467"/>
            <a:ext cx="1069383" cy="2402238"/>
            <a:chOff x="5703376" y="3490347"/>
            <a:chExt cx="1069383" cy="2402238"/>
          </a:xfrm>
        </p:grpSpPr>
        <p:sp>
          <p:nvSpPr>
            <p:cNvPr id="123" name="Ellips 122"/>
            <p:cNvSpPr/>
            <p:nvPr/>
          </p:nvSpPr>
          <p:spPr bwMode="auto">
            <a:xfrm>
              <a:off x="5703376" y="3490347"/>
              <a:ext cx="1069383" cy="1069383"/>
            </a:xfrm>
            <a:prstGeom prst="ellipse">
              <a:avLst/>
            </a:prstGeom>
            <a:noFill/>
            <a:ln w="12700" cap="flat" cmpd="sng" algn="ctr">
              <a:solidFill>
                <a:schemeClr val="bg1">
                  <a:alpha val="40000"/>
                </a:schemeClr>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sv-SE" sz="2000" b="0" i="0" u="none" strike="noStrike" cap="none" normalizeH="0" baseline="0" dirty="0">
                <a:ln>
                  <a:noFill/>
                </a:ln>
                <a:effectLst/>
                <a:latin typeface="Arial" charset="0"/>
              </a:endParaRPr>
            </a:p>
          </p:txBody>
        </p:sp>
        <p:cxnSp>
          <p:nvCxnSpPr>
            <p:cNvPr id="124" name="Rak 123"/>
            <p:cNvCxnSpPr/>
            <p:nvPr/>
          </p:nvCxnSpPr>
          <p:spPr bwMode="auto">
            <a:xfrm>
              <a:off x="6245818" y="4559731"/>
              <a:ext cx="0" cy="1332854"/>
            </a:xfrm>
            <a:prstGeom prst="line">
              <a:avLst/>
            </a:prstGeom>
            <a:solidFill>
              <a:schemeClr val="accent1"/>
            </a:solidFill>
            <a:ln w="12700" cap="flat" cmpd="sng" algn="ctr">
              <a:solidFill>
                <a:schemeClr val="bg1">
                  <a:alpha val="26000"/>
                </a:schemeClr>
              </a:solidFill>
              <a:prstDash val="solid"/>
              <a:round/>
              <a:headEnd type="none" w="med" len="med"/>
              <a:tailEnd type="oval" w="med" len="med"/>
            </a:ln>
            <a:effectLst/>
          </p:spPr>
        </p:cxnSp>
      </p:grpSp>
      <p:sp>
        <p:nvSpPr>
          <p:cNvPr id="126" name="Ellips 125"/>
          <p:cNvSpPr/>
          <p:nvPr/>
        </p:nvSpPr>
        <p:spPr bwMode="auto">
          <a:xfrm>
            <a:off x="9366272" y="4494917"/>
            <a:ext cx="480448" cy="480448"/>
          </a:xfrm>
          <a:prstGeom prst="ellipse">
            <a:avLst/>
          </a:prstGeom>
          <a:noFill/>
          <a:ln w="12700" cap="flat" cmpd="sng" algn="ctr">
            <a:solidFill>
              <a:schemeClr val="bg1">
                <a:alpha val="40000"/>
              </a:schemeClr>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sv-SE" sz="2000" b="0" i="0" u="none" strike="noStrike" cap="none" normalizeH="0" baseline="0" dirty="0">
              <a:ln>
                <a:noFill/>
              </a:ln>
              <a:effectLst/>
              <a:latin typeface="Arial" charset="0"/>
            </a:endParaRPr>
          </a:p>
        </p:txBody>
      </p:sp>
      <p:cxnSp>
        <p:nvCxnSpPr>
          <p:cNvPr id="127" name="Rak 126"/>
          <p:cNvCxnSpPr/>
          <p:nvPr/>
        </p:nvCxnSpPr>
        <p:spPr bwMode="auto">
          <a:xfrm>
            <a:off x="9610048" y="4985326"/>
            <a:ext cx="0" cy="2336369"/>
          </a:xfrm>
          <a:prstGeom prst="line">
            <a:avLst/>
          </a:prstGeom>
          <a:solidFill>
            <a:schemeClr val="accent1"/>
          </a:solidFill>
          <a:ln w="12700" cap="flat" cmpd="sng" algn="ctr">
            <a:solidFill>
              <a:schemeClr val="bg1">
                <a:alpha val="17000"/>
              </a:schemeClr>
            </a:solidFill>
            <a:prstDash val="solid"/>
            <a:round/>
            <a:headEnd type="none" w="med" len="med"/>
            <a:tailEnd type="oval" w="med" len="med"/>
          </a:ln>
          <a:effectLst/>
        </p:spPr>
      </p:cxnSp>
      <p:pic>
        <p:nvPicPr>
          <p:cNvPr id="129" name="Bildobjekt 12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103880" y="6402070"/>
            <a:ext cx="3835400" cy="3835400"/>
          </a:xfrm>
          <a:prstGeom prst="rect">
            <a:avLst/>
          </a:prstGeom>
        </p:spPr>
      </p:pic>
      <p:pic>
        <p:nvPicPr>
          <p:cNvPr id="130" name="Bildobjekt 129"/>
          <p:cNvPicPr>
            <a:picLocks noChangeAspect="1"/>
          </p:cNvPicPr>
          <p:nvPr/>
        </p:nvPicPr>
        <p:blipFill>
          <a:blip r:embed="rId5" cstate="print">
            <a:alphaModFix amt="44000"/>
            <a:extLst>
              <a:ext uri="{28A0092B-C50C-407E-A947-70E740481C1C}">
                <a14:useLocalDpi xmlns:a14="http://schemas.microsoft.com/office/drawing/2010/main" val="0"/>
              </a:ext>
            </a:extLst>
          </a:blip>
          <a:stretch>
            <a:fillRect/>
          </a:stretch>
        </p:blipFill>
        <p:spPr>
          <a:xfrm>
            <a:off x="7619112" y="7673449"/>
            <a:ext cx="1803018" cy="2547120"/>
          </a:xfrm>
          <a:prstGeom prst="rect">
            <a:avLst/>
          </a:prstGeom>
        </p:spPr>
      </p:pic>
      <p:grpSp>
        <p:nvGrpSpPr>
          <p:cNvPr id="132" name="Grupp 131"/>
          <p:cNvGrpSpPr/>
          <p:nvPr/>
        </p:nvGrpSpPr>
        <p:grpSpPr>
          <a:xfrm>
            <a:off x="6941627" y="6459771"/>
            <a:ext cx="1547696" cy="3476709"/>
            <a:chOff x="5703376" y="3490347"/>
            <a:chExt cx="1069383" cy="2402238"/>
          </a:xfrm>
        </p:grpSpPr>
        <p:sp>
          <p:nvSpPr>
            <p:cNvPr id="133" name="Ellips 132"/>
            <p:cNvSpPr/>
            <p:nvPr/>
          </p:nvSpPr>
          <p:spPr bwMode="auto">
            <a:xfrm>
              <a:off x="5703376" y="3490347"/>
              <a:ext cx="1069383" cy="1069383"/>
            </a:xfrm>
            <a:prstGeom prst="ellipse">
              <a:avLst/>
            </a:prstGeom>
            <a:noFill/>
            <a:ln w="12700" cap="flat" cmpd="sng" algn="ctr">
              <a:solidFill>
                <a:schemeClr val="bg1">
                  <a:alpha val="40000"/>
                </a:schemeClr>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sv-SE" sz="2000" b="0" i="0" u="none" strike="noStrike" cap="none" normalizeH="0" baseline="0" dirty="0">
                <a:ln>
                  <a:noFill/>
                </a:ln>
                <a:solidFill>
                  <a:schemeClr val="tx1"/>
                </a:solidFill>
                <a:effectLst/>
                <a:latin typeface="Arial" charset="0"/>
              </a:endParaRPr>
            </a:p>
          </p:txBody>
        </p:sp>
        <p:cxnSp>
          <p:nvCxnSpPr>
            <p:cNvPr id="134" name="Rak 133"/>
            <p:cNvCxnSpPr/>
            <p:nvPr/>
          </p:nvCxnSpPr>
          <p:spPr bwMode="auto">
            <a:xfrm>
              <a:off x="6245818" y="4559731"/>
              <a:ext cx="0" cy="1332854"/>
            </a:xfrm>
            <a:prstGeom prst="line">
              <a:avLst/>
            </a:prstGeom>
            <a:solidFill>
              <a:schemeClr val="accent1"/>
            </a:solidFill>
            <a:ln w="12700" cap="flat" cmpd="sng" algn="ctr">
              <a:solidFill>
                <a:schemeClr val="bg1">
                  <a:alpha val="26000"/>
                </a:schemeClr>
              </a:solidFill>
              <a:prstDash val="solid"/>
              <a:round/>
              <a:headEnd type="none" w="med" len="med"/>
              <a:tailEnd type="oval" w="med" len="med"/>
            </a:ln>
            <a:effectLst/>
          </p:spPr>
        </p:cxnSp>
      </p:grpSp>
      <p:grpSp>
        <p:nvGrpSpPr>
          <p:cNvPr id="138" name="Grupp 137"/>
          <p:cNvGrpSpPr/>
          <p:nvPr/>
        </p:nvGrpSpPr>
        <p:grpSpPr>
          <a:xfrm>
            <a:off x="11669918" y="5402492"/>
            <a:ext cx="774916" cy="1296048"/>
            <a:chOff x="10955113" y="3970219"/>
            <a:chExt cx="774916" cy="1296048"/>
          </a:xfrm>
        </p:grpSpPr>
        <p:sp>
          <p:nvSpPr>
            <p:cNvPr id="139" name="Ellips 138"/>
            <p:cNvSpPr/>
            <p:nvPr/>
          </p:nvSpPr>
          <p:spPr bwMode="auto">
            <a:xfrm>
              <a:off x="10955113" y="3970219"/>
              <a:ext cx="774916" cy="774916"/>
            </a:xfrm>
            <a:prstGeom prst="ellipse">
              <a:avLst/>
            </a:prstGeom>
            <a:noFill/>
            <a:ln w="12700" cap="flat" cmpd="sng" algn="ctr">
              <a:solidFill>
                <a:schemeClr val="bg1">
                  <a:alpha val="40000"/>
                </a:schemeClr>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sv-SE" sz="2000" b="0" i="0" u="none" strike="noStrike" cap="none" normalizeH="0" baseline="0" dirty="0">
                <a:ln>
                  <a:noFill/>
                </a:ln>
                <a:effectLst/>
                <a:latin typeface="Arial" charset="0"/>
              </a:endParaRPr>
            </a:p>
          </p:txBody>
        </p:sp>
        <p:cxnSp>
          <p:nvCxnSpPr>
            <p:cNvPr id="140" name="Rak 139"/>
            <p:cNvCxnSpPr/>
            <p:nvPr/>
          </p:nvCxnSpPr>
          <p:spPr bwMode="auto">
            <a:xfrm flipH="1">
              <a:off x="11342573" y="4754253"/>
              <a:ext cx="1" cy="512014"/>
            </a:xfrm>
            <a:prstGeom prst="line">
              <a:avLst/>
            </a:prstGeom>
            <a:solidFill>
              <a:schemeClr val="accent1"/>
            </a:solidFill>
            <a:ln w="12700" cap="flat" cmpd="sng" algn="ctr">
              <a:solidFill>
                <a:schemeClr val="bg1">
                  <a:alpha val="40000"/>
                </a:schemeClr>
              </a:solidFill>
              <a:prstDash val="solid"/>
              <a:round/>
              <a:headEnd type="none" w="med" len="med"/>
              <a:tailEnd type="oval" w="med" len="med"/>
            </a:ln>
            <a:effectLst/>
          </p:spPr>
        </p:cxnSp>
      </p:grpSp>
      <p:grpSp>
        <p:nvGrpSpPr>
          <p:cNvPr id="142" name="Grupp 141"/>
          <p:cNvGrpSpPr/>
          <p:nvPr/>
        </p:nvGrpSpPr>
        <p:grpSpPr>
          <a:xfrm>
            <a:off x="5008283" y="4000489"/>
            <a:ext cx="728730" cy="1735155"/>
            <a:chOff x="2858850" y="3701939"/>
            <a:chExt cx="853581" cy="2032434"/>
          </a:xfrm>
        </p:grpSpPr>
        <p:sp>
          <p:nvSpPr>
            <p:cNvPr id="143" name="Ellips 142"/>
            <p:cNvSpPr/>
            <p:nvPr/>
          </p:nvSpPr>
          <p:spPr bwMode="auto">
            <a:xfrm>
              <a:off x="2858850" y="3701939"/>
              <a:ext cx="853581" cy="853581"/>
            </a:xfrm>
            <a:prstGeom prst="ellipse">
              <a:avLst/>
            </a:prstGeom>
            <a:noFill/>
            <a:ln w="12700" cap="flat" cmpd="sng" algn="ctr">
              <a:solidFill>
                <a:schemeClr val="bg1">
                  <a:alpha val="40000"/>
                </a:schemeClr>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sv-SE" sz="2000" b="0" i="0" u="none" strike="noStrike" cap="none" normalizeH="0" baseline="0" dirty="0">
                <a:ln>
                  <a:noFill/>
                </a:ln>
                <a:effectLst/>
                <a:latin typeface="Arial" charset="0"/>
              </a:endParaRPr>
            </a:p>
          </p:txBody>
        </p:sp>
        <p:cxnSp>
          <p:nvCxnSpPr>
            <p:cNvPr id="144" name="Rak 143"/>
            <p:cNvCxnSpPr/>
            <p:nvPr/>
          </p:nvCxnSpPr>
          <p:spPr bwMode="auto">
            <a:xfrm>
              <a:off x="3285641" y="4572000"/>
              <a:ext cx="0" cy="1162373"/>
            </a:xfrm>
            <a:prstGeom prst="line">
              <a:avLst/>
            </a:prstGeom>
            <a:solidFill>
              <a:schemeClr val="accent1"/>
            </a:solidFill>
            <a:ln w="12700" cap="flat" cmpd="sng" algn="ctr">
              <a:solidFill>
                <a:schemeClr val="bg1">
                  <a:alpha val="20000"/>
                </a:schemeClr>
              </a:solidFill>
              <a:prstDash val="solid"/>
              <a:round/>
              <a:headEnd type="none" w="med" len="med"/>
              <a:tailEnd type="oval" w="med" len="med"/>
            </a:ln>
            <a:effectLst/>
          </p:spPr>
        </p:cxnSp>
      </p:grpSp>
      <p:cxnSp>
        <p:nvCxnSpPr>
          <p:cNvPr id="147" name="Rak 146"/>
          <p:cNvCxnSpPr/>
          <p:nvPr/>
        </p:nvCxnSpPr>
        <p:spPr bwMode="auto">
          <a:xfrm>
            <a:off x="7656267" y="4517728"/>
            <a:ext cx="555585" cy="312516"/>
          </a:xfrm>
          <a:prstGeom prst="line">
            <a:avLst/>
          </a:prstGeom>
          <a:solidFill>
            <a:schemeClr val="accent1"/>
          </a:solidFill>
          <a:ln w="6350" cap="flat" cmpd="sng" algn="ctr">
            <a:solidFill>
              <a:schemeClr val="bg1">
                <a:alpha val="19000"/>
              </a:schemeClr>
            </a:solidFill>
            <a:prstDash val="solid"/>
            <a:round/>
            <a:headEnd type="none" w="med" len="med"/>
            <a:tailEnd type="none" w="med" len="med"/>
          </a:ln>
          <a:effectLst/>
        </p:spPr>
      </p:cxnSp>
      <p:cxnSp>
        <p:nvCxnSpPr>
          <p:cNvPr id="148" name="Rak 147"/>
          <p:cNvCxnSpPr/>
          <p:nvPr/>
        </p:nvCxnSpPr>
        <p:spPr bwMode="auto">
          <a:xfrm flipV="1">
            <a:off x="6950213" y="4517728"/>
            <a:ext cx="451412" cy="381964"/>
          </a:xfrm>
          <a:prstGeom prst="line">
            <a:avLst/>
          </a:prstGeom>
          <a:solidFill>
            <a:schemeClr val="accent1"/>
          </a:solidFill>
          <a:ln w="6350" cap="flat" cmpd="sng" algn="ctr">
            <a:solidFill>
              <a:schemeClr val="bg1">
                <a:alpha val="19000"/>
              </a:schemeClr>
            </a:solidFill>
            <a:prstDash val="solid"/>
            <a:round/>
            <a:headEnd type="none" w="med" len="med"/>
            <a:tailEnd type="none" w="med" len="med"/>
          </a:ln>
          <a:effectLst/>
        </p:spPr>
      </p:cxnSp>
      <p:sp>
        <p:nvSpPr>
          <p:cNvPr id="149" name="Ellips 148"/>
          <p:cNvSpPr/>
          <p:nvPr/>
        </p:nvSpPr>
        <p:spPr bwMode="auto">
          <a:xfrm>
            <a:off x="9251859" y="5383021"/>
            <a:ext cx="101600" cy="101600"/>
          </a:xfrm>
          <a:prstGeom prst="ellipse">
            <a:avLst/>
          </a:prstGeom>
          <a:solidFill>
            <a:schemeClr val="bg1">
              <a:alpha val="53000"/>
            </a:schemeClr>
          </a:solidFill>
          <a:ln w="76200" cap="flat" cmpd="sng" algn="ctr">
            <a:solidFill>
              <a:schemeClr val="bg1">
                <a:alpha val="30000"/>
              </a:schemeClr>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sv-SE" sz="2000" b="0" i="0" u="none" strike="noStrike" cap="none" normalizeH="0" baseline="0" dirty="0">
              <a:ln>
                <a:noFill/>
              </a:ln>
              <a:effectLst/>
              <a:latin typeface="Arial" charset="0"/>
            </a:endParaRPr>
          </a:p>
        </p:txBody>
      </p:sp>
      <p:cxnSp>
        <p:nvCxnSpPr>
          <p:cNvPr id="150" name="Rak 149"/>
          <p:cNvCxnSpPr/>
          <p:nvPr/>
        </p:nvCxnSpPr>
        <p:spPr bwMode="auto">
          <a:xfrm>
            <a:off x="8963409" y="5234560"/>
            <a:ext cx="209142" cy="116545"/>
          </a:xfrm>
          <a:prstGeom prst="line">
            <a:avLst/>
          </a:prstGeom>
          <a:solidFill>
            <a:schemeClr val="accent1"/>
          </a:solidFill>
          <a:ln w="6350" cap="flat" cmpd="sng" algn="ctr">
            <a:solidFill>
              <a:schemeClr val="bg1">
                <a:alpha val="19000"/>
              </a:schemeClr>
            </a:solidFill>
            <a:prstDash val="solid"/>
            <a:round/>
            <a:headEnd type="none" w="med" len="med"/>
            <a:tailEnd type="none" w="med" len="med"/>
          </a:ln>
          <a:effectLst/>
        </p:spPr>
      </p:cxnSp>
      <p:cxnSp>
        <p:nvCxnSpPr>
          <p:cNvPr id="151" name="Rak 150"/>
          <p:cNvCxnSpPr/>
          <p:nvPr/>
        </p:nvCxnSpPr>
        <p:spPr bwMode="auto">
          <a:xfrm>
            <a:off x="9438769" y="5501576"/>
            <a:ext cx="578734" cy="266217"/>
          </a:xfrm>
          <a:prstGeom prst="line">
            <a:avLst/>
          </a:prstGeom>
          <a:solidFill>
            <a:schemeClr val="accent1"/>
          </a:solidFill>
          <a:ln w="6350" cap="flat" cmpd="sng" algn="ctr">
            <a:solidFill>
              <a:schemeClr val="bg1">
                <a:alpha val="19000"/>
              </a:schemeClr>
            </a:solidFill>
            <a:prstDash val="solid"/>
            <a:round/>
            <a:headEnd type="none" w="med" len="med"/>
            <a:tailEnd type="none" w="med" len="med"/>
          </a:ln>
          <a:effectLst/>
        </p:spPr>
      </p:cxnSp>
      <p:sp>
        <p:nvSpPr>
          <p:cNvPr id="152" name="Ellips 151"/>
          <p:cNvSpPr/>
          <p:nvPr/>
        </p:nvSpPr>
        <p:spPr bwMode="auto">
          <a:xfrm>
            <a:off x="5652930" y="6088876"/>
            <a:ext cx="101600" cy="101600"/>
          </a:xfrm>
          <a:prstGeom prst="ellipse">
            <a:avLst/>
          </a:prstGeom>
          <a:solidFill>
            <a:schemeClr val="bg1">
              <a:alpha val="48000"/>
            </a:schemeClr>
          </a:solidFill>
          <a:ln w="76200" cap="flat" cmpd="sng" algn="ctr">
            <a:solidFill>
              <a:schemeClr val="bg1">
                <a:alpha val="13000"/>
              </a:schemeClr>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sv-SE" sz="2000" b="0" i="0" u="none" strike="noStrike" cap="none" normalizeH="0" baseline="0" dirty="0">
              <a:ln>
                <a:noFill/>
              </a:ln>
              <a:effectLst/>
              <a:latin typeface="Arial" charset="0"/>
            </a:endParaRPr>
          </a:p>
        </p:txBody>
      </p:sp>
      <p:cxnSp>
        <p:nvCxnSpPr>
          <p:cNvPr id="153" name="Rak 152"/>
          <p:cNvCxnSpPr/>
          <p:nvPr/>
        </p:nvCxnSpPr>
        <p:spPr bwMode="auto">
          <a:xfrm>
            <a:off x="4576204" y="5181775"/>
            <a:ext cx="1001110" cy="874986"/>
          </a:xfrm>
          <a:prstGeom prst="line">
            <a:avLst/>
          </a:prstGeom>
          <a:solidFill>
            <a:schemeClr val="accent1"/>
          </a:solidFill>
          <a:ln w="6350" cap="flat" cmpd="sng" algn="ctr">
            <a:solidFill>
              <a:schemeClr val="bg1">
                <a:alpha val="19000"/>
              </a:schemeClr>
            </a:solidFill>
            <a:prstDash val="solid"/>
            <a:round/>
            <a:headEnd type="none" w="med" len="med"/>
            <a:tailEnd type="none" w="med" len="med"/>
          </a:ln>
          <a:effectLst/>
        </p:spPr>
      </p:cxnSp>
      <p:cxnSp>
        <p:nvCxnSpPr>
          <p:cNvPr id="154" name="Rak 153"/>
          <p:cNvCxnSpPr/>
          <p:nvPr/>
        </p:nvCxnSpPr>
        <p:spPr bwMode="auto">
          <a:xfrm>
            <a:off x="5805914" y="6198651"/>
            <a:ext cx="953814" cy="260131"/>
          </a:xfrm>
          <a:prstGeom prst="line">
            <a:avLst/>
          </a:prstGeom>
          <a:solidFill>
            <a:schemeClr val="accent1"/>
          </a:solidFill>
          <a:ln w="6350" cap="flat" cmpd="sng" algn="ctr">
            <a:solidFill>
              <a:schemeClr val="bg1">
                <a:alpha val="19000"/>
              </a:schemeClr>
            </a:solidFill>
            <a:prstDash val="solid"/>
            <a:round/>
            <a:headEnd type="none" w="med" len="med"/>
            <a:tailEnd type="none" w="med" len="med"/>
          </a:ln>
          <a:effectLst/>
        </p:spPr>
      </p:cxnSp>
      <p:cxnSp>
        <p:nvCxnSpPr>
          <p:cNvPr id="155" name="Rak 154"/>
          <p:cNvCxnSpPr/>
          <p:nvPr/>
        </p:nvCxnSpPr>
        <p:spPr bwMode="auto">
          <a:xfrm flipV="1">
            <a:off x="3015417" y="5173892"/>
            <a:ext cx="551794" cy="457201"/>
          </a:xfrm>
          <a:prstGeom prst="line">
            <a:avLst/>
          </a:prstGeom>
          <a:solidFill>
            <a:schemeClr val="accent1"/>
          </a:solidFill>
          <a:ln w="6350" cap="flat" cmpd="sng" algn="ctr">
            <a:solidFill>
              <a:schemeClr val="bg1">
                <a:alpha val="19000"/>
              </a:schemeClr>
            </a:solidFill>
            <a:prstDash val="solid"/>
            <a:round/>
            <a:headEnd type="none" w="med" len="med"/>
            <a:tailEnd type="none" w="med" len="med"/>
          </a:ln>
          <a:effectLst/>
        </p:spPr>
      </p:cxnSp>
      <p:cxnSp>
        <p:nvCxnSpPr>
          <p:cNvPr id="156" name="Rak 155"/>
          <p:cNvCxnSpPr/>
          <p:nvPr/>
        </p:nvCxnSpPr>
        <p:spPr bwMode="auto">
          <a:xfrm flipV="1">
            <a:off x="7540521" y="5617324"/>
            <a:ext cx="0" cy="1"/>
          </a:xfrm>
          <a:prstGeom prst="line">
            <a:avLst/>
          </a:prstGeom>
          <a:solidFill>
            <a:schemeClr val="accent1"/>
          </a:solidFill>
          <a:ln w="6350" cap="flat" cmpd="sng" algn="ctr">
            <a:solidFill>
              <a:schemeClr val="bg1">
                <a:alpha val="19000"/>
              </a:schemeClr>
            </a:solidFill>
            <a:prstDash val="solid"/>
            <a:round/>
            <a:headEnd type="none" w="med" len="med"/>
            <a:tailEnd type="none" w="med" len="med"/>
          </a:ln>
          <a:effectLst/>
        </p:spPr>
      </p:cxnSp>
      <p:cxnSp>
        <p:nvCxnSpPr>
          <p:cNvPr id="157" name="Rak 156"/>
          <p:cNvCxnSpPr/>
          <p:nvPr/>
        </p:nvCxnSpPr>
        <p:spPr bwMode="auto">
          <a:xfrm flipH="1">
            <a:off x="4426931" y="6258220"/>
            <a:ext cx="1202569" cy="2009705"/>
          </a:xfrm>
          <a:prstGeom prst="line">
            <a:avLst/>
          </a:prstGeom>
          <a:solidFill>
            <a:schemeClr val="accent1"/>
          </a:solidFill>
          <a:ln w="6350" cap="flat" cmpd="sng" algn="ctr">
            <a:solidFill>
              <a:schemeClr val="bg1">
                <a:alpha val="19000"/>
              </a:schemeClr>
            </a:solidFill>
            <a:prstDash val="solid"/>
            <a:round/>
            <a:headEnd type="none" w="med" len="med"/>
            <a:tailEnd type="none" w="med" len="med"/>
          </a:ln>
          <a:effectLst/>
        </p:spPr>
      </p:cxnSp>
      <p:cxnSp>
        <p:nvCxnSpPr>
          <p:cNvPr id="158" name="Rak 157"/>
          <p:cNvCxnSpPr/>
          <p:nvPr/>
        </p:nvCxnSpPr>
        <p:spPr bwMode="auto">
          <a:xfrm>
            <a:off x="9346172" y="5571024"/>
            <a:ext cx="1446834" cy="2847372"/>
          </a:xfrm>
          <a:prstGeom prst="line">
            <a:avLst/>
          </a:prstGeom>
          <a:solidFill>
            <a:schemeClr val="accent1"/>
          </a:solidFill>
          <a:ln w="6350" cap="flat" cmpd="sng" algn="ctr">
            <a:solidFill>
              <a:schemeClr val="bg1">
                <a:alpha val="19000"/>
              </a:schemeClr>
            </a:solidFill>
            <a:prstDash val="solid"/>
            <a:round/>
            <a:headEnd type="none" w="med" len="med"/>
            <a:tailEnd type="none" w="med" len="med"/>
          </a:ln>
          <a:effectLst/>
        </p:spPr>
      </p:cxnSp>
      <p:grpSp>
        <p:nvGrpSpPr>
          <p:cNvPr id="159" name="Grupp 158"/>
          <p:cNvGrpSpPr/>
          <p:nvPr/>
        </p:nvGrpSpPr>
        <p:grpSpPr>
          <a:xfrm>
            <a:off x="1096040" y="3850018"/>
            <a:ext cx="728730" cy="1735155"/>
            <a:chOff x="2858850" y="3701939"/>
            <a:chExt cx="853581" cy="2032434"/>
          </a:xfrm>
        </p:grpSpPr>
        <p:sp>
          <p:nvSpPr>
            <p:cNvPr id="160" name="Ellips 159"/>
            <p:cNvSpPr/>
            <p:nvPr/>
          </p:nvSpPr>
          <p:spPr bwMode="auto">
            <a:xfrm>
              <a:off x="2858850" y="3701939"/>
              <a:ext cx="853581" cy="853581"/>
            </a:xfrm>
            <a:prstGeom prst="ellipse">
              <a:avLst/>
            </a:prstGeom>
            <a:noFill/>
            <a:ln w="12700" cap="flat" cmpd="sng" algn="ctr">
              <a:solidFill>
                <a:schemeClr val="bg1">
                  <a:alpha val="40000"/>
                </a:schemeClr>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sv-SE" sz="2000" b="0" i="0" u="none" strike="noStrike" cap="none" normalizeH="0" baseline="0" dirty="0">
                <a:ln>
                  <a:noFill/>
                </a:ln>
                <a:effectLst/>
                <a:latin typeface="Arial" charset="0"/>
              </a:endParaRPr>
            </a:p>
          </p:txBody>
        </p:sp>
        <p:cxnSp>
          <p:nvCxnSpPr>
            <p:cNvPr id="161" name="Rak 160"/>
            <p:cNvCxnSpPr/>
            <p:nvPr/>
          </p:nvCxnSpPr>
          <p:spPr bwMode="auto">
            <a:xfrm>
              <a:off x="3285641" y="4572000"/>
              <a:ext cx="0" cy="1162373"/>
            </a:xfrm>
            <a:prstGeom prst="line">
              <a:avLst/>
            </a:prstGeom>
            <a:solidFill>
              <a:schemeClr val="accent1"/>
            </a:solidFill>
            <a:ln w="12700" cap="flat" cmpd="sng" algn="ctr">
              <a:solidFill>
                <a:schemeClr val="bg1">
                  <a:alpha val="20000"/>
                </a:schemeClr>
              </a:solidFill>
              <a:prstDash val="solid"/>
              <a:round/>
              <a:headEnd type="none" w="med" len="med"/>
              <a:tailEnd type="oval" w="med" len="med"/>
            </a:ln>
            <a:effectLst/>
          </p:spPr>
        </p:cxnSp>
      </p:grpSp>
      <p:sp>
        <p:nvSpPr>
          <p:cNvPr id="163" name="Ellips 162"/>
          <p:cNvSpPr/>
          <p:nvPr/>
        </p:nvSpPr>
        <p:spPr bwMode="auto">
          <a:xfrm>
            <a:off x="2621062" y="4423620"/>
            <a:ext cx="70958" cy="70958"/>
          </a:xfrm>
          <a:prstGeom prst="ellipse">
            <a:avLst/>
          </a:prstGeom>
          <a:solidFill>
            <a:schemeClr val="bg1">
              <a:alpha val="83000"/>
            </a:schemeClr>
          </a:solidFill>
          <a:ln w="76200" cap="flat" cmpd="sng" algn="ctr">
            <a:solidFill>
              <a:schemeClr val="bg1">
                <a:alpha val="30000"/>
              </a:schemeClr>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sv-SE" sz="2000" b="0" i="0" u="none" strike="noStrike" cap="none" normalizeH="0" baseline="0" dirty="0">
              <a:ln>
                <a:noFill/>
              </a:ln>
              <a:effectLst/>
              <a:latin typeface="Arial" charset="0"/>
            </a:endParaRPr>
          </a:p>
        </p:txBody>
      </p:sp>
      <p:cxnSp>
        <p:nvCxnSpPr>
          <p:cNvPr id="164" name="Rak 163"/>
          <p:cNvCxnSpPr/>
          <p:nvPr/>
        </p:nvCxnSpPr>
        <p:spPr bwMode="auto">
          <a:xfrm>
            <a:off x="1895998" y="4247587"/>
            <a:ext cx="656564" cy="181603"/>
          </a:xfrm>
          <a:prstGeom prst="line">
            <a:avLst/>
          </a:prstGeom>
          <a:solidFill>
            <a:schemeClr val="accent1"/>
          </a:solidFill>
          <a:ln w="6350" cap="flat" cmpd="sng" algn="ctr">
            <a:solidFill>
              <a:schemeClr val="bg1">
                <a:alpha val="19000"/>
              </a:schemeClr>
            </a:solidFill>
            <a:prstDash val="solid"/>
            <a:round/>
            <a:headEnd type="none" w="med" len="med"/>
            <a:tailEnd type="none" w="med" len="med"/>
          </a:ln>
          <a:effectLst/>
        </p:spPr>
      </p:cxnSp>
      <p:cxnSp>
        <p:nvCxnSpPr>
          <p:cNvPr id="165" name="Rak 164"/>
          <p:cNvCxnSpPr/>
          <p:nvPr/>
        </p:nvCxnSpPr>
        <p:spPr bwMode="auto">
          <a:xfrm>
            <a:off x="2725451" y="4540878"/>
            <a:ext cx="1782502" cy="3750197"/>
          </a:xfrm>
          <a:prstGeom prst="line">
            <a:avLst/>
          </a:prstGeom>
          <a:solidFill>
            <a:schemeClr val="accent1"/>
          </a:solidFill>
          <a:ln w="6350" cap="flat" cmpd="sng" algn="ctr">
            <a:solidFill>
              <a:schemeClr val="bg1">
                <a:alpha val="19000"/>
              </a:schemeClr>
            </a:solidFill>
            <a:prstDash val="solid"/>
            <a:round/>
            <a:headEnd type="none" w="med" len="med"/>
            <a:tailEnd type="none" w="med" len="med"/>
          </a:ln>
          <a:effectLst/>
        </p:spPr>
      </p:cxnSp>
      <p:cxnSp>
        <p:nvCxnSpPr>
          <p:cNvPr id="166" name="Rak 165"/>
          <p:cNvCxnSpPr/>
          <p:nvPr/>
        </p:nvCxnSpPr>
        <p:spPr bwMode="auto">
          <a:xfrm flipV="1">
            <a:off x="9901757" y="4216786"/>
            <a:ext cx="3553427" cy="497711"/>
          </a:xfrm>
          <a:prstGeom prst="line">
            <a:avLst/>
          </a:prstGeom>
          <a:solidFill>
            <a:schemeClr val="accent1"/>
          </a:solidFill>
          <a:ln w="6350" cap="flat" cmpd="sng" algn="ctr">
            <a:solidFill>
              <a:schemeClr val="bg1">
                <a:alpha val="19000"/>
              </a:schemeClr>
            </a:solidFill>
            <a:prstDash val="solid"/>
            <a:round/>
            <a:headEnd type="none" w="med" len="med"/>
            <a:tailEnd type="none" w="med" len="med"/>
          </a:ln>
          <a:effectLst/>
        </p:spPr>
      </p:cxnSp>
      <p:cxnSp>
        <p:nvCxnSpPr>
          <p:cNvPr id="167" name="Rak 166"/>
          <p:cNvCxnSpPr/>
          <p:nvPr/>
        </p:nvCxnSpPr>
        <p:spPr bwMode="auto">
          <a:xfrm>
            <a:off x="7540520" y="4564027"/>
            <a:ext cx="120120" cy="1816453"/>
          </a:xfrm>
          <a:prstGeom prst="line">
            <a:avLst/>
          </a:prstGeom>
          <a:solidFill>
            <a:schemeClr val="accent1"/>
          </a:solidFill>
          <a:ln w="6350" cap="flat" cmpd="sng" algn="ctr">
            <a:solidFill>
              <a:schemeClr val="bg1">
                <a:alpha val="19000"/>
              </a:schemeClr>
            </a:solidFill>
            <a:prstDash val="solid"/>
            <a:round/>
            <a:headEnd type="none" w="med" len="med"/>
            <a:tailEnd type="none" w="med" len="med"/>
          </a:ln>
          <a:effectLst/>
        </p:spPr>
      </p:cxnSp>
      <p:grpSp>
        <p:nvGrpSpPr>
          <p:cNvPr id="168" name="Grupp 167"/>
          <p:cNvGrpSpPr/>
          <p:nvPr/>
        </p:nvGrpSpPr>
        <p:grpSpPr>
          <a:xfrm>
            <a:off x="6570865" y="3869547"/>
            <a:ext cx="1161616" cy="4120843"/>
            <a:chOff x="2858850" y="3701939"/>
            <a:chExt cx="2035188" cy="7219849"/>
          </a:xfrm>
        </p:grpSpPr>
        <p:sp>
          <p:nvSpPr>
            <p:cNvPr id="169" name="Ellips 168"/>
            <p:cNvSpPr/>
            <p:nvPr/>
          </p:nvSpPr>
          <p:spPr bwMode="auto">
            <a:xfrm>
              <a:off x="2858850" y="3701939"/>
              <a:ext cx="853581" cy="853581"/>
            </a:xfrm>
            <a:prstGeom prst="ellipse">
              <a:avLst/>
            </a:prstGeom>
            <a:noFill/>
            <a:ln w="12700" cap="flat" cmpd="sng" algn="ctr">
              <a:solidFill>
                <a:schemeClr val="bg1">
                  <a:alpha val="40000"/>
                </a:schemeClr>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sv-SE" sz="2000" b="0" i="0" u="none" strike="noStrike" cap="none" normalizeH="0" baseline="0" dirty="0">
                <a:ln>
                  <a:noFill/>
                </a:ln>
                <a:effectLst/>
                <a:latin typeface="Arial" charset="0"/>
              </a:endParaRPr>
            </a:p>
          </p:txBody>
        </p:sp>
        <p:cxnSp>
          <p:nvCxnSpPr>
            <p:cNvPr id="170" name="Rak 169"/>
            <p:cNvCxnSpPr>
              <a:stCxn id="132" idx="5"/>
            </p:cNvCxnSpPr>
            <p:nvPr/>
          </p:nvCxnSpPr>
          <p:spPr bwMode="auto">
            <a:xfrm>
              <a:off x="4894038" y="10110478"/>
              <a:ext cx="0" cy="811310"/>
            </a:xfrm>
            <a:prstGeom prst="line">
              <a:avLst/>
            </a:prstGeom>
            <a:solidFill>
              <a:schemeClr val="accent1"/>
            </a:solidFill>
            <a:ln w="12700" cap="flat" cmpd="sng" algn="ctr">
              <a:solidFill>
                <a:schemeClr val="bg1">
                  <a:alpha val="20000"/>
                </a:schemeClr>
              </a:solidFill>
              <a:prstDash val="solid"/>
              <a:round/>
              <a:headEnd type="none" w="med" len="med"/>
              <a:tailEnd type="oval" w="med" len="med"/>
            </a:ln>
            <a:effectLst/>
          </p:spPr>
        </p:cxnSp>
        <p:cxnSp>
          <p:nvCxnSpPr>
            <p:cNvPr id="171" name="Rak 170"/>
            <p:cNvCxnSpPr/>
            <p:nvPr/>
          </p:nvCxnSpPr>
          <p:spPr bwMode="auto">
            <a:xfrm>
              <a:off x="3291980" y="4594081"/>
              <a:ext cx="0" cy="811310"/>
            </a:xfrm>
            <a:prstGeom prst="line">
              <a:avLst/>
            </a:prstGeom>
            <a:solidFill>
              <a:schemeClr val="accent1"/>
            </a:solidFill>
            <a:ln w="12700" cap="flat" cmpd="sng" algn="ctr">
              <a:solidFill>
                <a:schemeClr val="bg1">
                  <a:alpha val="20000"/>
                </a:schemeClr>
              </a:solidFill>
              <a:prstDash val="solid"/>
              <a:round/>
              <a:headEnd type="none" w="med" len="med"/>
              <a:tailEnd type="none" w="med" len="med"/>
            </a:ln>
            <a:effectLst/>
          </p:spPr>
        </p:cxnSp>
      </p:grpSp>
      <p:grpSp>
        <p:nvGrpSpPr>
          <p:cNvPr id="173" name="Grupp 172"/>
          <p:cNvGrpSpPr/>
          <p:nvPr/>
        </p:nvGrpSpPr>
        <p:grpSpPr>
          <a:xfrm>
            <a:off x="11165757" y="4726587"/>
            <a:ext cx="487195" cy="2581153"/>
            <a:chOff x="2858850" y="3701939"/>
            <a:chExt cx="853581" cy="4522263"/>
          </a:xfrm>
        </p:grpSpPr>
        <p:sp>
          <p:nvSpPr>
            <p:cNvPr id="174" name="Ellips 173"/>
            <p:cNvSpPr/>
            <p:nvPr/>
          </p:nvSpPr>
          <p:spPr bwMode="auto">
            <a:xfrm>
              <a:off x="2858850" y="3701939"/>
              <a:ext cx="853581" cy="853581"/>
            </a:xfrm>
            <a:prstGeom prst="ellipse">
              <a:avLst/>
            </a:prstGeom>
            <a:noFill/>
            <a:ln w="12700" cap="flat" cmpd="sng" algn="ctr">
              <a:solidFill>
                <a:schemeClr val="bg1">
                  <a:alpha val="40000"/>
                </a:schemeClr>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sv-SE" sz="2000" b="0" i="0" u="none" strike="noStrike" cap="none" normalizeH="0" baseline="0" dirty="0">
                <a:ln>
                  <a:noFill/>
                </a:ln>
                <a:effectLst/>
                <a:latin typeface="Arial" charset="0"/>
              </a:endParaRPr>
            </a:p>
          </p:txBody>
        </p:sp>
        <p:cxnSp>
          <p:nvCxnSpPr>
            <p:cNvPr id="175" name="Rak 174"/>
            <p:cNvCxnSpPr/>
            <p:nvPr/>
          </p:nvCxnSpPr>
          <p:spPr bwMode="auto">
            <a:xfrm>
              <a:off x="3291980" y="4573941"/>
              <a:ext cx="0" cy="3650261"/>
            </a:xfrm>
            <a:prstGeom prst="line">
              <a:avLst/>
            </a:prstGeom>
            <a:solidFill>
              <a:schemeClr val="accent1"/>
            </a:solidFill>
            <a:ln w="12700" cap="flat" cmpd="sng" algn="ctr">
              <a:solidFill>
                <a:schemeClr val="bg1">
                  <a:alpha val="20000"/>
                </a:schemeClr>
              </a:solidFill>
              <a:prstDash val="solid"/>
              <a:round/>
              <a:headEnd type="none" w="med" len="med"/>
              <a:tailEnd type="oval" w="med" len="med"/>
            </a:ln>
            <a:effectLst/>
          </p:spPr>
        </p:cxnSp>
      </p:grpSp>
      <p:cxnSp>
        <p:nvCxnSpPr>
          <p:cNvPr id="177" name="Rak 176"/>
          <p:cNvCxnSpPr/>
          <p:nvPr/>
        </p:nvCxnSpPr>
        <p:spPr bwMode="auto">
          <a:xfrm flipH="1">
            <a:off x="8605391" y="6126609"/>
            <a:ext cx="1493136" cy="1956121"/>
          </a:xfrm>
          <a:prstGeom prst="line">
            <a:avLst/>
          </a:prstGeom>
          <a:solidFill>
            <a:schemeClr val="accent1"/>
          </a:solidFill>
          <a:ln w="6350" cap="flat" cmpd="sng" algn="ctr">
            <a:solidFill>
              <a:schemeClr val="bg1">
                <a:alpha val="19000"/>
              </a:schemeClr>
            </a:solidFill>
            <a:prstDash val="solid"/>
            <a:round/>
            <a:headEnd type="none" w="med" len="med"/>
            <a:tailEnd type="none" w="med" len="med"/>
          </a:ln>
          <a:effectLst/>
        </p:spPr>
      </p:cxnSp>
      <p:cxnSp>
        <p:nvCxnSpPr>
          <p:cNvPr id="178" name="Rak 177"/>
          <p:cNvCxnSpPr/>
          <p:nvPr/>
        </p:nvCxnSpPr>
        <p:spPr bwMode="auto">
          <a:xfrm>
            <a:off x="4512073" y="4005106"/>
            <a:ext cx="480447" cy="232477"/>
          </a:xfrm>
          <a:prstGeom prst="line">
            <a:avLst/>
          </a:prstGeom>
          <a:solidFill>
            <a:schemeClr val="accent1"/>
          </a:solidFill>
          <a:ln w="6350" cap="flat" cmpd="sng" algn="ctr">
            <a:solidFill>
              <a:schemeClr val="bg1">
                <a:alpha val="19000"/>
              </a:schemeClr>
            </a:solidFill>
            <a:prstDash val="solid"/>
            <a:round/>
            <a:headEnd type="none" w="med" len="med"/>
            <a:tailEnd type="none" w="med" len="med"/>
          </a:ln>
          <a:effectLst/>
        </p:spPr>
      </p:cxnSp>
      <p:sp>
        <p:nvSpPr>
          <p:cNvPr id="179" name="Ellips 178"/>
          <p:cNvSpPr/>
          <p:nvPr/>
        </p:nvSpPr>
        <p:spPr bwMode="auto">
          <a:xfrm>
            <a:off x="4372370" y="3912176"/>
            <a:ext cx="70958" cy="70958"/>
          </a:xfrm>
          <a:prstGeom prst="ellipse">
            <a:avLst/>
          </a:prstGeom>
          <a:solidFill>
            <a:schemeClr val="bg1">
              <a:alpha val="60000"/>
            </a:schemeClr>
          </a:solidFill>
          <a:ln w="76200" cap="flat" cmpd="sng" algn="ctr">
            <a:solidFill>
              <a:schemeClr val="bg1">
                <a:alpha val="20000"/>
              </a:schemeClr>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sv-SE" sz="2000" b="0" i="0" u="none" strike="noStrike" cap="none" normalizeH="0" baseline="0" dirty="0">
              <a:ln>
                <a:noFill/>
              </a:ln>
              <a:effectLst/>
              <a:latin typeface="Arial" charset="0"/>
            </a:endParaRPr>
          </a:p>
        </p:txBody>
      </p:sp>
      <p:sp>
        <p:nvSpPr>
          <p:cNvPr id="180" name="Ellips 179"/>
          <p:cNvSpPr/>
          <p:nvPr/>
        </p:nvSpPr>
        <p:spPr bwMode="auto">
          <a:xfrm>
            <a:off x="7487530" y="4423621"/>
            <a:ext cx="70958" cy="70958"/>
          </a:xfrm>
          <a:prstGeom prst="ellipse">
            <a:avLst/>
          </a:prstGeom>
          <a:solidFill>
            <a:schemeClr val="bg1">
              <a:alpha val="60000"/>
            </a:schemeClr>
          </a:solidFill>
          <a:ln w="76200" cap="flat" cmpd="sng" algn="ctr">
            <a:solidFill>
              <a:schemeClr val="bg1">
                <a:alpha val="20000"/>
              </a:schemeClr>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sv-SE" sz="2000" b="0" i="0" u="none" strike="noStrike" cap="none" normalizeH="0" baseline="0" dirty="0">
              <a:ln>
                <a:noFill/>
              </a:ln>
              <a:effectLst/>
              <a:latin typeface="Arial" charset="0"/>
            </a:endParaRPr>
          </a:p>
        </p:txBody>
      </p:sp>
      <p:cxnSp>
        <p:nvCxnSpPr>
          <p:cNvPr id="181" name="Rak 180"/>
          <p:cNvCxnSpPr/>
          <p:nvPr/>
        </p:nvCxnSpPr>
        <p:spPr bwMode="auto">
          <a:xfrm flipV="1">
            <a:off x="3427192" y="4687034"/>
            <a:ext cx="123986" cy="263469"/>
          </a:xfrm>
          <a:prstGeom prst="line">
            <a:avLst/>
          </a:prstGeom>
          <a:solidFill>
            <a:schemeClr val="accent1"/>
          </a:solidFill>
          <a:ln w="6350" cap="flat" cmpd="sng" algn="ctr">
            <a:solidFill>
              <a:schemeClr val="bg1">
                <a:alpha val="19000"/>
              </a:schemeClr>
            </a:solidFill>
            <a:prstDash val="solid"/>
            <a:round/>
            <a:headEnd type="none" w="med" len="med"/>
            <a:tailEnd type="none" w="med" len="med"/>
          </a:ln>
          <a:effectLst/>
        </p:spPr>
      </p:cxnSp>
      <p:cxnSp>
        <p:nvCxnSpPr>
          <p:cNvPr id="182" name="Rak 181"/>
          <p:cNvCxnSpPr/>
          <p:nvPr/>
        </p:nvCxnSpPr>
        <p:spPr bwMode="auto">
          <a:xfrm flipV="1">
            <a:off x="2760764" y="3958614"/>
            <a:ext cx="1549830" cy="480445"/>
          </a:xfrm>
          <a:prstGeom prst="line">
            <a:avLst/>
          </a:prstGeom>
          <a:solidFill>
            <a:schemeClr val="accent1"/>
          </a:solidFill>
          <a:ln w="6350" cap="flat" cmpd="sng" algn="ctr">
            <a:solidFill>
              <a:schemeClr val="bg1">
                <a:alpha val="19000"/>
              </a:schemeClr>
            </a:solidFill>
            <a:prstDash val="solid"/>
            <a:round/>
            <a:headEnd type="none" w="med" len="med"/>
            <a:tailEnd type="none" w="med" len="med"/>
          </a:ln>
          <a:effectLst/>
        </p:spPr>
      </p:cxnSp>
      <p:cxnSp>
        <p:nvCxnSpPr>
          <p:cNvPr id="183" name="Rak 182"/>
          <p:cNvCxnSpPr/>
          <p:nvPr/>
        </p:nvCxnSpPr>
        <p:spPr bwMode="auto">
          <a:xfrm>
            <a:off x="8425127" y="6663600"/>
            <a:ext cx="5153455" cy="1464056"/>
          </a:xfrm>
          <a:prstGeom prst="line">
            <a:avLst/>
          </a:prstGeom>
          <a:solidFill>
            <a:schemeClr val="accent1"/>
          </a:solidFill>
          <a:ln w="6350" cap="flat" cmpd="sng" algn="ctr">
            <a:solidFill>
              <a:schemeClr val="bg1">
                <a:alpha val="19000"/>
              </a:schemeClr>
            </a:solidFill>
            <a:prstDash val="solid"/>
            <a:round/>
            <a:headEnd type="none" w="med" len="med"/>
            <a:tailEnd type="none" w="med" len="med"/>
          </a:ln>
          <a:effectLst/>
        </p:spPr>
      </p:cxnSp>
      <p:cxnSp>
        <p:nvCxnSpPr>
          <p:cNvPr id="184" name="Rak 183"/>
          <p:cNvCxnSpPr/>
          <p:nvPr/>
        </p:nvCxnSpPr>
        <p:spPr bwMode="auto">
          <a:xfrm flipV="1">
            <a:off x="-548640" y="4225990"/>
            <a:ext cx="1638162" cy="244410"/>
          </a:xfrm>
          <a:prstGeom prst="line">
            <a:avLst/>
          </a:prstGeom>
          <a:solidFill>
            <a:schemeClr val="accent1"/>
          </a:solidFill>
          <a:ln w="6350" cap="flat" cmpd="sng" algn="ctr">
            <a:solidFill>
              <a:schemeClr val="bg1">
                <a:alpha val="19000"/>
              </a:schemeClr>
            </a:solidFill>
            <a:prstDash val="solid"/>
            <a:round/>
            <a:headEnd type="none" w="med" len="med"/>
            <a:tailEnd type="none" w="med" len="med"/>
          </a:ln>
          <a:effectLst/>
        </p:spPr>
      </p:cxnSp>
      <p:pic>
        <p:nvPicPr>
          <p:cNvPr id="185" name="Picture 4" descr="White E-con"/>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209338" y="360363"/>
            <a:ext cx="444500" cy="588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2" name="Freeform 3"/>
          <p:cNvSpPr>
            <a:spLocks noChangeAspect="1" noEditPoints="1"/>
          </p:cNvSpPr>
          <p:nvPr/>
        </p:nvSpPr>
        <p:spPr bwMode="auto">
          <a:xfrm>
            <a:off x="8469761" y="4886101"/>
            <a:ext cx="184639" cy="455388"/>
          </a:xfrm>
          <a:custGeom>
            <a:avLst/>
            <a:gdLst>
              <a:gd name="T0" fmla="*/ 2147483647 w 189"/>
              <a:gd name="T1" fmla="*/ 2147483647 h 466"/>
              <a:gd name="T2" fmla="*/ 2147483647 w 189"/>
              <a:gd name="T3" fmla="*/ 2147483647 h 466"/>
              <a:gd name="T4" fmla="*/ 2147483647 w 189"/>
              <a:gd name="T5" fmla="*/ 2147483647 h 466"/>
              <a:gd name="T6" fmla="*/ 2147483647 w 189"/>
              <a:gd name="T7" fmla="*/ 2147483647 h 466"/>
              <a:gd name="T8" fmla="*/ 2147483647 w 189"/>
              <a:gd name="T9" fmla="*/ 2147483647 h 466"/>
              <a:gd name="T10" fmla="*/ 2147483647 w 189"/>
              <a:gd name="T11" fmla="*/ 2147483647 h 466"/>
              <a:gd name="T12" fmla="*/ 2147483647 w 189"/>
              <a:gd name="T13" fmla="*/ 2147483647 h 466"/>
              <a:gd name="T14" fmla="*/ 2147483647 w 189"/>
              <a:gd name="T15" fmla="*/ 2147483647 h 466"/>
              <a:gd name="T16" fmla="*/ 2147483647 w 189"/>
              <a:gd name="T17" fmla="*/ 2147483647 h 466"/>
              <a:gd name="T18" fmla="*/ 2147483647 w 189"/>
              <a:gd name="T19" fmla="*/ 2147483647 h 466"/>
              <a:gd name="T20" fmla="*/ 2147483647 w 189"/>
              <a:gd name="T21" fmla="*/ 2147483647 h 466"/>
              <a:gd name="T22" fmla="*/ 2147483647 w 189"/>
              <a:gd name="T23" fmla="*/ 2147483647 h 466"/>
              <a:gd name="T24" fmla="*/ 2147483647 w 189"/>
              <a:gd name="T25" fmla="*/ 2147483647 h 466"/>
              <a:gd name="T26" fmla="*/ 2147483647 w 189"/>
              <a:gd name="T27" fmla="*/ 2147483647 h 466"/>
              <a:gd name="T28" fmla="*/ 2147483647 w 189"/>
              <a:gd name="T29" fmla="*/ 2147483647 h 466"/>
              <a:gd name="T30" fmla="*/ 2147483647 w 189"/>
              <a:gd name="T31" fmla="*/ 2147483647 h 466"/>
              <a:gd name="T32" fmla="*/ 2147483647 w 189"/>
              <a:gd name="T33" fmla="*/ 2147483647 h 466"/>
              <a:gd name="T34" fmla="*/ 2147483647 w 189"/>
              <a:gd name="T35" fmla="*/ 2147483647 h 466"/>
              <a:gd name="T36" fmla="*/ 2147483647 w 189"/>
              <a:gd name="T37" fmla="*/ 2147483647 h 466"/>
              <a:gd name="T38" fmla="*/ 2147483647 w 189"/>
              <a:gd name="T39" fmla="*/ 2147483647 h 466"/>
              <a:gd name="T40" fmla="*/ 2147483647 w 189"/>
              <a:gd name="T41" fmla="*/ 2147483647 h 466"/>
              <a:gd name="T42" fmla="*/ 2147483647 w 189"/>
              <a:gd name="T43" fmla="*/ 2147483647 h 466"/>
              <a:gd name="T44" fmla="*/ 2147483647 w 189"/>
              <a:gd name="T45" fmla="*/ 2147483647 h 466"/>
              <a:gd name="T46" fmla="*/ 2147483647 w 189"/>
              <a:gd name="T47" fmla="*/ 2147483647 h 466"/>
              <a:gd name="T48" fmla="*/ 2147483647 w 189"/>
              <a:gd name="T49" fmla="*/ 2147483647 h 466"/>
              <a:gd name="T50" fmla="*/ 2147483647 w 189"/>
              <a:gd name="T51" fmla="*/ 2147483647 h 466"/>
              <a:gd name="T52" fmla="*/ 2147483647 w 189"/>
              <a:gd name="T53" fmla="*/ 2147483647 h 466"/>
              <a:gd name="T54" fmla="*/ 2147483647 w 189"/>
              <a:gd name="T55" fmla="*/ 2147483647 h 466"/>
              <a:gd name="T56" fmla="*/ 2147483647 w 189"/>
              <a:gd name="T57" fmla="*/ 2147483647 h 466"/>
              <a:gd name="T58" fmla="*/ 2147483647 w 189"/>
              <a:gd name="T59" fmla="*/ 2147483647 h 466"/>
              <a:gd name="T60" fmla="*/ 2147483647 w 189"/>
              <a:gd name="T61" fmla="*/ 2147483647 h 466"/>
              <a:gd name="T62" fmla="*/ 2147483647 w 189"/>
              <a:gd name="T63" fmla="*/ 2147483647 h 466"/>
              <a:gd name="T64" fmla="*/ 2147483647 w 189"/>
              <a:gd name="T65" fmla="*/ 2147483647 h 466"/>
              <a:gd name="T66" fmla="*/ 2147483647 w 189"/>
              <a:gd name="T67" fmla="*/ 2147483647 h 466"/>
              <a:gd name="T68" fmla="*/ 2147483647 w 189"/>
              <a:gd name="T69" fmla="*/ 2147483647 h 466"/>
              <a:gd name="T70" fmla="*/ 2147483647 w 189"/>
              <a:gd name="T71" fmla="*/ 2147483647 h 466"/>
              <a:gd name="T72" fmla="*/ 2147483647 w 189"/>
              <a:gd name="T73" fmla="*/ 2147483647 h 466"/>
              <a:gd name="T74" fmla="*/ 2147483647 w 189"/>
              <a:gd name="T75" fmla="*/ 2147483647 h 466"/>
              <a:gd name="T76" fmla="*/ 2147483647 w 189"/>
              <a:gd name="T77" fmla="*/ 2147483647 h 466"/>
              <a:gd name="T78" fmla="*/ 2147483647 w 189"/>
              <a:gd name="T79" fmla="*/ 2147483647 h 466"/>
              <a:gd name="T80" fmla="*/ 2147483647 w 189"/>
              <a:gd name="T81" fmla="*/ 0 h 466"/>
              <a:gd name="T82" fmla="*/ 2147483647 w 189"/>
              <a:gd name="T83" fmla="*/ 0 h 466"/>
              <a:gd name="T84" fmla="*/ 2147483647 w 189"/>
              <a:gd name="T85" fmla="*/ 2147483647 h 466"/>
              <a:gd name="T86" fmla="*/ 2147483647 w 189"/>
              <a:gd name="T87" fmla="*/ 2147483647 h 466"/>
              <a:gd name="T88" fmla="*/ 0 w 189"/>
              <a:gd name="T89" fmla="*/ 2147483647 h 466"/>
              <a:gd name="T90" fmla="*/ 2147483647 w 189"/>
              <a:gd name="T91" fmla="*/ 2147483647 h 466"/>
              <a:gd name="T92" fmla="*/ 2147483647 w 189"/>
              <a:gd name="T93" fmla="*/ 2147483647 h 466"/>
              <a:gd name="T94" fmla="*/ 2147483647 w 189"/>
              <a:gd name="T95" fmla="*/ 2147483647 h 466"/>
              <a:gd name="T96" fmla="*/ 2147483647 w 189"/>
              <a:gd name="T97" fmla="*/ 2147483647 h 466"/>
              <a:gd name="T98" fmla="*/ 2147483647 w 189"/>
              <a:gd name="T99" fmla="*/ 2147483647 h 466"/>
              <a:gd name="T100" fmla="*/ 2147483647 w 189"/>
              <a:gd name="T101" fmla="*/ 2147483647 h 466"/>
              <a:gd name="T102" fmla="*/ 2147483647 w 189"/>
              <a:gd name="T103" fmla="*/ 2147483647 h 466"/>
              <a:gd name="T104" fmla="*/ 2147483647 w 189"/>
              <a:gd name="T105" fmla="*/ 2147483647 h 466"/>
              <a:gd name="T106" fmla="*/ 2147483647 w 189"/>
              <a:gd name="T107" fmla="*/ 2147483647 h 466"/>
              <a:gd name="T108" fmla="*/ 2147483647 w 189"/>
              <a:gd name="T109" fmla="*/ 2147483647 h 46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89" h="466">
                <a:moveTo>
                  <a:pt x="144" y="292"/>
                </a:moveTo>
                <a:cubicBezTo>
                  <a:pt x="144" y="83"/>
                  <a:pt x="144" y="83"/>
                  <a:pt x="144" y="83"/>
                </a:cubicBezTo>
                <a:cubicBezTo>
                  <a:pt x="144" y="79"/>
                  <a:pt x="141" y="75"/>
                  <a:pt x="136" y="75"/>
                </a:cubicBezTo>
                <a:cubicBezTo>
                  <a:pt x="132" y="75"/>
                  <a:pt x="128" y="79"/>
                  <a:pt x="128" y="83"/>
                </a:cubicBezTo>
                <a:cubicBezTo>
                  <a:pt x="128" y="107"/>
                  <a:pt x="128" y="107"/>
                  <a:pt x="128" y="107"/>
                </a:cubicBezTo>
                <a:cubicBezTo>
                  <a:pt x="94" y="107"/>
                  <a:pt x="94" y="107"/>
                  <a:pt x="94" y="107"/>
                </a:cubicBezTo>
                <a:cubicBezTo>
                  <a:pt x="90" y="107"/>
                  <a:pt x="86" y="110"/>
                  <a:pt x="86" y="115"/>
                </a:cubicBezTo>
                <a:cubicBezTo>
                  <a:pt x="86" y="119"/>
                  <a:pt x="90" y="123"/>
                  <a:pt x="94" y="123"/>
                </a:cubicBezTo>
                <a:cubicBezTo>
                  <a:pt x="128" y="123"/>
                  <a:pt x="128" y="123"/>
                  <a:pt x="128" y="123"/>
                </a:cubicBezTo>
                <a:cubicBezTo>
                  <a:pt x="128" y="146"/>
                  <a:pt x="128" y="146"/>
                  <a:pt x="128" y="146"/>
                </a:cubicBezTo>
                <a:cubicBezTo>
                  <a:pt x="94" y="146"/>
                  <a:pt x="94" y="146"/>
                  <a:pt x="94" y="146"/>
                </a:cubicBezTo>
                <a:cubicBezTo>
                  <a:pt x="90" y="146"/>
                  <a:pt x="86" y="150"/>
                  <a:pt x="86" y="154"/>
                </a:cubicBezTo>
                <a:cubicBezTo>
                  <a:pt x="86" y="159"/>
                  <a:pt x="90" y="162"/>
                  <a:pt x="94" y="162"/>
                </a:cubicBezTo>
                <a:cubicBezTo>
                  <a:pt x="128" y="162"/>
                  <a:pt x="128" y="162"/>
                  <a:pt x="128" y="162"/>
                </a:cubicBezTo>
                <a:cubicBezTo>
                  <a:pt x="128" y="186"/>
                  <a:pt x="128" y="186"/>
                  <a:pt x="128" y="186"/>
                </a:cubicBezTo>
                <a:cubicBezTo>
                  <a:pt x="94" y="186"/>
                  <a:pt x="94" y="186"/>
                  <a:pt x="94" y="186"/>
                </a:cubicBezTo>
                <a:cubicBezTo>
                  <a:pt x="90" y="186"/>
                  <a:pt x="86" y="190"/>
                  <a:pt x="86" y="194"/>
                </a:cubicBezTo>
                <a:cubicBezTo>
                  <a:pt x="86" y="199"/>
                  <a:pt x="90" y="202"/>
                  <a:pt x="94" y="202"/>
                </a:cubicBezTo>
                <a:cubicBezTo>
                  <a:pt x="128" y="202"/>
                  <a:pt x="128" y="202"/>
                  <a:pt x="128" y="202"/>
                </a:cubicBezTo>
                <a:cubicBezTo>
                  <a:pt x="128" y="226"/>
                  <a:pt x="128" y="226"/>
                  <a:pt x="128" y="226"/>
                </a:cubicBezTo>
                <a:cubicBezTo>
                  <a:pt x="94" y="226"/>
                  <a:pt x="94" y="226"/>
                  <a:pt x="94" y="226"/>
                </a:cubicBezTo>
                <a:cubicBezTo>
                  <a:pt x="90" y="226"/>
                  <a:pt x="86" y="230"/>
                  <a:pt x="86" y="234"/>
                </a:cubicBezTo>
                <a:cubicBezTo>
                  <a:pt x="86" y="239"/>
                  <a:pt x="90" y="242"/>
                  <a:pt x="94" y="242"/>
                </a:cubicBezTo>
                <a:cubicBezTo>
                  <a:pt x="128" y="242"/>
                  <a:pt x="128" y="242"/>
                  <a:pt x="128" y="242"/>
                </a:cubicBezTo>
                <a:cubicBezTo>
                  <a:pt x="128" y="266"/>
                  <a:pt x="128" y="266"/>
                  <a:pt x="128" y="266"/>
                </a:cubicBezTo>
                <a:cubicBezTo>
                  <a:pt x="94" y="266"/>
                  <a:pt x="94" y="266"/>
                  <a:pt x="94" y="266"/>
                </a:cubicBezTo>
                <a:cubicBezTo>
                  <a:pt x="90" y="266"/>
                  <a:pt x="86" y="270"/>
                  <a:pt x="86" y="274"/>
                </a:cubicBezTo>
                <a:cubicBezTo>
                  <a:pt x="86" y="278"/>
                  <a:pt x="90" y="282"/>
                  <a:pt x="94" y="282"/>
                </a:cubicBezTo>
                <a:cubicBezTo>
                  <a:pt x="128" y="282"/>
                  <a:pt x="128" y="282"/>
                  <a:pt x="128" y="282"/>
                </a:cubicBezTo>
                <a:cubicBezTo>
                  <a:pt x="128" y="306"/>
                  <a:pt x="128" y="306"/>
                  <a:pt x="128" y="306"/>
                </a:cubicBezTo>
                <a:cubicBezTo>
                  <a:pt x="128" y="312"/>
                  <a:pt x="110" y="319"/>
                  <a:pt x="94" y="319"/>
                </a:cubicBezTo>
                <a:cubicBezTo>
                  <a:pt x="78" y="319"/>
                  <a:pt x="60" y="313"/>
                  <a:pt x="60" y="306"/>
                </a:cubicBezTo>
                <a:cubicBezTo>
                  <a:pt x="60" y="42"/>
                  <a:pt x="60" y="42"/>
                  <a:pt x="60" y="42"/>
                </a:cubicBezTo>
                <a:cubicBezTo>
                  <a:pt x="60" y="27"/>
                  <a:pt x="72" y="16"/>
                  <a:pt x="86" y="16"/>
                </a:cubicBezTo>
                <a:cubicBezTo>
                  <a:pt x="102" y="16"/>
                  <a:pt x="102" y="16"/>
                  <a:pt x="102" y="16"/>
                </a:cubicBezTo>
                <a:cubicBezTo>
                  <a:pt x="117" y="16"/>
                  <a:pt x="128" y="27"/>
                  <a:pt x="128" y="42"/>
                </a:cubicBezTo>
                <a:cubicBezTo>
                  <a:pt x="128" y="51"/>
                  <a:pt x="128" y="51"/>
                  <a:pt x="128" y="51"/>
                </a:cubicBezTo>
                <a:cubicBezTo>
                  <a:pt x="128" y="56"/>
                  <a:pt x="132" y="59"/>
                  <a:pt x="136" y="59"/>
                </a:cubicBezTo>
                <a:cubicBezTo>
                  <a:pt x="141" y="59"/>
                  <a:pt x="144" y="56"/>
                  <a:pt x="144" y="51"/>
                </a:cubicBezTo>
                <a:cubicBezTo>
                  <a:pt x="144" y="42"/>
                  <a:pt x="144" y="42"/>
                  <a:pt x="144" y="42"/>
                </a:cubicBezTo>
                <a:cubicBezTo>
                  <a:pt x="144" y="18"/>
                  <a:pt x="126" y="0"/>
                  <a:pt x="102" y="0"/>
                </a:cubicBezTo>
                <a:cubicBezTo>
                  <a:pt x="86" y="0"/>
                  <a:pt x="86" y="0"/>
                  <a:pt x="86" y="0"/>
                </a:cubicBezTo>
                <a:cubicBezTo>
                  <a:pt x="63" y="0"/>
                  <a:pt x="44" y="18"/>
                  <a:pt x="44" y="42"/>
                </a:cubicBezTo>
                <a:cubicBezTo>
                  <a:pt x="44" y="292"/>
                  <a:pt x="44" y="292"/>
                  <a:pt x="44" y="292"/>
                </a:cubicBezTo>
                <a:cubicBezTo>
                  <a:pt x="18" y="308"/>
                  <a:pt x="1" y="337"/>
                  <a:pt x="0" y="370"/>
                </a:cubicBezTo>
                <a:cubicBezTo>
                  <a:pt x="0" y="422"/>
                  <a:pt x="41" y="465"/>
                  <a:pt x="93" y="466"/>
                </a:cubicBezTo>
                <a:cubicBezTo>
                  <a:pt x="145" y="466"/>
                  <a:pt x="188" y="425"/>
                  <a:pt x="188" y="373"/>
                </a:cubicBezTo>
                <a:cubicBezTo>
                  <a:pt x="189" y="339"/>
                  <a:pt x="171" y="309"/>
                  <a:pt x="144" y="292"/>
                </a:cubicBezTo>
                <a:close/>
                <a:moveTo>
                  <a:pt x="94" y="446"/>
                </a:moveTo>
                <a:cubicBezTo>
                  <a:pt x="90" y="446"/>
                  <a:pt x="86" y="442"/>
                  <a:pt x="86" y="438"/>
                </a:cubicBezTo>
                <a:cubicBezTo>
                  <a:pt x="86" y="434"/>
                  <a:pt x="90" y="430"/>
                  <a:pt x="94" y="430"/>
                </a:cubicBezTo>
                <a:cubicBezTo>
                  <a:pt x="126" y="430"/>
                  <a:pt x="153" y="404"/>
                  <a:pt x="153" y="372"/>
                </a:cubicBezTo>
                <a:cubicBezTo>
                  <a:pt x="153" y="367"/>
                  <a:pt x="156" y="364"/>
                  <a:pt x="161" y="364"/>
                </a:cubicBezTo>
                <a:cubicBezTo>
                  <a:pt x="165" y="364"/>
                  <a:pt x="169" y="367"/>
                  <a:pt x="169" y="372"/>
                </a:cubicBezTo>
                <a:cubicBezTo>
                  <a:pt x="169" y="413"/>
                  <a:pt x="135" y="446"/>
                  <a:pt x="94" y="446"/>
                </a:cubicBezTo>
                <a:close/>
              </a:path>
            </a:pathLst>
          </a:custGeom>
          <a:solidFill>
            <a:srgbClr val="B1B3B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93" name="Freeform 3"/>
          <p:cNvSpPr>
            <a:spLocks noChangeAspect="1" noEditPoints="1"/>
          </p:cNvSpPr>
          <p:nvPr/>
        </p:nvSpPr>
        <p:spPr bwMode="auto">
          <a:xfrm>
            <a:off x="6691814" y="4045110"/>
            <a:ext cx="289235" cy="151896"/>
          </a:xfrm>
          <a:custGeom>
            <a:avLst/>
            <a:gdLst>
              <a:gd name="T0" fmla="*/ 2147483647 w 387"/>
              <a:gd name="T1" fmla="*/ 2147483647 h 203"/>
              <a:gd name="T2" fmla="*/ 2147483647 w 387"/>
              <a:gd name="T3" fmla="*/ 2147483647 h 203"/>
              <a:gd name="T4" fmla="*/ 2147483647 w 387"/>
              <a:gd name="T5" fmla="*/ 2147483647 h 203"/>
              <a:gd name="T6" fmla="*/ 2147483647 w 387"/>
              <a:gd name="T7" fmla="*/ 2147483647 h 203"/>
              <a:gd name="T8" fmla="*/ 2147483647 w 387"/>
              <a:gd name="T9" fmla="*/ 2147483647 h 203"/>
              <a:gd name="T10" fmla="*/ 2147483647 w 387"/>
              <a:gd name="T11" fmla="*/ 2147483647 h 203"/>
              <a:gd name="T12" fmla="*/ 2147483647 w 387"/>
              <a:gd name="T13" fmla="*/ 2147483647 h 203"/>
              <a:gd name="T14" fmla="*/ 2147483647 w 387"/>
              <a:gd name="T15" fmla="*/ 2147483647 h 203"/>
              <a:gd name="T16" fmla="*/ 2147483647 w 387"/>
              <a:gd name="T17" fmla="*/ 2147483647 h 203"/>
              <a:gd name="T18" fmla="*/ 2147483647 w 387"/>
              <a:gd name="T19" fmla="*/ 2147483647 h 203"/>
              <a:gd name="T20" fmla="*/ 2147483647 w 387"/>
              <a:gd name="T21" fmla="*/ 2147483647 h 203"/>
              <a:gd name="T22" fmla="*/ 2147483647 w 387"/>
              <a:gd name="T23" fmla="*/ 2147483647 h 203"/>
              <a:gd name="T24" fmla="*/ 2147483647 w 387"/>
              <a:gd name="T25" fmla="*/ 2147483647 h 203"/>
              <a:gd name="T26" fmla="*/ 0 w 387"/>
              <a:gd name="T27" fmla="*/ 2147483647 h 203"/>
              <a:gd name="T28" fmla="*/ 2147483647 w 387"/>
              <a:gd name="T29" fmla="*/ 2147483647 h 203"/>
              <a:gd name="T30" fmla="*/ 2147483647 w 387"/>
              <a:gd name="T31" fmla="*/ 2147483647 h 203"/>
              <a:gd name="T32" fmla="*/ 2147483647 w 387"/>
              <a:gd name="T33" fmla="*/ 2147483647 h 203"/>
              <a:gd name="T34" fmla="*/ 2147483647 w 387"/>
              <a:gd name="T35" fmla="*/ 2147483647 h 203"/>
              <a:gd name="T36" fmla="*/ 2147483647 w 387"/>
              <a:gd name="T37" fmla="*/ 2147483647 h 203"/>
              <a:gd name="T38" fmla="*/ 2147483647 w 387"/>
              <a:gd name="T39" fmla="*/ 2147483647 h 203"/>
              <a:gd name="T40" fmla="*/ 2147483647 w 387"/>
              <a:gd name="T41" fmla="*/ 2147483647 h 203"/>
              <a:gd name="T42" fmla="*/ 2147483647 w 387"/>
              <a:gd name="T43" fmla="*/ 2147483647 h 203"/>
              <a:gd name="T44" fmla="*/ 2147483647 w 387"/>
              <a:gd name="T45" fmla="*/ 2147483647 h 203"/>
              <a:gd name="T46" fmla="*/ 2147483647 w 387"/>
              <a:gd name="T47" fmla="*/ 2147483647 h 203"/>
              <a:gd name="T48" fmla="*/ 2147483647 w 387"/>
              <a:gd name="T49" fmla="*/ 2147483647 h 203"/>
              <a:gd name="T50" fmla="*/ 2147483647 w 387"/>
              <a:gd name="T51" fmla="*/ 2147483647 h 203"/>
              <a:gd name="T52" fmla="*/ 2147483647 w 387"/>
              <a:gd name="T53" fmla="*/ 2147483647 h 203"/>
              <a:gd name="T54" fmla="*/ 2147483647 w 387"/>
              <a:gd name="T55" fmla="*/ 2147483647 h 203"/>
              <a:gd name="T56" fmla="*/ 2147483647 w 387"/>
              <a:gd name="T57" fmla="*/ 2147483647 h 203"/>
              <a:gd name="T58" fmla="*/ 2147483647 w 387"/>
              <a:gd name="T59" fmla="*/ 2147483647 h 203"/>
              <a:gd name="T60" fmla="*/ 2147483647 w 387"/>
              <a:gd name="T61" fmla="*/ 2147483647 h 203"/>
              <a:gd name="T62" fmla="*/ 2147483647 w 387"/>
              <a:gd name="T63" fmla="*/ 2147483647 h 203"/>
              <a:gd name="T64" fmla="*/ 2147483647 w 387"/>
              <a:gd name="T65" fmla="*/ 2147483647 h 203"/>
              <a:gd name="T66" fmla="*/ 2147483647 w 387"/>
              <a:gd name="T67" fmla="*/ 2147483647 h 20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387" h="203">
                <a:moveTo>
                  <a:pt x="106" y="102"/>
                </a:moveTo>
                <a:cubicBezTo>
                  <a:pt x="106" y="81"/>
                  <a:pt x="89" y="63"/>
                  <a:pt x="68" y="63"/>
                </a:cubicBezTo>
                <a:cubicBezTo>
                  <a:pt x="47" y="63"/>
                  <a:pt x="29" y="81"/>
                  <a:pt x="29" y="102"/>
                </a:cubicBezTo>
                <a:cubicBezTo>
                  <a:pt x="29" y="123"/>
                  <a:pt x="47" y="140"/>
                  <a:pt x="68" y="140"/>
                </a:cubicBezTo>
                <a:cubicBezTo>
                  <a:pt x="89" y="140"/>
                  <a:pt x="106" y="123"/>
                  <a:pt x="106" y="102"/>
                </a:cubicBezTo>
                <a:close/>
                <a:moveTo>
                  <a:pt x="45" y="102"/>
                </a:moveTo>
                <a:cubicBezTo>
                  <a:pt x="45" y="89"/>
                  <a:pt x="55" y="79"/>
                  <a:pt x="68" y="79"/>
                </a:cubicBezTo>
                <a:cubicBezTo>
                  <a:pt x="80" y="79"/>
                  <a:pt x="90" y="89"/>
                  <a:pt x="90" y="102"/>
                </a:cubicBezTo>
                <a:cubicBezTo>
                  <a:pt x="90" y="114"/>
                  <a:pt x="80" y="124"/>
                  <a:pt x="68" y="124"/>
                </a:cubicBezTo>
                <a:cubicBezTo>
                  <a:pt x="55" y="124"/>
                  <a:pt x="45" y="114"/>
                  <a:pt x="45" y="102"/>
                </a:cubicBezTo>
                <a:close/>
                <a:moveTo>
                  <a:pt x="384" y="100"/>
                </a:moveTo>
                <a:cubicBezTo>
                  <a:pt x="346" y="61"/>
                  <a:pt x="346" y="61"/>
                  <a:pt x="346" y="61"/>
                </a:cubicBezTo>
                <a:cubicBezTo>
                  <a:pt x="344" y="60"/>
                  <a:pt x="342" y="59"/>
                  <a:pt x="340" y="59"/>
                </a:cubicBezTo>
                <a:cubicBezTo>
                  <a:pt x="340" y="59"/>
                  <a:pt x="340" y="59"/>
                  <a:pt x="340" y="59"/>
                </a:cubicBezTo>
                <a:cubicBezTo>
                  <a:pt x="338" y="59"/>
                  <a:pt x="336" y="60"/>
                  <a:pt x="334" y="61"/>
                </a:cubicBezTo>
                <a:cubicBezTo>
                  <a:pt x="319" y="77"/>
                  <a:pt x="319" y="77"/>
                  <a:pt x="319" y="77"/>
                </a:cubicBezTo>
                <a:cubicBezTo>
                  <a:pt x="299" y="61"/>
                  <a:pt x="299" y="61"/>
                  <a:pt x="299" y="61"/>
                </a:cubicBezTo>
                <a:cubicBezTo>
                  <a:pt x="296" y="59"/>
                  <a:pt x="291" y="59"/>
                  <a:pt x="289" y="61"/>
                </a:cubicBezTo>
                <a:cubicBezTo>
                  <a:pt x="270" y="78"/>
                  <a:pt x="270" y="78"/>
                  <a:pt x="270" y="78"/>
                </a:cubicBezTo>
                <a:cubicBezTo>
                  <a:pt x="250" y="61"/>
                  <a:pt x="250" y="61"/>
                  <a:pt x="250" y="61"/>
                </a:cubicBezTo>
                <a:cubicBezTo>
                  <a:pt x="247" y="59"/>
                  <a:pt x="243" y="59"/>
                  <a:pt x="240" y="62"/>
                </a:cubicBezTo>
                <a:cubicBezTo>
                  <a:pt x="225" y="77"/>
                  <a:pt x="225" y="77"/>
                  <a:pt x="225" y="77"/>
                </a:cubicBezTo>
                <a:cubicBezTo>
                  <a:pt x="211" y="64"/>
                  <a:pt x="211" y="64"/>
                  <a:pt x="211" y="64"/>
                </a:cubicBezTo>
                <a:cubicBezTo>
                  <a:pt x="211" y="52"/>
                  <a:pt x="211" y="52"/>
                  <a:pt x="211" y="52"/>
                </a:cubicBezTo>
                <a:cubicBezTo>
                  <a:pt x="211" y="47"/>
                  <a:pt x="207" y="44"/>
                  <a:pt x="203" y="44"/>
                </a:cubicBezTo>
                <a:cubicBezTo>
                  <a:pt x="181" y="44"/>
                  <a:pt x="181" y="44"/>
                  <a:pt x="181" y="44"/>
                </a:cubicBezTo>
                <a:cubicBezTo>
                  <a:pt x="161" y="16"/>
                  <a:pt x="133" y="0"/>
                  <a:pt x="101" y="0"/>
                </a:cubicBezTo>
                <a:cubicBezTo>
                  <a:pt x="45" y="0"/>
                  <a:pt x="0" y="46"/>
                  <a:pt x="0" y="102"/>
                </a:cubicBezTo>
                <a:cubicBezTo>
                  <a:pt x="0" y="124"/>
                  <a:pt x="6" y="144"/>
                  <a:pt x="19" y="162"/>
                </a:cubicBezTo>
                <a:cubicBezTo>
                  <a:pt x="22" y="165"/>
                  <a:pt x="27" y="166"/>
                  <a:pt x="31" y="164"/>
                </a:cubicBezTo>
                <a:cubicBezTo>
                  <a:pt x="34" y="161"/>
                  <a:pt x="35" y="156"/>
                  <a:pt x="32" y="152"/>
                </a:cubicBezTo>
                <a:cubicBezTo>
                  <a:pt x="21" y="138"/>
                  <a:pt x="16" y="120"/>
                  <a:pt x="16" y="102"/>
                </a:cubicBezTo>
                <a:cubicBezTo>
                  <a:pt x="16" y="55"/>
                  <a:pt x="54" y="16"/>
                  <a:pt x="101" y="16"/>
                </a:cubicBezTo>
                <a:cubicBezTo>
                  <a:pt x="137" y="16"/>
                  <a:pt x="158" y="38"/>
                  <a:pt x="170" y="56"/>
                </a:cubicBezTo>
                <a:cubicBezTo>
                  <a:pt x="171" y="58"/>
                  <a:pt x="174" y="60"/>
                  <a:pt x="176" y="60"/>
                </a:cubicBezTo>
                <a:cubicBezTo>
                  <a:pt x="195" y="60"/>
                  <a:pt x="195" y="60"/>
                  <a:pt x="195" y="60"/>
                </a:cubicBezTo>
                <a:cubicBezTo>
                  <a:pt x="195" y="68"/>
                  <a:pt x="195" y="68"/>
                  <a:pt x="195" y="68"/>
                </a:cubicBezTo>
                <a:cubicBezTo>
                  <a:pt x="195" y="70"/>
                  <a:pt x="196" y="72"/>
                  <a:pt x="197" y="74"/>
                </a:cubicBezTo>
                <a:cubicBezTo>
                  <a:pt x="219" y="94"/>
                  <a:pt x="219" y="94"/>
                  <a:pt x="219" y="94"/>
                </a:cubicBezTo>
                <a:cubicBezTo>
                  <a:pt x="222" y="97"/>
                  <a:pt x="227" y="97"/>
                  <a:pt x="230" y="94"/>
                </a:cubicBezTo>
                <a:cubicBezTo>
                  <a:pt x="246" y="78"/>
                  <a:pt x="246" y="78"/>
                  <a:pt x="246" y="78"/>
                </a:cubicBezTo>
                <a:cubicBezTo>
                  <a:pt x="265" y="94"/>
                  <a:pt x="265" y="94"/>
                  <a:pt x="265" y="94"/>
                </a:cubicBezTo>
                <a:cubicBezTo>
                  <a:pt x="268" y="97"/>
                  <a:pt x="272" y="97"/>
                  <a:pt x="275" y="94"/>
                </a:cubicBezTo>
                <a:cubicBezTo>
                  <a:pt x="294" y="78"/>
                  <a:pt x="294" y="78"/>
                  <a:pt x="294" y="78"/>
                </a:cubicBezTo>
                <a:cubicBezTo>
                  <a:pt x="315" y="94"/>
                  <a:pt x="315" y="94"/>
                  <a:pt x="315" y="94"/>
                </a:cubicBezTo>
                <a:cubicBezTo>
                  <a:pt x="318" y="97"/>
                  <a:pt x="322" y="97"/>
                  <a:pt x="325" y="94"/>
                </a:cubicBezTo>
                <a:cubicBezTo>
                  <a:pt x="340" y="78"/>
                  <a:pt x="340" y="78"/>
                  <a:pt x="340" y="78"/>
                </a:cubicBezTo>
                <a:cubicBezTo>
                  <a:pt x="367" y="106"/>
                  <a:pt x="367" y="106"/>
                  <a:pt x="367" y="106"/>
                </a:cubicBezTo>
                <a:cubicBezTo>
                  <a:pt x="341" y="133"/>
                  <a:pt x="341" y="133"/>
                  <a:pt x="341" y="133"/>
                </a:cubicBezTo>
                <a:cubicBezTo>
                  <a:pt x="203" y="133"/>
                  <a:pt x="203" y="133"/>
                  <a:pt x="203" y="133"/>
                </a:cubicBezTo>
                <a:cubicBezTo>
                  <a:pt x="198" y="133"/>
                  <a:pt x="195" y="136"/>
                  <a:pt x="195" y="141"/>
                </a:cubicBezTo>
                <a:cubicBezTo>
                  <a:pt x="195" y="152"/>
                  <a:pt x="195" y="152"/>
                  <a:pt x="195" y="152"/>
                </a:cubicBezTo>
                <a:cubicBezTo>
                  <a:pt x="168" y="152"/>
                  <a:pt x="168" y="152"/>
                  <a:pt x="168" y="152"/>
                </a:cubicBezTo>
                <a:cubicBezTo>
                  <a:pt x="168" y="152"/>
                  <a:pt x="168" y="152"/>
                  <a:pt x="168" y="152"/>
                </a:cubicBezTo>
                <a:cubicBezTo>
                  <a:pt x="165" y="152"/>
                  <a:pt x="163" y="153"/>
                  <a:pt x="161" y="155"/>
                </a:cubicBezTo>
                <a:cubicBezTo>
                  <a:pt x="145" y="177"/>
                  <a:pt x="125" y="187"/>
                  <a:pt x="101" y="187"/>
                </a:cubicBezTo>
                <a:cubicBezTo>
                  <a:pt x="84" y="187"/>
                  <a:pt x="67" y="182"/>
                  <a:pt x="53" y="173"/>
                </a:cubicBezTo>
                <a:cubicBezTo>
                  <a:pt x="50" y="170"/>
                  <a:pt x="45" y="171"/>
                  <a:pt x="42" y="175"/>
                </a:cubicBezTo>
                <a:cubicBezTo>
                  <a:pt x="40" y="178"/>
                  <a:pt x="41" y="183"/>
                  <a:pt x="44" y="186"/>
                </a:cubicBezTo>
                <a:cubicBezTo>
                  <a:pt x="61" y="197"/>
                  <a:pt x="81" y="203"/>
                  <a:pt x="101" y="203"/>
                </a:cubicBezTo>
                <a:cubicBezTo>
                  <a:pt x="129" y="203"/>
                  <a:pt x="152" y="191"/>
                  <a:pt x="171" y="168"/>
                </a:cubicBezTo>
                <a:cubicBezTo>
                  <a:pt x="203" y="168"/>
                  <a:pt x="203" y="168"/>
                  <a:pt x="203" y="168"/>
                </a:cubicBezTo>
                <a:cubicBezTo>
                  <a:pt x="205" y="168"/>
                  <a:pt x="207" y="167"/>
                  <a:pt x="208" y="165"/>
                </a:cubicBezTo>
                <a:cubicBezTo>
                  <a:pt x="210" y="164"/>
                  <a:pt x="211" y="162"/>
                  <a:pt x="211" y="160"/>
                </a:cubicBezTo>
                <a:cubicBezTo>
                  <a:pt x="211" y="149"/>
                  <a:pt x="211" y="149"/>
                  <a:pt x="211" y="149"/>
                </a:cubicBezTo>
                <a:cubicBezTo>
                  <a:pt x="345" y="149"/>
                  <a:pt x="345" y="149"/>
                  <a:pt x="345" y="149"/>
                </a:cubicBezTo>
                <a:cubicBezTo>
                  <a:pt x="347" y="149"/>
                  <a:pt x="349" y="148"/>
                  <a:pt x="350" y="146"/>
                </a:cubicBezTo>
                <a:cubicBezTo>
                  <a:pt x="384" y="111"/>
                  <a:pt x="384" y="111"/>
                  <a:pt x="384" y="111"/>
                </a:cubicBezTo>
                <a:cubicBezTo>
                  <a:pt x="387" y="108"/>
                  <a:pt x="387" y="103"/>
                  <a:pt x="384" y="100"/>
                </a:cubicBezTo>
                <a:close/>
              </a:path>
            </a:pathLst>
          </a:custGeom>
          <a:solidFill>
            <a:srgbClr val="B1B3B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95" name="Freeform 3"/>
          <p:cNvSpPr>
            <a:spLocks noChangeAspect="1" noEditPoints="1"/>
          </p:cNvSpPr>
          <p:nvPr/>
        </p:nvSpPr>
        <p:spPr bwMode="auto">
          <a:xfrm>
            <a:off x="5174030" y="4202634"/>
            <a:ext cx="397235" cy="319235"/>
          </a:xfrm>
          <a:custGeom>
            <a:avLst/>
            <a:gdLst>
              <a:gd name="T0" fmla="*/ 2147483647 w 418"/>
              <a:gd name="T1" fmla="*/ 2147483647 h 336"/>
              <a:gd name="T2" fmla="*/ 2147483647 w 418"/>
              <a:gd name="T3" fmla="*/ 2147483647 h 336"/>
              <a:gd name="T4" fmla="*/ 2147483647 w 418"/>
              <a:gd name="T5" fmla="*/ 2147483647 h 336"/>
              <a:gd name="T6" fmla="*/ 2147483647 w 418"/>
              <a:gd name="T7" fmla="*/ 2147483647 h 336"/>
              <a:gd name="T8" fmla="*/ 2147483647 w 418"/>
              <a:gd name="T9" fmla="*/ 2147483647 h 336"/>
              <a:gd name="T10" fmla="*/ 2147483647 w 418"/>
              <a:gd name="T11" fmla="*/ 2147483647 h 336"/>
              <a:gd name="T12" fmla="*/ 2147483647 w 418"/>
              <a:gd name="T13" fmla="*/ 2147483647 h 336"/>
              <a:gd name="T14" fmla="*/ 2147483647 w 418"/>
              <a:gd name="T15" fmla="*/ 2147483647 h 336"/>
              <a:gd name="T16" fmla="*/ 2147483647 w 418"/>
              <a:gd name="T17" fmla="*/ 2147483647 h 336"/>
              <a:gd name="T18" fmla="*/ 2147483647 w 418"/>
              <a:gd name="T19" fmla="*/ 2147483647 h 336"/>
              <a:gd name="T20" fmla="*/ 2147483647 w 418"/>
              <a:gd name="T21" fmla="*/ 2147483647 h 336"/>
              <a:gd name="T22" fmla="*/ 2147483647 w 418"/>
              <a:gd name="T23" fmla="*/ 2147483647 h 336"/>
              <a:gd name="T24" fmla="*/ 2147483647 w 418"/>
              <a:gd name="T25" fmla="*/ 2147483647 h 336"/>
              <a:gd name="T26" fmla="*/ 2147483647 w 418"/>
              <a:gd name="T27" fmla="*/ 2147483647 h 336"/>
              <a:gd name="T28" fmla="*/ 2147483647 w 418"/>
              <a:gd name="T29" fmla="*/ 2147483647 h 336"/>
              <a:gd name="T30" fmla="*/ 2147483647 w 418"/>
              <a:gd name="T31" fmla="*/ 2147483647 h 336"/>
              <a:gd name="T32" fmla="*/ 2147483647 w 418"/>
              <a:gd name="T33" fmla="*/ 2147483647 h 336"/>
              <a:gd name="T34" fmla="*/ 2147483647 w 418"/>
              <a:gd name="T35" fmla="*/ 2147483647 h 336"/>
              <a:gd name="T36" fmla="*/ 2147483647 w 418"/>
              <a:gd name="T37" fmla="*/ 2147483647 h 336"/>
              <a:gd name="T38" fmla="*/ 2147483647 w 418"/>
              <a:gd name="T39" fmla="*/ 2147483647 h 336"/>
              <a:gd name="T40" fmla="*/ 2147483647 w 418"/>
              <a:gd name="T41" fmla="*/ 2147483647 h 336"/>
              <a:gd name="T42" fmla="*/ 2147483647 w 418"/>
              <a:gd name="T43" fmla="*/ 2147483647 h 336"/>
              <a:gd name="T44" fmla="*/ 2147483647 w 418"/>
              <a:gd name="T45" fmla="*/ 2147483647 h 336"/>
              <a:gd name="T46" fmla="*/ 2147483647 w 418"/>
              <a:gd name="T47" fmla="*/ 2147483647 h 336"/>
              <a:gd name="T48" fmla="*/ 2147483647 w 418"/>
              <a:gd name="T49" fmla="*/ 2147483647 h 336"/>
              <a:gd name="T50" fmla="*/ 2147483647 w 418"/>
              <a:gd name="T51" fmla="*/ 2147483647 h 336"/>
              <a:gd name="T52" fmla="*/ 2147483647 w 418"/>
              <a:gd name="T53" fmla="*/ 2147483647 h 336"/>
              <a:gd name="T54" fmla="*/ 2147483647 w 418"/>
              <a:gd name="T55" fmla="*/ 2147483647 h 336"/>
              <a:gd name="T56" fmla="*/ 2147483647 w 418"/>
              <a:gd name="T57" fmla="*/ 2147483647 h 336"/>
              <a:gd name="T58" fmla="*/ 2147483647 w 418"/>
              <a:gd name="T59" fmla="*/ 2147483647 h 336"/>
              <a:gd name="T60" fmla="*/ 2147483647 w 418"/>
              <a:gd name="T61" fmla="*/ 2147483647 h 336"/>
              <a:gd name="T62" fmla="*/ 2147483647 w 418"/>
              <a:gd name="T63" fmla="*/ 2147483647 h 336"/>
              <a:gd name="T64" fmla="*/ 2147483647 w 418"/>
              <a:gd name="T65" fmla="*/ 2147483647 h 336"/>
              <a:gd name="T66" fmla="*/ 2147483647 w 418"/>
              <a:gd name="T67" fmla="*/ 2147483647 h 336"/>
              <a:gd name="T68" fmla="*/ 2147483647 w 418"/>
              <a:gd name="T69" fmla="*/ 2147483647 h 336"/>
              <a:gd name="T70" fmla="*/ 2147483647 w 418"/>
              <a:gd name="T71" fmla="*/ 2147483647 h 336"/>
              <a:gd name="T72" fmla="*/ 2147483647 w 418"/>
              <a:gd name="T73" fmla="*/ 2147483647 h 336"/>
              <a:gd name="T74" fmla="*/ 2147483647 w 418"/>
              <a:gd name="T75" fmla="*/ 2147483647 h 336"/>
              <a:gd name="T76" fmla="*/ 2147483647 w 418"/>
              <a:gd name="T77" fmla="*/ 2147483647 h 336"/>
              <a:gd name="T78" fmla="*/ 2147483647 w 418"/>
              <a:gd name="T79" fmla="*/ 2147483647 h 336"/>
              <a:gd name="T80" fmla="*/ 2147483647 w 418"/>
              <a:gd name="T81" fmla="*/ 2147483647 h 336"/>
              <a:gd name="T82" fmla="*/ 2147483647 w 418"/>
              <a:gd name="T83" fmla="*/ 2147483647 h 336"/>
              <a:gd name="T84" fmla="*/ 2147483647 w 418"/>
              <a:gd name="T85" fmla="*/ 2147483647 h 336"/>
              <a:gd name="T86" fmla="*/ 2147483647 w 418"/>
              <a:gd name="T87" fmla="*/ 2147483647 h 336"/>
              <a:gd name="T88" fmla="*/ 2147483647 w 418"/>
              <a:gd name="T89" fmla="*/ 0 h 336"/>
              <a:gd name="T90" fmla="*/ 2147483647 w 418"/>
              <a:gd name="T91" fmla="*/ 0 h 336"/>
              <a:gd name="T92" fmla="*/ 2147483647 w 418"/>
              <a:gd name="T93" fmla="*/ 2147483647 h 336"/>
              <a:gd name="T94" fmla="*/ 2147483647 w 418"/>
              <a:gd name="T95" fmla="*/ 2147483647 h 336"/>
              <a:gd name="T96" fmla="*/ 2147483647 w 418"/>
              <a:gd name="T97" fmla="*/ 2147483647 h 336"/>
              <a:gd name="T98" fmla="*/ 0 w 418"/>
              <a:gd name="T99" fmla="*/ 2147483647 h 336"/>
              <a:gd name="T100" fmla="*/ 0 w 418"/>
              <a:gd name="T101" fmla="*/ 2147483647 h 336"/>
              <a:gd name="T102" fmla="*/ 2147483647 w 418"/>
              <a:gd name="T103" fmla="*/ 2147483647 h 336"/>
              <a:gd name="T104" fmla="*/ 2147483647 w 418"/>
              <a:gd name="T105" fmla="*/ 2147483647 h 336"/>
              <a:gd name="T106" fmla="*/ 2147483647 w 418"/>
              <a:gd name="T107" fmla="*/ 2147483647 h 336"/>
              <a:gd name="T108" fmla="*/ 2147483647 w 418"/>
              <a:gd name="T109" fmla="*/ 2147483647 h 336"/>
              <a:gd name="T110" fmla="*/ 2147483647 w 418"/>
              <a:gd name="T111" fmla="*/ 2147483647 h 336"/>
              <a:gd name="T112" fmla="*/ 2147483647 w 418"/>
              <a:gd name="T113" fmla="*/ 2147483647 h 336"/>
              <a:gd name="T114" fmla="*/ 2147483647 w 418"/>
              <a:gd name="T115" fmla="*/ 2147483647 h 336"/>
              <a:gd name="T116" fmla="*/ 2147483647 w 418"/>
              <a:gd name="T117" fmla="*/ 2147483647 h 336"/>
              <a:gd name="T118" fmla="*/ 2147483647 w 418"/>
              <a:gd name="T119" fmla="*/ 2147483647 h 336"/>
              <a:gd name="T120" fmla="*/ 2147483647 w 418"/>
              <a:gd name="T121" fmla="*/ 2147483647 h 336"/>
              <a:gd name="T122" fmla="*/ 2147483647 w 418"/>
              <a:gd name="T123" fmla="*/ 2147483647 h 336"/>
              <a:gd name="T124" fmla="*/ 2147483647 w 418"/>
              <a:gd name="T125" fmla="*/ 2147483647 h 3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18" h="336">
                <a:moveTo>
                  <a:pt x="103" y="187"/>
                </a:moveTo>
                <a:cubicBezTo>
                  <a:pt x="103" y="246"/>
                  <a:pt x="151" y="293"/>
                  <a:pt x="209" y="293"/>
                </a:cubicBezTo>
                <a:cubicBezTo>
                  <a:pt x="267" y="293"/>
                  <a:pt x="315" y="246"/>
                  <a:pt x="315" y="187"/>
                </a:cubicBezTo>
                <a:cubicBezTo>
                  <a:pt x="315" y="129"/>
                  <a:pt x="267" y="82"/>
                  <a:pt x="209" y="82"/>
                </a:cubicBezTo>
                <a:cubicBezTo>
                  <a:pt x="151" y="82"/>
                  <a:pt x="103" y="129"/>
                  <a:pt x="103" y="187"/>
                </a:cubicBezTo>
                <a:close/>
                <a:moveTo>
                  <a:pt x="236" y="130"/>
                </a:moveTo>
                <a:cubicBezTo>
                  <a:pt x="236" y="161"/>
                  <a:pt x="236" y="161"/>
                  <a:pt x="236" y="161"/>
                </a:cubicBezTo>
                <a:cubicBezTo>
                  <a:pt x="266" y="161"/>
                  <a:pt x="266" y="161"/>
                  <a:pt x="266" y="161"/>
                </a:cubicBezTo>
                <a:cubicBezTo>
                  <a:pt x="275" y="161"/>
                  <a:pt x="282" y="168"/>
                  <a:pt x="282" y="177"/>
                </a:cubicBezTo>
                <a:cubicBezTo>
                  <a:pt x="282" y="198"/>
                  <a:pt x="282" y="198"/>
                  <a:pt x="282" y="198"/>
                </a:cubicBezTo>
                <a:cubicBezTo>
                  <a:pt x="282" y="207"/>
                  <a:pt x="275" y="214"/>
                  <a:pt x="266" y="214"/>
                </a:cubicBezTo>
                <a:cubicBezTo>
                  <a:pt x="236" y="214"/>
                  <a:pt x="236" y="214"/>
                  <a:pt x="236" y="214"/>
                </a:cubicBezTo>
                <a:cubicBezTo>
                  <a:pt x="236" y="245"/>
                  <a:pt x="236" y="245"/>
                  <a:pt x="236" y="245"/>
                </a:cubicBezTo>
                <a:cubicBezTo>
                  <a:pt x="236" y="253"/>
                  <a:pt x="228" y="261"/>
                  <a:pt x="220" y="261"/>
                </a:cubicBezTo>
                <a:cubicBezTo>
                  <a:pt x="199" y="261"/>
                  <a:pt x="199" y="261"/>
                  <a:pt x="199" y="261"/>
                </a:cubicBezTo>
                <a:cubicBezTo>
                  <a:pt x="190" y="261"/>
                  <a:pt x="183" y="253"/>
                  <a:pt x="183" y="245"/>
                </a:cubicBezTo>
                <a:cubicBezTo>
                  <a:pt x="183" y="214"/>
                  <a:pt x="183" y="214"/>
                  <a:pt x="183" y="214"/>
                </a:cubicBezTo>
                <a:cubicBezTo>
                  <a:pt x="152" y="214"/>
                  <a:pt x="152" y="214"/>
                  <a:pt x="152" y="214"/>
                </a:cubicBezTo>
                <a:cubicBezTo>
                  <a:pt x="143" y="214"/>
                  <a:pt x="136" y="207"/>
                  <a:pt x="136" y="198"/>
                </a:cubicBezTo>
                <a:cubicBezTo>
                  <a:pt x="136" y="177"/>
                  <a:pt x="136" y="177"/>
                  <a:pt x="136" y="177"/>
                </a:cubicBezTo>
                <a:cubicBezTo>
                  <a:pt x="136" y="168"/>
                  <a:pt x="143" y="161"/>
                  <a:pt x="152" y="161"/>
                </a:cubicBezTo>
                <a:cubicBezTo>
                  <a:pt x="183" y="161"/>
                  <a:pt x="183" y="161"/>
                  <a:pt x="183" y="161"/>
                </a:cubicBezTo>
                <a:cubicBezTo>
                  <a:pt x="183" y="130"/>
                  <a:pt x="183" y="130"/>
                  <a:pt x="183" y="130"/>
                </a:cubicBezTo>
                <a:cubicBezTo>
                  <a:pt x="183" y="121"/>
                  <a:pt x="190" y="114"/>
                  <a:pt x="199" y="114"/>
                </a:cubicBezTo>
                <a:cubicBezTo>
                  <a:pt x="220" y="114"/>
                  <a:pt x="220" y="114"/>
                  <a:pt x="220" y="114"/>
                </a:cubicBezTo>
                <a:cubicBezTo>
                  <a:pt x="228" y="114"/>
                  <a:pt x="236" y="121"/>
                  <a:pt x="236" y="130"/>
                </a:cubicBezTo>
                <a:close/>
                <a:moveTo>
                  <a:pt x="410" y="102"/>
                </a:moveTo>
                <a:cubicBezTo>
                  <a:pt x="405" y="102"/>
                  <a:pt x="402" y="106"/>
                  <a:pt x="402" y="110"/>
                </a:cubicBezTo>
                <a:cubicBezTo>
                  <a:pt x="402" y="110"/>
                  <a:pt x="402" y="110"/>
                  <a:pt x="402" y="110"/>
                </a:cubicBezTo>
                <a:cubicBezTo>
                  <a:pt x="402" y="311"/>
                  <a:pt x="402" y="311"/>
                  <a:pt x="402" y="311"/>
                </a:cubicBezTo>
                <a:cubicBezTo>
                  <a:pt x="402" y="316"/>
                  <a:pt x="398" y="320"/>
                  <a:pt x="393" y="320"/>
                </a:cubicBezTo>
                <a:cubicBezTo>
                  <a:pt x="25" y="320"/>
                  <a:pt x="25" y="320"/>
                  <a:pt x="25" y="320"/>
                </a:cubicBezTo>
                <a:cubicBezTo>
                  <a:pt x="20" y="320"/>
                  <a:pt x="16" y="316"/>
                  <a:pt x="16" y="311"/>
                </a:cubicBezTo>
                <a:cubicBezTo>
                  <a:pt x="16" y="64"/>
                  <a:pt x="16" y="64"/>
                  <a:pt x="16" y="64"/>
                </a:cubicBezTo>
                <a:cubicBezTo>
                  <a:pt x="16" y="59"/>
                  <a:pt x="20" y="55"/>
                  <a:pt x="25" y="55"/>
                </a:cubicBezTo>
                <a:cubicBezTo>
                  <a:pt x="393" y="55"/>
                  <a:pt x="393" y="55"/>
                  <a:pt x="393" y="55"/>
                </a:cubicBezTo>
                <a:cubicBezTo>
                  <a:pt x="398" y="55"/>
                  <a:pt x="402" y="59"/>
                  <a:pt x="402" y="64"/>
                </a:cubicBezTo>
                <a:cubicBezTo>
                  <a:pt x="402" y="78"/>
                  <a:pt x="402" y="78"/>
                  <a:pt x="402" y="78"/>
                </a:cubicBezTo>
                <a:cubicBezTo>
                  <a:pt x="402" y="82"/>
                  <a:pt x="405" y="86"/>
                  <a:pt x="410" y="86"/>
                </a:cubicBezTo>
                <a:cubicBezTo>
                  <a:pt x="414" y="86"/>
                  <a:pt x="418" y="82"/>
                  <a:pt x="418" y="78"/>
                </a:cubicBezTo>
                <a:cubicBezTo>
                  <a:pt x="418" y="64"/>
                  <a:pt x="418" y="64"/>
                  <a:pt x="418" y="64"/>
                </a:cubicBezTo>
                <a:cubicBezTo>
                  <a:pt x="418" y="50"/>
                  <a:pt x="406" y="39"/>
                  <a:pt x="393" y="39"/>
                </a:cubicBezTo>
                <a:cubicBezTo>
                  <a:pt x="286" y="39"/>
                  <a:pt x="286" y="39"/>
                  <a:pt x="286" y="39"/>
                </a:cubicBezTo>
                <a:cubicBezTo>
                  <a:pt x="286" y="24"/>
                  <a:pt x="286" y="24"/>
                  <a:pt x="286" y="24"/>
                </a:cubicBezTo>
                <a:cubicBezTo>
                  <a:pt x="286" y="10"/>
                  <a:pt x="275" y="0"/>
                  <a:pt x="262" y="0"/>
                </a:cubicBezTo>
                <a:cubicBezTo>
                  <a:pt x="156" y="0"/>
                  <a:pt x="156" y="0"/>
                  <a:pt x="156" y="0"/>
                </a:cubicBezTo>
                <a:cubicBezTo>
                  <a:pt x="143" y="0"/>
                  <a:pt x="132" y="10"/>
                  <a:pt x="132" y="24"/>
                </a:cubicBezTo>
                <a:cubicBezTo>
                  <a:pt x="132" y="39"/>
                  <a:pt x="132" y="39"/>
                  <a:pt x="132" y="39"/>
                </a:cubicBezTo>
                <a:cubicBezTo>
                  <a:pt x="25" y="39"/>
                  <a:pt x="25" y="39"/>
                  <a:pt x="25" y="39"/>
                </a:cubicBezTo>
                <a:cubicBezTo>
                  <a:pt x="12" y="39"/>
                  <a:pt x="0" y="50"/>
                  <a:pt x="0" y="64"/>
                </a:cubicBezTo>
                <a:cubicBezTo>
                  <a:pt x="0" y="311"/>
                  <a:pt x="0" y="311"/>
                  <a:pt x="0" y="311"/>
                </a:cubicBezTo>
                <a:cubicBezTo>
                  <a:pt x="0" y="325"/>
                  <a:pt x="12" y="336"/>
                  <a:pt x="25" y="336"/>
                </a:cubicBezTo>
                <a:cubicBezTo>
                  <a:pt x="393" y="336"/>
                  <a:pt x="393" y="336"/>
                  <a:pt x="393" y="336"/>
                </a:cubicBezTo>
                <a:cubicBezTo>
                  <a:pt x="406" y="336"/>
                  <a:pt x="418" y="325"/>
                  <a:pt x="418" y="311"/>
                </a:cubicBezTo>
                <a:cubicBezTo>
                  <a:pt x="418" y="110"/>
                  <a:pt x="418" y="110"/>
                  <a:pt x="418" y="110"/>
                </a:cubicBezTo>
                <a:cubicBezTo>
                  <a:pt x="418" y="106"/>
                  <a:pt x="414" y="102"/>
                  <a:pt x="410" y="102"/>
                </a:cubicBezTo>
                <a:close/>
                <a:moveTo>
                  <a:pt x="156" y="16"/>
                </a:moveTo>
                <a:cubicBezTo>
                  <a:pt x="262" y="16"/>
                  <a:pt x="262" y="16"/>
                  <a:pt x="262" y="16"/>
                </a:cubicBezTo>
                <a:cubicBezTo>
                  <a:pt x="266" y="16"/>
                  <a:pt x="270" y="19"/>
                  <a:pt x="270" y="24"/>
                </a:cubicBezTo>
                <a:cubicBezTo>
                  <a:pt x="270" y="39"/>
                  <a:pt x="270" y="39"/>
                  <a:pt x="270" y="39"/>
                </a:cubicBezTo>
                <a:cubicBezTo>
                  <a:pt x="148" y="39"/>
                  <a:pt x="148" y="39"/>
                  <a:pt x="148" y="39"/>
                </a:cubicBezTo>
                <a:cubicBezTo>
                  <a:pt x="148" y="24"/>
                  <a:pt x="148" y="24"/>
                  <a:pt x="148" y="24"/>
                </a:cubicBezTo>
                <a:cubicBezTo>
                  <a:pt x="148" y="19"/>
                  <a:pt x="152" y="16"/>
                  <a:pt x="156" y="16"/>
                </a:cubicBezTo>
                <a:close/>
              </a:path>
            </a:pathLst>
          </a:custGeom>
          <a:solidFill>
            <a:srgbClr val="B1B3B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96" name="Freeform 3"/>
          <p:cNvSpPr>
            <a:spLocks noChangeAspect="1" noEditPoints="1"/>
          </p:cNvSpPr>
          <p:nvPr/>
        </p:nvSpPr>
        <p:spPr bwMode="auto">
          <a:xfrm>
            <a:off x="11298229" y="4813232"/>
            <a:ext cx="222250" cy="313903"/>
          </a:xfrm>
          <a:custGeom>
            <a:avLst/>
            <a:gdLst>
              <a:gd name="T0" fmla="*/ 2147483647 w 280"/>
              <a:gd name="T1" fmla="*/ 2147483647 h 396"/>
              <a:gd name="T2" fmla="*/ 2147483647 w 280"/>
              <a:gd name="T3" fmla="*/ 2147483647 h 396"/>
              <a:gd name="T4" fmla="*/ 2147483647 w 280"/>
              <a:gd name="T5" fmla="*/ 2147483647 h 396"/>
              <a:gd name="T6" fmla="*/ 2147483647 w 280"/>
              <a:gd name="T7" fmla="*/ 2147483647 h 396"/>
              <a:gd name="T8" fmla="*/ 2147483647 w 280"/>
              <a:gd name="T9" fmla="*/ 2147483647 h 396"/>
              <a:gd name="T10" fmla="*/ 2147483647 w 280"/>
              <a:gd name="T11" fmla="*/ 2147483647 h 396"/>
              <a:gd name="T12" fmla="*/ 2147483647 w 280"/>
              <a:gd name="T13" fmla="*/ 2147483647 h 396"/>
              <a:gd name="T14" fmla="*/ 2147483647 w 280"/>
              <a:gd name="T15" fmla="*/ 2147483647 h 396"/>
              <a:gd name="T16" fmla="*/ 2147483647 w 280"/>
              <a:gd name="T17" fmla="*/ 0 h 396"/>
              <a:gd name="T18" fmla="*/ 2147483647 w 280"/>
              <a:gd name="T19" fmla="*/ 2147483647 h 396"/>
              <a:gd name="T20" fmla="*/ 2147483647 w 280"/>
              <a:gd name="T21" fmla="*/ 2147483647 h 396"/>
              <a:gd name="T22" fmla="*/ 2147483647 w 280"/>
              <a:gd name="T23" fmla="*/ 2147483647 h 396"/>
              <a:gd name="T24" fmla="*/ 2147483647 w 280"/>
              <a:gd name="T25" fmla="*/ 2147483647 h 396"/>
              <a:gd name="T26" fmla="*/ 0 w 280"/>
              <a:gd name="T27" fmla="*/ 2147483647 h 396"/>
              <a:gd name="T28" fmla="*/ 2147483647 w 280"/>
              <a:gd name="T29" fmla="*/ 2147483647 h 396"/>
              <a:gd name="T30" fmla="*/ 2147483647 w 280"/>
              <a:gd name="T31" fmla="*/ 2147483647 h 396"/>
              <a:gd name="T32" fmla="*/ 2147483647 w 280"/>
              <a:gd name="T33" fmla="*/ 2147483647 h 396"/>
              <a:gd name="T34" fmla="*/ 2147483647 w 280"/>
              <a:gd name="T35" fmla="*/ 2147483647 h 396"/>
              <a:gd name="T36" fmla="*/ 2147483647 w 280"/>
              <a:gd name="T37" fmla="*/ 2147483647 h 396"/>
              <a:gd name="T38" fmla="*/ 2147483647 w 280"/>
              <a:gd name="T39" fmla="*/ 2147483647 h 396"/>
              <a:gd name="T40" fmla="*/ 2147483647 w 280"/>
              <a:gd name="T41" fmla="*/ 2147483647 h 396"/>
              <a:gd name="T42" fmla="*/ 2147483647 w 280"/>
              <a:gd name="T43" fmla="*/ 2147483647 h 396"/>
              <a:gd name="T44" fmla="*/ 2147483647 w 280"/>
              <a:gd name="T45" fmla="*/ 2147483647 h 396"/>
              <a:gd name="T46" fmla="*/ 2147483647 w 280"/>
              <a:gd name="T47" fmla="*/ 2147483647 h 396"/>
              <a:gd name="T48" fmla="*/ 2147483647 w 280"/>
              <a:gd name="T49" fmla="*/ 2147483647 h 396"/>
              <a:gd name="T50" fmla="*/ 2147483647 w 280"/>
              <a:gd name="T51" fmla="*/ 2147483647 h 396"/>
              <a:gd name="T52" fmla="*/ 2147483647 w 280"/>
              <a:gd name="T53" fmla="*/ 2147483647 h 396"/>
              <a:gd name="T54" fmla="*/ 2147483647 w 280"/>
              <a:gd name="T55" fmla="*/ 2147483647 h 396"/>
              <a:gd name="T56" fmla="*/ 2147483647 w 280"/>
              <a:gd name="T57" fmla="*/ 2147483647 h 396"/>
              <a:gd name="T58" fmla="*/ 2147483647 w 280"/>
              <a:gd name="T59" fmla="*/ 2147483647 h 396"/>
              <a:gd name="T60" fmla="*/ 2147483647 w 280"/>
              <a:gd name="T61" fmla="*/ 2147483647 h 396"/>
              <a:gd name="T62" fmla="*/ 2147483647 w 280"/>
              <a:gd name="T63" fmla="*/ 2147483647 h 396"/>
              <a:gd name="T64" fmla="*/ 2147483647 w 280"/>
              <a:gd name="T65" fmla="*/ 2147483647 h 396"/>
              <a:gd name="T66" fmla="*/ 2147483647 w 280"/>
              <a:gd name="T67" fmla="*/ 2147483647 h 396"/>
              <a:gd name="T68" fmla="*/ 2147483647 w 280"/>
              <a:gd name="T69" fmla="*/ 2147483647 h 396"/>
              <a:gd name="T70" fmla="*/ 2147483647 w 280"/>
              <a:gd name="T71" fmla="*/ 2147483647 h 396"/>
              <a:gd name="T72" fmla="*/ 2147483647 w 280"/>
              <a:gd name="T73" fmla="*/ 2147483647 h 396"/>
              <a:gd name="T74" fmla="*/ 2147483647 w 280"/>
              <a:gd name="T75" fmla="*/ 2147483647 h 396"/>
              <a:gd name="T76" fmla="*/ 2147483647 w 280"/>
              <a:gd name="T77" fmla="*/ 2147483647 h 396"/>
              <a:gd name="T78" fmla="*/ 2147483647 w 280"/>
              <a:gd name="T79" fmla="*/ 2147483647 h 39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280" h="396">
                <a:moveTo>
                  <a:pt x="112" y="381"/>
                </a:moveTo>
                <a:cubicBezTo>
                  <a:pt x="111" y="381"/>
                  <a:pt x="16" y="335"/>
                  <a:pt x="16" y="260"/>
                </a:cubicBezTo>
                <a:cubicBezTo>
                  <a:pt x="16" y="227"/>
                  <a:pt x="34" y="202"/>
                  <a:pt x="55" y="172"/>
                </a:cubicBezTo>
                <a:cubicBezTo>
                  <a:pt x="82" y="135"/>
                  <a:pt x="112" y="93"/>
                  <a:pt x="115" y="24"/>
                </a:cubicBezTo>
                <a:cubicBezTo>
                  <a:pt x="129" y="36"/>
                  <a:pt x="152" y="56"/>
                  <a:pt x="176" y="82"/>
                </a:cubicBezTo>
                <a:cubicBezTo>
                  <a:pt x="179" y="85"/>
                  <a:pt x="185" y="86"/>
                  <a:pt x="188" y="83"/>
                </a:cubicBezTo>
                <a:cubicBezTo>
                  <a:pt x="191" y="80"/>
                  <a:pt x="191" y="75"/>
                  <a:pt x="188" y="71"/>
                </a:cubicBezTo>
                <a:cubicBezTo>
                  <a:pt x="151" y="31"/>
                  <a:pt x="116" y="5"/>
                  <a:pt x="111" y="2"/>
                </a:cubicBezTo>
                <a:cubicBezTo>
                  <a:pt x="110" y="1"/>
                  <a:pt x="109" y="0"/>
                  <a:pt x="108" y="0"/>
                </a:cubicBezTo>
                <a:cubicBezTo>
                  <a:pt x="104" y="0"/>
                  <a:pt x="100" y="2"/>
                  <a:pt x="99" y="6"/>
                </a:cubicBezTo>
                <a:cubicBezTo>
                  <a:pt x="99" y="7"/>
                  <a:pt x="99" y="7"/>
                  <a:pt x="99" y="8"/>
                </a:cubicBezTo>
                <a:cubicBezTo>
                  <a:pt x="99" y="8"/>
                  <a:pt x="99" y="8"/>
                  <a:pt x="99" y="8"/>
                </a:cubicBezTo>
                <a:cubicBezTo>
                  <a:pt x="100" y="81"/>
                  <a:pt x="69" y="125"/>
                  <a:pt x="42" y="163"/>
                </a:cubicBezTo>
                <a:cubicBezTo>
                  <a:pt x="21" y="193"/>
                  <a:pt x="0" y="222"/>
                  <a:pt x="0" y="260"/>
                </a:cubicBezTo>
                <a:cubicBezTo>
                  <a:pt x="0" y="345"/>
                  <a:pt x="101" y="394"/>
                  <a:pt x="105" y="396"/>
                </a:cubicBezTo>
                <a:cubicBezTo>
                  <a:pt x="106" y="396"/>
                  <a:pt x="107" y="396"/>
                  <a:pt x="109" y="396"/>
                </a:cubicBezTo>
                <a:cubicBezTo>
                  <a:pt x="112" y="396"/>
                  <a:pt x="114" y="395"/>
                  <a:pt x="116" y="392"/>
                </a:cubicBezTo>
                <a:cubicBezTo>
                  <a:pt x="118" y="388"/>
                  <a:pt x="116" y="383"/>
                  <a:pt x="112" y="381"/>
                </a:cubicBezTo>
                <a:close/>
                <a:moveTo>
                  <a:pt x="209" y="96"/>
                </a:moveTo>
                <a:cubicBezTo>
                  <a:pt x="206" y="92"/>
                  <a:pt x="201" y="92"/>
                  <a:pt x="198" y="94"/>
                </a:cubicBezTo>
                <a:cubicBezTo>
                  <a:pt x="195" y="97"/>
                  <a:pt x="194" y="102"/>
                  <a:pt x="197" y="106"/>
                </a:cubicBezTo>
                <a:cubicBezTo>
                  <a:pt x="228" y="145"/>
                  <a:pt x="264" y="205"/>
                  <a:pt x="255" y="266"/>
                </a:cubicBezTo>
                <a:cubicBezTo>
                  <a:pt x="250" y="298"/>
                  <a:pt x="234" y="328"/>
                  <a:pt x="205" y="356"/>
                </a:cubicBezTo>
                <a:cubicBezTo>
                  <a:pt x="216" y="331"/>
                  <a:pt x="225" y="297"/>
                  <a:pt x="220" y="260"/>
                </a:cubicBezTo>
                <a:cubicBezTo>
                  <a:pt x="213" y="218"/>
                  <a:pt x="187" y="181"/>
                  <a:pt x="143" y="151"/>
                </a:cubicBezTo>
                <a:cubicBezTo>
                  <a:pt x="141" y="150"/>
                  <a:pt x="137" y="150"/>
                  <a:pt x="135" y="151"/>
                </a:cubicBezTo>
                <a:cubicBezTo>
                  <a:pt x="132" y="153"/>
                  <a:pt x="131" y="156"/>
                  <a:pt x="131" y="159"/>
                </a:cubicBezTo>
                <a:cubicBezTo>
                  <a:pt x="131" y="159"/>
                  <a:pt x="135" y="198"/>
                  <a:pt x="98" y="253"/>
                </a:cubicBezTo>
                <a:cubicBezTo>
                  <a:pt x="74" y="289"/>
                  <a:pt x="75" y="327"/>
                  <a:pt x="101" y="354"/>
                </a:cubicBezTo>
                <a:cubicBezTo>
                  <a:pt x="104" y="357"/>
                  <a:pt x="109" y="357"/>
                  <a:pt x="112" y="354"/>
                </a:cubicBezTo>
                <a:cubicBezTo>
                  <a:pt x="116" y="351"/>
                  <a:pt x="116" y="346"/>
                  <a:pt x="113" y="343"/>
                </a:cubicBezTo>
                <a:cubicBezTo>
                  <a:pt x="91" y="321"/>
                  <a:pt x="91" y="292"/>
                  <a:pt x="112" y="262"/>
                </a:cubicBezTo>
                <a:cubicBezTo>
                  <a:pt x="138" y="223"/>
                  <a:pt x="145" y="192"/>
                  <a:pt x="147" y="174"/>
                </a:cubicBezTo>
                <a:cubicBezTo>
                  <a:pt x="179" y="199"/>
                  <a:pt x="198" y="229"/>
                  <a:pt x="204" y="263"/>
                </a:cubicBezTo>
                <a:cubicBezTo>
                  <a:pt x="214" y="326"/>
                  <a:pt x="171" y="383"/>
                  <a:pt x="171" y="384"/>
                </a:cubicBezTo>
                <a:cubicBezTo>
                  <a:pt x="169" y="387"/>
                  <a:pt x="169" y="391"/>
                  <a:pt x="172" y="394"/>
                </a:cubicBezTo>
                <a:cubicBezTo>
                  <a:pt x="173" y="396"/>
                  <a:pt x="175" y="396"/>
                  <a:pt x="177" y="396"/>
                </a:cubicBezTo>
                <a:cubicBezTo>
                  <a:pt x="179" y="396"/>
                  <a:pt x="181" y="396"/>
                  <a:pt x="182" y="395"/>
                </a:cubicBezTo>
                <a:cubicBezTo>
                  <a:pt x="234" y="359"/>
                  <a:pt x="264" y="316"/>
                  <a:pt x="271" y="268"/>
                </a:cubicBezTo>
                <a:cubicBezTo>
                  <a:pt x="280" y="201"/>
                  <a:pt x="243" y="137"/>
                  <a:pt x="209" y="96"/>
                </a:cubicBezTo>
                <a:close/>
              </a:path>
            </a:pathLst>
          </a:custGeom>
          <a:solidFill>
            <a:srgbClr val="B1B3B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99" name="Freeform 3"/>
          <p:cNvSpPr>
            <a:spLocks noChangeAspect="1" noEditPoints="1"/>
          </p:cNvSpPr>
          <p:nvPr/>
        </p:nvSpPr>
        <p:spPr bwMode="auto">
          <a:xfrm>
            <a:off x="9483908" y="4600474"/>
            <a:ext cx="234409" cy="285627"/>
          </a:xfrm>
          <a:custGeom>
            <a:avLst/>
            <a:gdLst>
              <a:gd name="T0" fmla="*/ 2147483647 w 316"/>
              <a:gd name="T1" fmla="*/ 2147483647 h 385"/>
              <a:gd name="T2" fmla="*/ 2147483647 w 316"/>
              <a:gd name="T3" fmla="*/ 2147483647 h 385"/>
              <a:gd name="T4" fmla="*/ 2147483647 w 316"/>
              <a:gd name="T5" fmla="*/ 2147483647 h 385"/>
              <a:gd name="T6" fmla="*/ 2147483647 w 316"/>
              <a:gd name="T7" fmla="*/ 2147483647 h 385"/>
              <a:gd name="T8" fmla="*/ 2147483647 w 316"/>
              <a:gd name="T9" fmla="*/ 2147483647 h 385"/>
              <a:gd name="T10" fmla="*/ 2147483647 w 316"/>
              <a:gd name="T11" fmla="*/ 2147483647 h 385"/>
              <a:gd name="T12" fmla="*/ 2147483647 w 316"/>
              <a:gd name="T13" fmla="*/ 2147483647 h 385"/>
              <a:gd name="T14" fmla="*/ 2147483647 w 316"/>
              <a:gd name="T15" fmla="*/ 2147483647 h 385"/>
              <a:gd name="T16" fmla="*/ 2147483647 w 316"/>
              <a:gd name="T17" fmla="*/ 2147483647 h 385"/>
              <a:gd name="T18" fmla="*/ 2147483647 w 316"/>
              <a:gd name="T19" fmla="*/ 2147483647 h 385"/>
              <a:gd name="T20" fmla="*/ 2147483647 w 316"/>
              <a:gd name="T21" fmla="*/ 2147483647 h 385"/>
              <a:gd name="T22" fmla="*/ 2147483647 w 316"/>
              <a:gd name="T23" fmla="*/ 2147483647 h 385"/>
              <a:gd name="T24" fmla="*/ 2147483647 w 316"/>
              <a:gd name="T25" fmla="*/ 2147483647 h 385"/>
              <a:gd name="T26" fmla="*/ 2147483647 w 316"/>
              <a:gd name="T27" fmla="*/ 0 h 385"/>
              <a:gd name="T28" fmla="*/ 0 w 316"/>
              <a:gd name="T29" fmla="*/ 2147483647 h 385"/>
              <a:gd name="T30" fmla="*/ 2147483647 w 316"/>
              <a:gd name="T31" fmla="*/ 2147483647 h 385"/>
              <a:gd name="T32" fmla="*/ 2147483647 w 316"/>
              <a:gd name="T33" fmla="*/ 2147483647 h 385"/>
              <a:gd name="T34" fmla="*/ 2147483647 w 316"/>
              <a:gd name="T35" fmla="*/ 2147483647 h 385"/>
              <a:gd name="T36" fmla="*/ 2147483647 w 316"/>
              <a:gd name="T37" fmla="*/ 2147483647 h 385"/>
              <a:gd name="T38" fmla="*/ 2147483647 w 316"/>
              <a:gd name="T39" fmla="*/ 2147483647 h 385"/>
              <a:gd name="T40" fmla="*/ 2147483647 w 316"/>
              <a:gd name="T41" fmla="*/ 2147483647 h 385"/>
              <a:gd name="T42" fmla="*/ 2147483647 w 316"/>
              <a:gd name="T43" fmla="*/ 2147483647 h 385"/>
              <a:gd name="T44" fmla="*/ 2147483647 w 316"/>
              <a:gd name="T45" fmla="*/ 2147483647 h 385"/>
              <a:gd name="T46" fmla="*/ 2147483647 w 316"/>
              <a:gd name="T47" fmla="*/ 2147483647 h 385"/>
              <a:gd name="T48" fmla="*/ 2147483647 w 316"/>
              <a:gd name="T49" fmla="*/ 2147483647 h 385"/>
              <a:gd name="T50" fmla="*/ 2147483647 w 316"/>
              <a:gd name="T51" fmla="*/ 2147483647 h 385"/>
              <a:gd name="T52" fmla="*/ 2147483647 w 316"/>
              <a:gd name="T53" fmla="*/ 2147483647 h 385"/>
              <a:gd name="T54" fmla="*/ 2147483647 w 316"/>
              <a:gd name="T55" fmla="*/ 2147483647 h 385"/>
              <a:gd name="T56" fmla="*/ 2147483647 w 316"/>
              <a:gd name="T57" fmla="*/ 2147483647 h 385"/>
              <a:gd name="T58" fmla="*/ 2147483647 w 316"/>
              <a:gd name="T59" fmla="*/ 2147483647 h 385"/>
              <a:gd name="T60" fmla="*/ 2147483647 w 316"/>
              <a:gd name="T61" fmla="*/ 2147483647 h 385"/>
              <a:gd name="T62" fmla="*/ 2147483647 w 316"/>
              <a:gd name="T63" fmla="*/ 2147483647 h 385"/>
              <a:gd name="T64" fmla="*/ 2147483647 w 316"/>
              <a:gd name="T65" fmla="*/ 2147483647 h 385"/>
              <a:gd name="T66" fmla="*/ 2147483647 w 316"/>
              <a:gd name="T67" fmla="*/ 2147483647 h 385"/>
              <a:gd name="T68" fmla="*/ 2147483647 w 316"/>
              <a:gd name="T69" fmla="*/ 2147483647 h 385"/>
              <a:gd name="T70" fmla="*/ 2147483647 w 316"/>
              <a:gd name="T71" fmla="*/ 2147483647 h 385"/>
              <a:gd name="T72" fmla="*/ 2147483647 w 316"/>
              <a:gd name="T73" fmla="*/ 2147483647 h 385"/>
              <a:gd name="T74" fmla="*/ 2147483647 w 316"/>
              <a:gd name="T75" fmla="*/ 2147483647 h 385"/>
              <a:gd name="T76" fmla="*/ 2147483647 w 316"/>
              <a:gd name="T77" fmla="*/ 2147483647 h 385"/>
              <a:gd name="T78" fmla="*/ 2147483647 w 316"/>
              <a:gd name="T79" fmla="*/ 2147483647 h 385"/>
              <a:gd name="T80" fmla="*/ 2147483647 w 316"/>
              <a:gd name="T81" fmla="*/ 2147483647 h 385"/>
              <a:gd name="T82" fmla="*/ 2147483647 w 316"/>
              <a:gd name="T83" fmla="*/ 2147483647 h 385"/>
              <a:gd name="T84" fmla="*/ 2147483647 w 316"/>
              <a:gd name="T85" fmla="*/ 2147483647 h 385"/>
              <a:gd name="T86" fmla="*/ 2147483647 w 316"/>
              <a:gd name="T87" fmla="*/ 2147483647 h 385"/>
              <a:gd name="T88" fmla="*/ 2147483647 w 316"/>
              <a:gd name="T89" fmla="*/ 2147483647 h 385"/>
              <a:gd name="T90" fmla="*/ 2147483647 w 316"/>
              <a:gd name="T91" fmla="*/ 2147483647 h 385"/>
              <a:gd name="T92" fmla="*/ 2147483647 w 316"/>
              <a:gd name="T93" fmla="*/ 2147483647 h 385"/>
              <a:gd name="T94" fmla="*/ 2147483647 w 316"/>
              <a:gd name="T95" fmla="*/ 2147483647 h 38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16" h="385">
                <a:moveTo>
                  <a:pt x="188" y="258"/>
                </a:moveTo>
                <a:cubicBezTo>
                  <a:pt x="208" y="258"/>
                  <a:pt x="208" y="258"/>
                  <a:pt x="208" y="258"/>
                </a:cubicBezTo>
                <a:cubicBezTo>
                  <a:pt x="217" y="258"/>
                  <a:pt x="225" y="250"/>
                  <a:pt x="225" y="241"/>
                </a:cubicBezTo>
                <a:cubicBezTo>
                  <a:pt x="225" y="222"/>
                  <a:pt x="225" y="222"/>
                  <a:pt x="225" y="222"/>
                </a:cubicBezTo>
                <a:cubicBezTo>
                  <a:pt x="225" y="212"/>
                  <a:pt x="217" y="205"/>
                  <a:pt x="208" y="205"/>
                </a:cubicBezTo>
                <a:cubicBezTo>
                  <a:pt x="188" y="205"/>
                  <a:pt x="188" y="205"/>
                  <a:pt x="188" y="205"/>
                </a:cubicBezTo>
                <a:cubicBezTo>
                  <a:pt x="179" y="205"/>
                  <a:pt x="171" y="212"/>
                  <a:pt x="171" y="222"/>
                </a:cubicBezTo>
                <a:cubicBezTo>
                  <a:pt x="171" y="241"/>
                  <a:pt x="171" y="241"/>
                  <a:pt x="171" y="241"/>
                </a:cubicBezTo>
                <a:cubicBezTo>
                  <a:pt x="171" y="250"/>
                  <a:pt x="179" y="258"/>
                  <a:pt x="188" y="258"/>
                </a:cubicBezTo>
                <a:moveTo>
                  <a:pt x="308" y="145"/>
                </a:moveTo>
                <a:cubicBezTo>
                  <a:pt x="313" y="145"/>
                  <a:pt x="316" y="141"/>
                  <a:pt x="316" y="137"/>
                </a:cubicBezTo>
                <a:cubicBezTo>
                  <a:pt x="316" y="124"/>
                  <a:pt x="316" y="124"/>
                  <a:pt x="316" y="124"/>
                </a:cubicBezTo>
                <a:cubicBezTo>
                  <a:pt x="316" y="101"/>
                  <a:pt x="296" y="90"/>
                  <a:pt x="285" y="87"/>
                </a:cubicBezTo>
                <a:cubicBezTo>
                  <a:pt x="283" y="87"/>
                  <a:pt x="283" y="87"/>
                  <a:pt x="283" y="87"/>
                </a:cubicBezTo>
                <a:cubicBezTo>
                  <a:pt x="286" y="72"/>
                  <a:pt x="286" y="72"/>
                  <a:pt x="286" y="72"/>
                </a:cubicBezTo>
                <a:cubicBezTo>
                  <a:pt x="288" y="72"/>
                  <a:pt x="289" y="72"/>
                  <a:pt x="290" y="72"/>
                </a:cubicBezTo>
                <a:cubicBezTo>
                  <a:pt x="299" y="72"/>
                  <a:pt x="306" y="66"/>
                  <a:pt x="308" y="58"/>
                </a:cubicBezTo>
                <a:cubicBezTo>
                  <a:pt x="311" y="42"/>
                  <a:pt x="311" y="42"/>
                  <a:pt x="311" y="42"/>
                </a:cubicBezTo>
                <a:cubicBezTo>
                  <a:pt x="313" y="32"/>
                  <a:pt x="307" y="22"/>
                  <a:pt x="297" y="20"/>
                </a:cubicBezTo>
                <a:cubicBezTo>
                  <a:pt x="241" y="8"/>
                  <a:pt x="241" y="8"/>
                  <a:pt x="241" y="8"/>
                </a:cubicBezTo>
                <a:cubicBezTo>
                  <a:pt x="240" y="8"/>
                  <a:pt x="239" y="7"/>
                  <a:pt x="237" y="7"/>
                </a:cubicBezTo>
                <a:cubicBezTo>
                  <a:pt x="229" y="7"/>
                  <a:pt x="221" y="13"/>
                  <a:pt x="220" y="22"/>
                </a:cubicBezTo>
                <a:cubicBezTo>
                  <a:pt x="217" y="38"/>
                  <a:pt x="217" y="38"/>
                  <a:pt x="217" y="38"/>
                </a:cubicBezTo>
                <a:cubicBezTo>
                  <a:pt x="215" y="47"/>
                  <a:pt x="220" y="56"/>
                  <a:pt x="229" y="59"/>
                </a:cubicBezTo>
                <a:cubicBezTo>
                  <a:pt x="226" y="74"/>
                  <a:pt x="226" y="74"/>
                  <a:pt x="226" y="74"/>
                </a:cubicBezTo>
                <a:cubicBezTo>
                  <a:pt x="207" y="70"/>
                  <a:pt x="207" y="70"/>
                  <a:pt x="207" y="70"/>
                </a:cubicBezTo>
                <a:cubicBezTo>
                  <a:pt x="178" y="24"/>
                  <a:pt x="178" y="24"/>
                  <a:pt x="178" y="24"/>
                </a:cubicBezTo>
                <a:cubicBezTo>
                  <a:pt x="174" y="17"/>
                  <a:pt x="161" y="0"/>
                  <a:pt x="136" y="0"/>
                </a:cubicBezTo>
                <a:cubicBezTo>
                  <a:pt x="60" y="0"/>
                  <a:pt x="60" y="0"/>
                  <a:pt x="60" y="0"/>
                </a:cubicBezTo>
                <a:cubicBezTo>
                  <a:pt x="27" y="0"/>
                  <a:pt x="0" y="27"/>
                  <a:pt x="0" y="60"/>
                </a:cubicBezTo>
                <a:cubicBezTo>
                  <a:pt x="0" y="326"/>
                  <a:pt x="0" y="326"/>
                  <a:pt x="0" y="326"/>
                </a:cubicBezTo>
                <a:cubicBezTo>
                  <a:pt x="0" y="359"/>
                  <a:pt x="27" y="385"/>
                  <a:pt x="60" y="385"/>
                </a:cubicBezTo>
                <a:cubicBezTo>
                  <a:pt x="257" y="385"/>
                  <a:pt x="257" y="385"/>
                  <a:pt x="257" y="385"/>
                </a:cubicBezTo>
                <a:cubicBezTo>
                  <a:pt x="290" y="385"/>
                  <a:pt x="316" y="359"/>
                  <a:pt x="316" y="326"/>
                </a:cubicBezTo>
                <a:cubicBezTo>
                  <a:pt x="316" y="168"/>
                  <a:pt x="316" y="168"/>
                  <a:pt x="316" y="168"/>
                </a:cubicBezTo>
                <a:cubicBezTo>
                  <a:pt x="316" y="164"/>
                  <a:pt x="313" y="160"/>
                  <a:pt x="308" y="160"/>
                </a:cubicBezTo>
                <a:cubicBezTo>
                  <a:pt x="304" y="160"/>
                  <a:pt x="300" y="164"/>
                  <a:pt x="300" y="168"/>
                </a:cubicBezTo>
                <a:cubicBezTo>
                  <a:pt x="300" y="326"/>
                  <a:pt x="300" y="326"/>
                  <a:pt x="300" y="326"/>
                </a:cubicBezTo>
                <a:cubicBezTo>
                  <a:pt x="300" y="350"/>
                  <a:pt x="281" y="369"/>
                  <a:pt x="257" y="369"/>
                </a:cubicBezTo>
                <a:cubicBezTo>
                  <a:pt x="60" y="369"/>
                  <a:pt x="60" y="369"/>
                  <a:pt x="60" y="369"/>
                </a:cubicBezTo>
                <a:cubicBezTo>
                  <a:pt x="36" y="369"/>
                  <a:pt x="16" y="350"/>
                  <a:pt x="16" y="326"/>
                </a:cubicBezTo>
                <a:cubicBezTo>
                  <a:pt x="16" y="60"/>
                  <a:pt x="16" y="60"/>
                  <a:pt x="16" y="60"/>
                </a:cubicBezTo>
                <a:cubicBezTo>
                  <a:pt x="16" y="36"/>
                  <a:pt x="36" y="16"/>
                  <a:pt x="60" y="16"/>
                </a:cubicBezTo>
                <a:cubicBezTo>
                  <a:pt x="136" y="16"/>
                  <a:pt x="136" y="16"/>
                  <a:pt x="136" y="16"/>
                </a:cubicBezTo>
                <a:cubicBezTo>
                  <a:pt x="152" y="16"/>
                  <a:pt x="161" y="26"/>
                  <a:pt x="164" y="32"/>
                </a:cubicBezTo>
                <a:cubicBezTo>
                  <a:pt x="195" y="81"/>
                  <a:pt x="195" y="81"/>
                  <a:pt x="195" y="81"/>
                </a:cubicBezTo>
                <a:cubicBezTo>
                  <a:pt x="196" y="83"/>
                  <a:pt x="198" y="84"/>
                  <a:pt x="200" y="85"/>
                </a:cubicBezTo>
                <a:cubicBezTo>
                  <a:pt x="282" y="103"/>
                  <a:pt x="282" y="103"/>
                  <a:pt x="282" y="103"/>
                </a:cubicBezTo>
                <a:cubicBezTo>
                  <a:pt x="282" y="103"/>
                  <a:pt x="300" y="108"/>
                  <a:pt x="300" y="124"/>
                </a:cubicBezTo>
                <a:cubicBezTo>
                  <a:pt x="300" y="137"/>
                  <a:pt x="300" y="137"/>
                  <a:pt x="300" y="137"/>
                </a:cubicBezTo>
                <a:cubicBezTo>
                  <a:pt x="300" y="141"/>
                  <a:pt x="304" y="145"/>
                  <a:pt x="308" y="145"/>
                </a:cubicBezTo>
                <a:moveTo>
                  <a:pt x="267" y="83"/>
                </a:moveTo>
                <a:cubicBezTo>
                  <a:pt x="241" y="77"/>
                  <a:pt x="241" y="77"/>
                  <a:pt x="241" y="77"/>
                </a:cubicBezTo>
                <a:cubicBezTo>
                  <a:pt x="245" y="62"/>
                  <a:pt x="245" y="62"/>
                  <a:pt x="245" y="62"/>
                </a:cubicBezTo>
                <a:cubicBezTo>
                  <a:pt x="271" y="68"/>
                  <a:pt x="271" y="68"/>
                  <a:pt x="271" y="68"/>
                </a:cubicBezTo>
                <a:lnTo>
                  <a:pt x="267" y="83"/>
                </a:lnTo>
                <a:close/>
                <a:moveTo>
                  <a:pt x="234" y="44"/>
                </a:moveTo>
                <a:cubicBezTo>
                  <a:pt x="233" y="43"/>
                  <a:pt x="232" y="42"/>
                  <a:pt x="232" y="41"/>
                </a:cubicBezTo>
                <a:cubicBezTo>
                  <a:pt x="235" y="25"/>
                  <a:pt x="235" y="25"/>
                  <a:pt x="235" y="25"/>
                </a:cubicBezTo>
                <a:cubicBezTo>
                  <a:pt x="235" y="24"/>
                  <a:pt x="236" y="23"/>
                  <a:pt x="237" y="23"/>
                </a:cubicBezTo>
                <a:cubicBezTo>
                  <a:pt x="238" y="23"/>
                  <a:pt x="238" y="23"/>
                  <a:pt x="238" y="23"/>
                </a:cubicBezTo>
                <a:cubicBezTo>
                  <a:pt x="294" y="36"/>
                  <a:pt x="294" y="36"/>
                  <a:pt x="294" y="36"/>
                </a:cubicBezTo>
                <a:cubicBezTo>
                  <a:pt x="295" y="36"/>
                  <a:pt x="296" y="37"/>
                  <a:pt x="295" y="39"/>
                </a:cubicBezTo>
                <a:cubicBezTo>
                  <a:pt x="292" y="54"/>
                  <a:pt x="292" y="54"/>
                  <a:pt x="292" y="54"/>
                </a:cubicBezTo>
                <a:cubicBezTo>
                  <a:pt x="292" y="56"/>
                  <a:pt x="291" y="56"/>
                  <a:pt x="290" y="56"/>
                </a:cubicBezTo>
                <a:lnTo>
                  <a:pt x="234" y="44"/>
                </a:lnTo>
                <a:close/>
                <a:moveTo>
                  <a:pt x="133" y="52"/>
                </a:moveTo>
                <a:cubicBezTo>
                  <a:pt x="138" y="52"/>
                  <a:pt x="141" y="49"/>
                  <a:pt x="141" y="44"/>
                </a:cubicBezTo>
                <a:cubicBezTo>
                  <a:pt x="141" y="40"/>
                  <a:pt x="138" y="36"/>
                  <a:pt x="133" y="36"/>
                </a:cubicBezTo>
                <a:cubicBezTo>
                  <a:pt x="59" y="36"/>
                  <a:pt x="59" y="36"/>
                  <a:pt x="59" y="36"/>
                </a:cubicBezTo>
                <a:cubicBezTo>
                  <a:pt x="55" y="36"/>
                  <a:pt x="51" y="40"/>
                  <a:pt x="51" y="44"/>
                </a:cubicBezTo>
                <a:cubicBezTo>
                  <a:pt x="51" y="49"/>
                  <a:pt x="55" y="52"/>
                  <a:pt x="59" y="52"/>
                </a:cubicBezTo>
                <a:lnTo>
                  <a:pt x="133" y="52"/>
                </a:lnTo>
                <a:close/>
                <a:moveTo>
                  <a:pt x="50" y="305"/>
                </a:moveTo>
                <a:cubicBezTo>
                  <a:pt x="50" y="324"/>
                  <a:pt x="65" y="339"/>
                  <a:pt x="84" y="339"/>
                </a:cubicBezTo>
                <a:cubicBezTo>
                  <a:pt x="233" y="339"/>
                  <a:pt x="233" y="339"/>
                  <a:pt x="233" y="339"/>
                </a:cubicBezTo>
                <a:cubicBezTo>
                  <a:pt x="251" y="339"/>
                  <a:pt x="267" y="324"/>
                  <a:pt x="267" y="305"/>
                </a:cubicBezTo>
                <a:cubicBezTo>
                  <a:pt x="267" y="157"/>
                  <a:pt x="267" y="157"/>
                  <a:pt x="267" y="157"/>
                </a:cubicBezTo>
                <a:cubicBezTo>
                  <a:pt x="267" y="138"/>
                  <a:pt x="251" y="123"/>
                  <a:pt x="233" y="123"/>
                </a:cubicBezTo>
                <a:cubicBezTo>
                  <a:pt x="84" y="123"/>
                  <a:pt x="84" y="123"/>
                  <a:pt x="84" y="123"/>
                </a:cubicBezTo>
                <a:cubicBezTo>
                  <a:pt x="65" y="123"/>
                  <a:pt x="50" y="138"/>
                  <a:pt x="50" y="157"/>
                </a:cubicBezTo>
                <a:lnTo>
                  <a:pt x="50" y="305"/>
                </a:lnTo>
                <a:close/>
                <a:moveTo>
                  <a:pt x="158" y="139"/>
                </a:moveTo>
                <a:cubicBezTo>
                  <a:pt x="209" y="139"/>
                  <a:pt x="250" y="180"/>
                  <a:pt x="250" y="231"/>
                </a:cubicBezTo>
                <a:cubicBezTo>
                  <a:pt x="250" y="282"/>
                  <a:pt x="209" y="323"/>
                  <a:pt x="158" y="323"/>
                </a:cubicBezTo>
                <a:cubicBezTo>
                  <a:pt x="107" y="323"/>
                  <a:pt x="66" y="282"/>
                  <a:pt x="66" y="231"/>
                </a:cubicBezTo>
                <a:cubicBezTo>
                  <a:pt x="66" y="180"/>
                  <a:pt x="107" y="139"/>
                  <a:pt x="158" y="139"/>
                </a:cubicBezTo>
                <a:moveTo>
                  <a:pt x="109" y="258"/>
                </a:moveTo>
                <a:cubicBezTo>
                  <a:pt x="128" y="258"/>
                  <a:pt x="128" y="258"/>
                  <a:pt x="128" y="258"/>
                </a:cubicBezTo>
                <a:cubicBezTo>
                  <a:pt x="138" y="258"/>
                  <a:pt x="145" y="250"/>
                  <a:pt x="145" y="241"/>
                </a:cubicBezTo>
                <a:cubicBezTo>
                  <a:pt x="145" y="222"/>
                  <a:pt x="145" y="222"/>
                  <a:pt x="145" y="222"/>
                </a:cubicBezTo>
                <a:cubicBezTo>
                  <a:pt x="145" y="212"/>
                  <a:pt x="138" y="205"/>
                  <a:pt x="128" y="205"/>
                </a:cubicBezTo>
                <a:cubicBezTo>
                  <a:pt x="109" y="205"/>
                  <a:pt x="109" y="205"/>
                  <a:pt x="109" y="205"/>
                </a:cubicBezTo>
                <a:cubicBezTo>
                  <a:pt x="99" y="205"/>
                  <a:pt x="92" y="212"/>
                  <a:pt x="92" y="222"/>
                </a:cubicBezTo>
                <a:cubicBezTo>
                  <a:pt x="92" y="241"/>
                  <a:pt x="92" y="241"/>
                  <a:pt x="92" y="241"/>
                </a:cubicBezTo>
                <a:cubicBezTo>
                  <a:pt x="92" y="250"/>
                  <a:pt x="99" y="258"/>
                  <a:pt x="109" y="258"/>
                </a:cubicBezTo>
              </a:path>
            </a:pathLst>
          </a:custGeom>
          <a:solidFill>
            <a:srgbClr val="B1B3B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86" name="Freeform 6"/>
          <p:cNvSpPr>
            <a:spLocks noChangeAspect="1" noEditPoints="1"/>
          </p:cNvSpPr>
          <p:nvPr/>
        </p:nvSpPr>
        <p:spPr bwMode="auto">
          <a:xfrm>
            <a:off x="3825622" y="4650521"/>
            <a:ext cx="546747" cy="422737"/>
          </a:xfrm>
          <a:custGeom>
            <a:avLst/>
            <a:gdLst>
              <a:gd name="T0" fmla="*/ 2147483647 w 420"/>
              <a:gd name="T1" fmla="*/ 2147483647 h 325"/>
              <a:gd name="T2" fmla="*/ 2147483647 w 420"/>
              <a:gd name="T3" fmla="*/ 2147483647 h 325"/>
              <a:gd name="T4" fmla="*/ 2147483647 w 420"/>
              <a:gd name="T5" fmla="*/ 2147483647 h 325"/>
              <a:gd name="T6" fmla="*/ 2147483647 w 420"/>
              <a:gd name="T7" fmla="*/ 2147483647 h 325"/>
              <a:gd name="T8" fmla="*/ 2147483647 w 420"/>
              <a:gd name="T9" fmla="*/ 2147483647 h 325"/>
              <a:gd name="T10" fmla="*/ 2147483647 w 420"/>
              <a:gd name="T11" fmla="*/ 2147483647 h 325"/>
              <a:gd name="T12" fmla="*/ 2147483647 w 420"/>
              <a:gd name="T13" fmla="*/ 2147483647 h 325"/>
              <a:gd name="T14" fmla="*/ 2147483647 w 420"/>
              <a:gd name="T15" fmla="*/ 2147483647 h 325"/>
              <a:gd name="T16" fmla="*/ 2147483647 w 420"/>
              <a:gd name="T17" fmla="*/ 2147483647 h 325"/>
              <a:gd name="T18" fmla="*/ 2147483647 w 420"/>
              <a:gd name="T19" fmla="*/ 2147483647 h 325"/>
              <a:gd name="T20" fmla="*/ 2147483647 w 420"/>
              <a:gd name="T21" fmla="*/ 2147483647 h 325"/>
              <a:gd name="T22" fmla="*/ 2147483647 w 420"/>
              <a:gd name="T23" fmla="*/ 2147483647 h 325"/>
              <a:gd name="T24" fmla="*/ 2147483647 w 420"/>
              <a:gd name="T25" fmla="*/ 2147483647 h 325"/>
              <a:gd name="T26" fmla="*/ 2147483647 w 420"/>
              <a:gd name="T27" fmla="*/ 2147483647 h 325"/>
              <a:gd name="T28" fmla="*/ 2147483647 w 420"/>
              <a:gd name="T29" fmla="*/ 2147483647 h 325"/>
              <a:gd name="T30" fmla="*/ 2147483647 w 420"/>
              <a:gd name="T31" fmla="*/ 2147483647 h 325"/>
              <a:gd name="T32" fmla="*/ 2147483647 w 420"/>
              <a:gd name="T33" fmla="*/ 2147483647 h 325"/>
              <a:gd name="T34" fmla="*/ 2147483647 w 420"/>
              <a:gd name="T35" fmla="*/ 2147483647 h 325"/>
              <a:gd name="T36" fmla="*/ 2147483647 w 420"/>
              <a:gd name="T37" fmla="*/ 0 h 325"/>
              <a:gd name="T38" fmla="*/ 0 w 420"/>
              <a:gd name="T39" fmla="*/ 2147483647 h 325"/>
              <a:gd name="T40" fmla="*/ 2147483647 w 420"/>
              <a:gd name="T41" fmla="*/ 2147483647 h 325"/>
              <a:gd name="T42" fmla="*/ 2147483647 w 420"/>
              <a:gd name="T43" fmla="*/ 2147483647 h 325"/>
              <a:gd name="T44" fmla="*/ 2147483647 w 420"/>
              <a:gd name="T45" fmla="*/ 2147483647 h 325"/>
              <a:gd name="T46" fmla="*/ 2147483647 w 420"/>
              <a:gd name="T47" fmla="*/ 2147483647 h 325"/>
              <a:gd name="T48" fmla="*/ 2147483647 w 420"/>
              <a:gd name="T49" fmla="*/ 2147483647 h 325"/>
              <a:gd name="T50" fmla="*/ 2147483647 w 420"/>
              <a:gd name="T51" fmla="*/ 2147483647 h 325"/>
              <a:gd name="T52" fmla="*/ 2147483647 w 420"/>
              <a:gd name="T53" fmla="*/ 2147483647 h 325"/>
              <a:gd name="T54" fmla="*/ 2147483647 w 420"/>
              <a:gd name="T55" fmla="*/ 2147483647 h 325"/>
              <a:gd name="T56" fmla="*/ 2147483647 w 420"/>
              <a:gd name="T57" fmla="*/ 2147483647 h 325"/>
              <a:gd name="T58" fmla="*/ 2147483647 w 420"/>
              <a:gd name="T59" fmla="*/ 2147483647 h 325"/>
              <a:gd name="T60" fmla="*/ 2147483647 w 420"/>
              <a:gd name="T61" fmla="*/ 2147483647 h 325"/>
              <a:gd name="T62" fmla="*/ 2147483647 w 420"/>
              <a:gd name="T63" fmla="*/ 2147483647 h 325"/>
              <a:gd name="T64" fmla="*/ 2147483647 w 420"/>
              <a:gd name="T65" fmla="*/ 2147483647 h 325"/>
              <a:gd name="T66" fmla="*/ 2147483647 w 420"/>
              <a:gd name="T67" fmla="*/ 2147483647 h 325"/>
              <a:gd name="T68" fmla="*/ 2147483647 w 420"/>
              <a:gd name="T69" fmla="*/ 2147483647 h 325"/>
              <a:gd name="T70" fmla="*/ 2147483647 w 420"/>
              <a:gd name="T71" fmla="*/ 2147483647 h 325"/>
              <a:gd name="T72" fmla="*/ 2147483647 w 420"/>
              <a:gd name="T73" fmla="*/ 2147483647 h 325"/>
              <a:gd name="T74" fmla="*/ 2147483647 w 420"/>
              <a:gd name="T75" fmla="*/ 2147483647 h 325"/>
              <a:gd name="T76" fmla="*/ 2147483647 w 420"/>
              <a:gd name="T77" fmla="*/ 2147483647 h 325"/>
              <a:gd name="T78" fmla="*/ 2147483647 w 420"/>
              <a:gd name="T79" fmla="*/ 2147483647 h 325"/>
              <a:gd name="T80" fmla="*/ 2147483647 w 420"/>
              <a:gd name="T81" fmla="*/ 2147483647 h 325"/>
              <a:gd name="T82" fmla="*/ 2147483647 w 420"/>
              <a:gd name="T83" fmla="*/ 2147483647 h 32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420" h="325">
                <a:moveTo>
                  <a:pt x="208" y="142"/>
                </a:moveTo>
                <a:cubicBezTo>
                  <a:pt x="206" y="143"/>
                  <a:pt x="204" y="146"/>
                  <a:pt x="204" y="149"/>
                </a:cubicBezTo>
                <a:cubicBezTo>
                  <a:pt x="204" y="174"/>
                  <a:pt x="204" y="174"/>
                  <a:pt x="204" y="174"/>
                </a:cubicBezTo>
                <a:cubicBezTo>
                  <a:pt x="148" y="178"/>
                  <a:pt x="104" y="225"/>
                  <a:pt x="104" y="281"/>
                </a:cubicBezTo>
                <a:cubicBezTo>
                  <a:pt x="104" y="286"/>
                  <a:pt x="107" y="289"/>
                  <a:pt x="112" y="289"/>
                </a:cubicBezTo>
                <a:cubicBezTo>
                  <a:pt x="148" y="289"/>
                  <a:pt x="148" y="289"/>
                  <a:pt x="148" y="289"/>
                </a:cubicBezTo>
                <a:cubicBezTo>
                  <a:pt x="152" y="289"/>
                  <a:pt x="156" y="286"/>
                  <a:pt x="156" y="281"/>
                </a:cubicBezTo>
                <a:cubicBezTo>
                  <a:pt x="156" y="253"/>
                  <a:pt x="177" y="230"/>
                  <a:pt x="204" y="226"/>
                </a:cubicBezTo>
                <a:cubicBezTo>
                  <a:pt x="204" y="247"/>
                  <a:pt x="204" y="247"/>
                  <a:pt x="204" y="247"/>
                </a:cubicBezTo>
                <a:cubicBezTo>
                  <a:pt x="204" y="250"/>
                  <a:pt x="206" y="253"/>
                  <a:pt x="208" y="254"/>
                </a:cubicBezTo>
                <a:cubicBezTo>
                  <a:pt x="211" y="256"/>
                  <a:pt x="214" y="255"/>
                  <a:pt x="217" y="254"/>
                </a:cubicBezTo>
                <a:cubicBezTo>
                  <a:pt x="281" y="205"/>
                  <a:pt x="281" y="205"/>
                  <a:pt x="281" y="205"/>
                </a:cubicBezTo>
                <a:cubicBezTo>
                  <a:pt x="283" y="203"/>
                  <a:pt x="284" y="201"/>
                  <a:pt x="284" y="198"/>
                </a:cubicBezTo>
                <a:cubicBezTo>
                  <a:pt x="284" y="196"/>
                  <a:pt x="283" y="193"/>
                  <a:pt x="281" y="192"/>
                </a:cubicBezTo>
                <a:cubicBezTo>
                  <a:pt x="217" y="143"/>
                  <a:pt x="217" y="143"/>
                  <a:pt x="217" y="143"/>
                </a:cubicBezTo>
                <a:cubicBezTo>
                  <a:pt x="214" y="141"/>
                  <a:pt x="211" y="141"/>
                  <a:pt x="208" y="142"/>
                </a:cubicBezTo>
                <a:close/>
                <a:moveTo>
                  <a:pt x="220" y="181"/>
                </a:moveTo>
                <a:cubicBezTo>
                  <a:pt x="220" y="165"/>
                  <a:pt x="220" y="165"/>
                  <a:pt x="220" y="165"/>
                </a:cubicBezTo>
                <a:cubicBezTo>
                  <a:pt x="263" y="198"/>
                  <a:pt x="263" y="198"/>
                  <a:pt x="263" y="198"/>
                </a:cubicBezTo>
                <a:cubicBezTo>
                  <a:pt x="220" y="231"/>
                  <a:pt x="220" y="231"/>
                  <a:pt x="220" y="231"/>
                </a:cubicBezTo>
                <a:cubicBezTo>
                  <a:pt x="220" y="217"/>
                  <a:pt x="220" y="217"/>
                  <a:pt x="220" y="217"/>
                </a:cubicBezTo>
                <a:cubicBezTo>
                  <a:pt x="220" y="213"/>
                  <a:pt x="216" y="209"/>
                  <a:pt x="212" y="209"/>
                </a:cubicBezTo>
                <a:cubicBezTo>
                  <a:pt x="175" y="209"/>
                  <a:pt x="144" y="237"/>
                  <a:pt x="140" y="273"/>
                </a:cubicBezTo>
                <a:cubicBezTo>
                  <a:pt x="120" y="273"/>
                  <a:pt x="120" y="273"/>
                  <a:pt x="120" y="273"/>
                </a:cubicBezTo>
                <a:cubicBezTo>
                  <a:pt x="124" y="226"/>
                  <a:pt x="164" y="189"/>
                  <a:pt x="212" y="189"/>
                </a:cubicBezTo>
                <a:cubicBezTo>
                  <a:pt x="216" y="189"/>
                  <a:pt x="220" y="186"/>
                  <a:pt x="220" y="181"/>
                </a:cubicBezTo>
                <a:close/>
                <a:moveTo>
                  <a:pt x="412" y="60"/>
                </a:moveTo>
                <a:cubicBezTo>
                  <a:pt x="407" y="60"/>
                  <a:pt x="404" y="64"/>
                  <a:pt x="404" y="68"/>
                </a:cubicBezTo>
                <a:cubicBezTo>
                  <a:pt x="404" y="68"/>
                  <a:pt x="404" y="68"/>
                  <a:pt x="404" y="68"/>
                </a:cubicBezTo>
                <a:cubicBezTo>
                  <a:pt x="404" y="74"/>
                  <a:pt x="404" y="74"/>
                  <a:pt x="404" y="74"/>
                </a:cubicBezTo>
                <a:cubicBezTo>
                  <a:pt x="16" y="74"/>
                  <a:pt x="16" y="74"/>
                  <a:pt x="16" y="74"/>
                </a:cubicBezTo>
                <a:cubicBezTo>
                  <a:pt x="16" y="16"/>
                  <a:pt x="16" y="16"/>
                  <a:pt x="16" y="16"/>
                </a:cubicBezTo>
                <a:cubicBezTo>
                  <a:pt x="404" y="16"/>
                  <a:pt x="404" y="16"/>
                  <a:pt x="404" y="16"/>
                </a:cubicBezTo>
                <a:cubicBezTo>
                  <a:pt x="404" y="37"/>
                  <a:pt x="404" y="37"/>
                  <a:pt x="404" y="37"/>
                </a:cubicBezTo>
                <a:cubicBezTo>
                  <a:pt x="404" y="41"/>
                  <a:pt x="407" y="45"/>
                  <a:pt x="412" y="45"/>
                </a:cubicBezTo>
                <a:cubicBezTo>
                  <a:pt x="416" y="45"/>
                  <a:pt x="420" y="41"/>
                  <a:pt x="420" y="37"/>
                </a:cubicBezTo>
                <a:cubicBezTo>
                  <a:pt x="420" y="16"/>
                  <a:pt x="420" y="16"/>
                  <a:pt x="420" y="16"/>
                </a:cubicBezTo>
                <a:cubicBezTo>
                  <a:pt x="420" y="7"/>
                  <a:pt x="412" y="0"/>
                  <a:pt x="404" y="0"/>
                </a:cubicBezTo>
                <a:cubicBezTo>
                  <a:pt x="16" y="0"/>
                  <a:pt x="16" y="0"/>
                  <a:pt x="16" y="0"/>
                </a:cubicBezTo>
                <a:cubicBezTo>
                  <a:pt x="7" y="0"/>
                  <a:pt x="0" y="7"/>
                  <a:pt x="0" y="16"/>
                </a:cubicBezTo>
                <a:cubicBezTo>
                  <a:pt x="0" y="309"/>
                  <a:pt x="0" y="309"/>
                  <a:pt x="0" y="309"/>
                </a:cubicBezTo>
                <a:cubicBezTo>
                  <a:pt x="0" y="318"/>
                  <a:pt x="7" y="325"/>
                  <a:pt x="16" y="325"/>
                </a:cubicBezTo>
                <a:cubicBezTo>
                  <a:pt x="404" y="325"/>
                  <a:pt x="404" y="325"/>
                  <a:pt x="404" y="325"/>
                </a:cubicBezTo>
                <a:cubicBezTo>
                  <a:pt x="412" y="325"/>
                  <a:pt x="420" y="318"/>
                  <a:pt x="420" y="309"/>
                </a:cubicBezTo>
                <a:cubicBezTo>
                  <a:pt x="420" y="68"/>
                  <a:pt x="420" y="68"/>
                  <a:pt x="420" y="68"/>
                </a:cubicBezTo>
                <a:cubicBezTo>
                  <a:pt x="420" y="64"/>
                  <a:pt x="416" y="60"/>
                  <a:pt x="412" y="60"/>
                </a:cubicBezTo>
                <a:close/>
                <a:moveTo>
                  <a:pt x="16" y="90"/>
                </a:moveTo>
                <a:cubicBezTo>
                  <a:pt x="140" y="90"/>
                  <a:pt x="140" y="90"/>
                  <a:pt x="140" y="90"/>
                </a:cubicBezTo>
                <a:cubicBezTo>
                  <a:pt x="16" y="282"/>
                  <a:pt x="16" y="282"/>
                  <a:pt x="16" y="282"/>
                </a:cubicBezTo>
                <a:lnTo>
                  <a:pt x="16" y="90"/>
                </a:lnTo>
                <a:close/>
                <a:moveTo>
                  <a:pt x="221" y="309"/>
                </a:moveTo>
                <a:cubicBezTo>
                  <a:pt x="221" y="278"/>
                  <a:pt x="221" y="278"/>
                  <a:pt x="221" y="278"/>
                </a:cubicBezTo>
                <a:cubicBezTo>
                  <a:pt x="221" y="274"/>
                  <a:pt x="217" y="270"/>
                  <a:pt x="213" y="270"/>
                </a:cubicBezTo>
                <a:cubicBezTo>
                  <a:pt x="208" y="270"/>
                  <a:pt x="205" y="274"/>
                  <a:pt x="205" y="278"/>
                </a:cubicBezTo>
                <a:cubicBezTo>
                  <a:pt x="205" y="309"/>
                  <a:pt x="205" y="309"/>
                  <a:pt x="205" y="309"/>
                </a:cubicBezTo>
                <a:cubicBezTo>
                  <a:pt x="17" y="309"/>
                  <a:pt x="17" y="309"/>
                  <a:pt x="17" y="309"/>
                </a:cubicBezTo>
                <a:cubicBezTo>
                  <a:pt x="159" y="90"/>
                  <a:pt x="159" y="90"/>
                  <a:pt x="159" y="90"/>
                </a:cubicBezTo>
                <a:cubicBezTo>
                  <a:pt x="205" y="90"/>
                  <a:pt x="205" y="90"/>
                  <a:pt x="205" y="90"/>
                </a:cubicBezTo>
                <a:cubicBezTo>
                  <a:pt x="205" y="116"/>
                  <a:pt x="205" y="116"/>
                  <a:pt x="205" y="116"/>
                </a:cubicBezTo>
                <a:cubicBezTo>
                  <a:pt x="205" y="120"/>
                  <a:pt x="208" y="124"/>
                  <a:pt x="213" y="124"/>
                </a:cubicBezTo>
                <a:cubicBezTo>
                  <a:pt x="217" y="124"/>
                  <a:pt x="221" y="120"/>
                  <a:pt x="221" y="116"/>
                </a:cubicBezTo>
                <a:cubicBezTo>
                  <a:pt x="221" y="90"/>
                  <a:pt x="221" y="90"/>
                  <a:pt x="221" y="90"/>
                </a:cubicBezTo>
                <a:cubicBezTo>
                  <a:pt x="260" y="90"/>
                  <a:pt x="260" y="90"/>
                  <a:pt x="260" y="90"/>
                </a:cubicBezTo>
                <a:cubicBezTo>
                  <a:pt x="402" y="309"/>
                  <a:pt x="402" y="309"/>
                  <a:pt x="402" y="309"/>
                </a:cubicBezTo>
                <a:lnTo>
                  <a:pt x="221" y="309"/>
                </a:lnTo>
                <a:close/>
                <a:moveTo>
                  <a:pt x="404" y="282"/>
                </a:moveTo>
                <a:cubicBezTo>
                  <a:pt x="279" y="90"/>
                  <a:pt x="279" y="90"/>
                  <a:pt x="279" y="90"/>
                </a:cubicBezTo>
                <a:cubicBezTo>
                  <a:pt x="404" y="90"/>
                  <a:pt x="404" y="90"/>
                  <a:pt x="404" y="90"/>
                </a:cubicBezTo>
                <a:lnTo>
                  <a:pt x="404" y="282"/>
                </a:lnTo>
                <a:close/>
                <a:moveTo>
                  <a:pt x="38" y="46"/>
                </a:moveTo>
                <a:cubicBezTo>
                  <a:pt x="38" y="51"/>
                  <a:pt x="42" y="55"/>
                  <a:pt x="47" y="55"/>
                </a:cubicBezTo>
                <a:cubicBezTo>
                  <a:pt x="52" y="55"/>
                  <a:pt x="56" y="51"/>
                  <a:pt x="56" y="46"/>
                </a:cubicBezTo>
                <a:cubicBezTo>
                  <a:pt x="56" y="41"/>
                  <a:pt x="52" y="37"/>
                  <a:pt x="47" y="37"/>
                </a:cubicBezTo>
                <a:cubicBezTo>
                  <a:pt x="42" y="37"/>
                  <a:pt x="38" y="41"/>
                  <a:pt x="38" y="46"/>
                </a:cubicBezTo>
                <a:close/>
                <a:moveTo>
                  <a:pt x="103" y="46"/>
                </a:moveTo>
                <a:cubicBezTo>
                  <a:pt x="103" y="51"/>
                  <a:pt x="108" y="55"/>
                  <a:pt x="113" y="55"/>
                </a:cubicBezTo>
                <a:cubicBezTo>
                  <a:pt x="118" y="55"/>
                  <a:pt x="122" y="51"/>
                  <a:pt x="122" y="46"/>
                </a:cubicBezTo>
                <a:cubicBezTo>
                  <a:pt x="122" y="41"/>
                  <a:pt x="118" y="37"/>
                  <a:pt x="113" y="37"/>
                </a:cubicBezTo>
                <a:cubicBezTo>
                  <a:pt x="108" y="37"/>
                  <a:pt x="103" y="41"/>
                  <a:pt x="103" y="46"/>
                </a:cubicBezTo>
                <a:close/>
                <a:moveTo>
                  <a:pt x="71" y="46"/>
                </a:moveTo>
                <a:cubicBezTo>
                  <a:pt x="71" y="51"/>
                  <a:pt x="75" y="55"/>
                  <a:pt x="80" y="55"/>
                </a:cubicBezTo>
                <a:cubicBezTo>
                  <a:pt x="85" y="55"/>
                  <a:pt x="89" y="51"/>
                  <a:pt x="89" y="46"/>
                </a:cubicBezTo>
                <a:cubicBezTo>
                  <a:pt x="89" y="41"/>
                  <a:pt x="85" y="37"/>
                  <a:pt x="80" y="37"/>
                </a:cubicBezTo>
                <a:cubicBezTo>
                  <a:pt x="75" y="37"/>
                  <a:pt x="71" y="41"/>
                  <a:pt x="71" y="46"/>
                </a:cubicBezTo>
                <a:close/>
              </a:path>
            </a:pathLst>
          </a:custGeom>
          <a:solidFill>
            <a:srgbClr val="B1B3B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87" name="Freeform 6"/>
          <p:cNvSpPr>
            <a:spLocks noChangeAspect="1" noEditPoints="1"/>
          </p:cNvSpPr>
          <p:nvPr/>
        </p:nvSpPr>
        <p:spPr bwMode="auto">
          <a:xfrm>
            <a:off x="7408445" y="6660127"/>
            <a:ext cx="663319" cy="917511"/>
          </a:xfrm>
          <a:custGeom>
            <a:avLst/>
            <a:gdLst>
              <a:gd name="T0" fmla="*/ 2147483647 w 348"/>
              <a:gd name="T1" fmla="*/ 2147483647 h 481"/>
              <a:gd name="T2" fmla="*/ 2147483647 w 348"/>
              <a:gd name="T3" fmla="*/ 2147483647 h 481"/>
              <a:gd name="T4" fmla="*/ 2147483647 w 348"/>
              <a:gd name="T5" fmla="*/ 2147483647 h 481"/>
              <a:gd name="T6" fmla="*/ 2147483647 w 348"/>
              <a:gd name="T7" fmla="*/ 2147483647 h 481"/>
              <a:gd name="T8" fmla="*/ 2147483647 w 348"/>
              <a:gd name="T9" fmla="*/ 2147483647 h 481"/>
              <a:gd name="T10" fmla="*/ 2147483647 w 348"/>
              <a:gd name="T11" fmla="*/ 2147483647 h 481"/>
              <a:gd name="T12" fmla="*/ 2147483647 w 348"/>
              <a:gd name="T13" fmla="*/ 2147483647 h 481"/>
              <a:gd name="T14" fmla="*/ 2147483647 w 348"/>
              <a:gd name="T15" fmla="*/ 2147483647 h 481"/>
              <a:gd name="T16" fmla="*/ 2147483647 w 348"/>
              <a:gd name="T17" fmla="*/ 2147483647 h 481"/>
              <a:gd name="T18" fmla="*/ 2147483647 w 348"/>
              <a:gd name="T19" fmla="*/ 2147483647 h 481"/>
              <a:gd name="T20" fmla="*/ 2147483647 w 348"/>
              <a:gd name="T21" fmla="*/ 2147483647 h 481"/>
              <a:gd name="T22" fmla="*/ 2147483647 w 348"/>
              <a:gd name="T23" fmla="*/ 2147483647 h 481"/>
              <a:gd name="T24" fmla="*/ 2147483647 w 348"/>
              <a:gd name="T25" fmla="*/ 2147483647 h 481"/>
              <a:gd name="T26" fmla="*/ 2147483647 w 348"/>
              <a:gd name="T27" fmla="*/ 2147483647 h 481"/>
              <a:gd name="T28" fmla="*/ 2147483647 w 348"/>
              <a:gd name="T29" fmla="*/ 2147483647 h 481"/>
              <a:gd name="T30" fmla="*/ 2147483647 w 348"/>
              <a:gd name="T31" fmla="*/ 2147483647 h 481"/>
              <a:gd name="T32" fmla="*/ 2147483647 w 348"/>
              <a:gd name="T33" fmla="*/ 2147483647 h 481"/>
              <a:gd name="T34" fmla="*/ 2147483647 w 348"/>
              <a:gd name="T35" fmla="*/ 2147483647 h 481"/>
              <a:gd name="T36" fmla="*/ 2147483647 w 348"/>
              <a:gd name="T37" fmla="*/ 2147483647 h 481"/>
              <a:gd name="T38" fmla="*/ 2147483647 w 348"/>
              <a:gd name="T39" fmla="*/ 2147483647 h 481"/>
              <a:gd name="T40" fmla="*/ 2147483647 w 348"/>
              <a:gd name="T41" fmla="*/ 2147483647 h 481"/>
              <a:gd name="T42" fmla="*/ 2147483647 w 348"/>
              <a:gd name="T43" fmla="*/ 2147483647 h 481"/>
              <a:gd name="T44" fmla="*/ 2147483647 w 348"/>
              <a:gd name="T45" fmla="*/ 2147483647 h 481"/>
              <a:gd name="T46" fmla="*/ 2147483647 w 348"/>
              <a:gd name="T47" fmla="*/ 2147483647 h 481"/>
              <a:gd name="T48" fmla="*/ 2147483647 w 348"/>
              <a:gd name="T49" fmla="*/ 2147483647 h 481"/>
              <a:gd name="T50" fmla="*/ 2147483647 w 348"/>
              <a:gd name="T51" fmla="*/ 2147483647 h 481"/>
              <a:gd name="T52" fmla="*/ 2147483647 w 348"/>
              <a:gd name="T53" fmla="*/ 2147483647 h 481"/>
              <a:gd name="T54" fmla="*/ 2147483647 w 348"/>
              <a:gd name="T55" fmla="*/ 2147483647 h 481"/>
              <a:gd name="T56" fmla="*/ 2147483647 w 348"/>
              <a:gd name="T57" fmla="*/ 2147483647 h 481"/>
              <a:gd name="T58" fmla="*/ 2147483647 w 348"/>
              <a:gd name="T59" fmla="*/ 2147483647 h 481"/>
              <a:gd name="T60" fmla="*/ 2147483647 w 348"/>
              <a:gd name="T61" fmla="*/ 2147483647 h 481"/>
              <a:gd name="T62" fmla="*/ 2147483647 w 348"/>
              <a:gd name="T63" fmla="*/ 2147483647 h 481"/>
              <a:gd name="T64" fmla="*/ 2147483647 w 348"/>
              <a:gd name="T65" fmla="*/ 2147483647 h 481"/>
              <a:gd name="T66" fmla="*/ 2147483647 w 348"/>
              <a:gd name="T67" fmla="*/ 2147483647 h 481"/>
              <a:gd name="T68" fmla="*/ 2147483647 w 348"/>
              <a:gd name="T69" fmla="*/ 2147483647 h 481"/>
              <a:gd name="T70" fmla="*/ 2147483647 w 348"/>
              <a:gd name="T71" fmla="*/ 2147483647 h 481"/>
              <a:gd name="T72" fmla="*/ 2147483647 w 348"/>
              <a:gd name="T73" fmla="*/ 2147483647 h 481"/>
              <a:gd name="T74" fmla="*/ 2147483647 w 348"/>
              <a:gd name="T75" fmla="*/ 2147483647 h 481"/>
              <a:gd name="T76" fmla="*/ 2147483647 w 348"/>
              <a:gd name="T77" fmla="*/ 2147483647 h 481"/>
              <a:gd name="T78" fmla="*/ 2147483647 w 348"/>
              <a:gd name="T79" fmla="*/ 2147483647 h 481"/>
              <a:gd name="T80" fmla="*/ 2147483647 w 348"/>
              <a:gd name="T81" fmla="*/ 2147483647 h 481"/>
              <a:gd name="T82" fmla="*/ 2147483647 w 348"/>
              <a:gd name="T83" fmla="*/ 2147483647 h 481"/>
              <a:gd name="T84" fmla="*/ 2147483647 w 348"/>
              <a:gd name="T85" fmla="*/ 2147483647 h 481"/>
              <a:gd name="T86" fmla="*/ 2147483647 w 348"/>
              <a:gd name="T87" fmla="*/ 0 h 481"/>
              <a:gd name="T88" fmla="*/ 2147483647 w 348"/>
              <a:gd name="T89" fmla="*/ 2147483647 h 481"/>
              <a:gd name="T90" fmla="*/ 2147483647 w 348"/>
              <a:gd name="T91" fmla="*/ 2147483647 h 481"/>
              <a:gd name="T92" fmla="*/ 0 w 348"/>
              <a:gd name="T93" fmla="*/ 2147483647 h 481"/>
              <a:gd name="T94" fmla="*/ 2147483647 w 348"/>
              <a:gd name="T95" fmla="*/ 2147483647 h 481"/>
              <a:gd name="T96" fmla="*/ 2147483647 w 348"/>
              <a:gd name="T97" fmla="*/ 2147483647 h 481"/>
              <a:gd name="T98" fmla="*/ 2147483647 w 348"/>
              <a:gd name="T99" fmla="*/ 2147483647 h 481"/>
              <a:gd name="T100" fmla="*/ 2147483647 w 348"/>
              <a:gd name="T101" fmla="*/ 2147483647 h 481"/>
              <a:gd name="T102" fmla="*/ 2147483647 w 348"/>
              <a:gd name="T103" fmla="*/ 2147483647 h 481"/>
              <a:gd name="T104" fmla="*/ 2147483647 w 348"/>
              <a:gd name="T105" fmla="*/ 2147483647 h 481"/>
              <a:gd name="T106" fmla="*/ 2147483647 w 348"/>
              <a:gd name="T107" fmla="*/ 2147483647 h 481"/>
              <a:gd name="T108" fmla="*/ 2147483647 w 348"/>
              <a:gd name="T109" fmla="*/ 2147483647 h 481"/>
              <a:gd name="T110" fmla="*/ 2147483647 w 348"/>
              <a:gd name="T111" fmla="*/ 2147483647 h 481"/>
              <a:gd name="T112" fmla="*/ 2147483647 w 348"/>
              <a:gd name="T113" fmla="*/ 2147483647 h 481"/>
              <a:gd name="T114" fmla="*/ 2147483647 w 348"/>
              <a:gd name="T115" fmla="*/ 2147483647 h 481"/>
              <a:gd name="T116" fmla="*/ 2147483647 w 348"/>
              <a:gd name="T117" fmla="*/ 2147483647 h 481"/>
              <a:gd name="T118" fmla="*/ 2147483647 w 348"/>
              <a:gd name="T119" fmla="*/ 2147483647 h 481"/>
              <a:gd name="T120" fmla="*/ 2147483647 w 348"/>
              <a:gd name="T121" fmla="*/ 2147483647 h 481"/>
              <a:gd name="T122" fmla="*/ 2147483647 w 348"/>
              <a:gd name="T123" fmla="*/ 2147483647 h 48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48" h="481">
                <a:moveTo>
                  <a:pt x="70" y="335"/>
                </a:moveTo>
                <a:cubicBezTo>
                  <a:pt x="118" y="335"/>
                  <a:pt x="118" y="335"/>
                  <a:pt x="118" y="335"/>
                </a:cubicBezTo>
                <a:cubicBezTo>
                  <a:pt x="123" y="335"/>
                  <a:pt x="127" y="331"/>
                  <a:pt x="127" y="326"/>
                </a:cubicBezTo>
                <a:cubicBezTo>
                  <a:pt x="127" y="250"/>
                  <a:pt x="127" y="250"/>
                  <a:pt x="127" y="250"/>
                </a:cubicBezTo>
                <a:cubicBezTo>
                  <a:pt x="127" y="245"/>
                  <a:pt x="123" y="241"/>
                  <a:pt x="118" y="241"/>
                </a:cubicBezTo>
                <a:cubicBezTo>
                  <a:pt x="70" y="241"/>
                  <a:pt x="70" y="241"/>
                  <a:pt x="70" y="241"/>
                </a:cubicBezTo>
                <a:cubicBezTo>
                  <a:pt x="65" y="241"/>
                  <a:pt x="61" y="245"/>
                  <a:pt x="61" y="250"/>
                </a:cubicBezTo>
                <a:cubicBezTo>
                  <a:pt x="61" y="326"/>
                  <a:pt x="61" y="326"/>
                  <a:pt x="61" y="326"/>
                </a:cubicBezTo>
                <a:cubicBezTo>
                  <a:pt x="61" y="331"/>
                  <a:pt x="65" y="335"/>
                  <a:pt x="70" y="335"/>
                </a:cubicBezTo>
                <a:close/>
                <a:moveTo>
                  <a:pt x="80" y="269"/>
                </a:moveTo>
                <a:cubicBezTo>
                  <a:pt x="96" y="261"/>
                  <a:pt x="96" y="261"/>
                  <a:pt x="96" y="261"/>
                </a:cubicBezTo>
                <a:cubicBezTo>
                  <a:pt x="96" y="261"/>
                  <a:pt x="97" y="260"/>
                  <a:pt x="97" y="260"/>
                </a:cubicBezTo>
                <a:cubicBezTo>
                  <a:pt x="99" y="260"/>
                  <a:pt x="100" y="262"/>
                  <a:pt x="100" y="264"/>
                </a:cubicBezTo>
                <a:cubicBezTo>
                  <a:pt x="100" y="317"/>
                  <a:pt x="100" y="317"/>
                  <a:pt x="100" y="317"/>
                </a:cubicBezTo>
                <a:cubicBezTo>
                  <a:pt x="100" y="319"/>
                  <a:pt x="99" y="320"/>
                  <a:pt x="97" y="320"/>
                </a:cubicBezTo>
                <a:cubicBezTo>
                  <a:pt x="96" y="320"/>
                  <a:pt x="94" y="318"/>
                  <a:pt x="94" y="317"/>
                </a:cubicBezTo>
                <a:cubicBezTo>
                  <a:pt x="94" y="269"/>
                  <a:pt x="94" y="269"/>
                  <a:pt x="94" y="269"/>
                </a:cubicBezTo>
                <a:cubicBezTo>
                  <a:pt x="83" y="275"/>
                  <a:pt x="83" y="275"/>
                  <a:pt x="83" y="275"/>
                </a:cubicBezTo>
                <a:cubicBezTo>
                  <a:pt x="82" y="275"/>
                  <a:pt x="80" y="275"/>
                  <a:pt x="79" y="274"/>
                </a:cubicBezTo>
                <a:cubicBezTo>
                  <a:pt x="78" y="272"/>
                  <a:pt x="79" y="270"/>
                  <a:pt x="80" y="269"/>
                </a:cubicBezTo>
                <a:close/>
                <a:moveTo>
                  <a:pt x="198" y="241"/>
                </a:moveTo>
                <a:cubicBezTo>
                  <a:pt x="150" y="241"/>
                  <a:pt x="150" y="241"/>
                  <a:pt x="150" y="241"/>
                </a:cubicBezTo>
                <a:cubicBezTo>
                  <a:pt x="145" y="241"/>
                  <a:pt x="141" y="245"/>
                  <a:pt x="141" y="250"/>
                </a:cubicBezTo>
                <a:cubicBezTo>
                  <a:pt x="141" y="326"/>
                  <a:pt x="141" y="326"/>
                  <a:pt x="141" y="326"/>
                </a:cubicBezTo>
                <a:cubicBezTo>
                  <a:pt x="141" y="331"/>
                  <a:pt x="145" y="335"/>
                  <a:pt x="150" y="335"/>
                </a:cubicBezTo>
                <a:cubicBezTo>
                  <a:pt x="198" y="335"/>
                  <a:pt x="198" y="335"/>
                  <a:pt x="198" y="335"/>
                </a:cubicBezTo>
                <a:cubicBezTo>
                  <a:pt x="203" y="335"/>
                  <a:pt x="207" y="331"/>
                  <a:pt x="207" y="326"/>
                </a:cubicBezTo>
                <a:cubicBezTo>
                  <a:pt x="207" y="250"/>
                  <a:pt x="207" y="250"/>
                  <a:pt x="207" y="250"/>
                </a:cubicBezTo>
                <a:cubicBezTo>
                  <a:pt x="207" y="245"/>
                  <a:pt x="203" y="241"/>
                  <a:pt x="198" y="241"/>
                </a:cubicBezTo>
                <a:close/>
                <a:moveTo>
                  <a:pt x="191" y="320"/>
                </a:moveTo>
                <a:cubicBezTo>
                  <a:pt x="160" y="320"/>
                  <a:pt x="160" y="320"/>
                  <a:pt x="160" y="320"/>
                </a:cubicBezTo>
                <a:cubicBezTo>
                  <a:pt x="158" y="320"/>
                  <a:pt x="156" y="318"/>
                  <a:pt x="156" y="315"/>
                </a:cubicBezTo>
                <a:cubicBezTo>
                  <a:pt x="156" y="308"/>
                  <a:pt x="160" y="302"/>
                  <a:pt x="169" y="296"/>
                </a:cubicBezTo>
                <a:cubicBezTo>
                  <a:pt x="183" y="286"/>
                  <a:pt x="187" y="283"/>
                  <a:pt x="187" y="276"/>
                </a:cubicBezTo>
                <a:cubicBezTo>
                  <a:pt x="187" y="271"/>
                  <a:pt x="183" y="265"/>
                  <a:pt x="174" y="265"/>
                </a:cubicBezTo>
                <a:cubicBezTo>
                  <a:pt x="168" y="265"/>
                  <a:pt x="164" y="268"/>
                  <a:pt x="161" y="272"/>
                </a:cubicBezTo>
                <a:cubicBezTo>
                  <a:pt x="161" y="272"/>
                  <a:pt x="160" y="273"/>
                  <a:pt x="160" y="273"/>
                </a:cubicBezTo>
                <a:cubicBezTo>
                  <a:pt x="158" y="274"/>
                  <a:pt x="156" y="273"/>
                  <a:pt x="156" y="271"/>
                </a:cubicBezTo>
                <a:cubicBezTo>
                  <a:pt x="156" y="270"/>
                  <a:pt x="156" y="269"/>
                  <a:pt x="156" y="269"/>
                </a:cubicBezTo>
                <a:cubicBezTo>
                  <a:pt x="159" y="264"/>
                  <a:pt x="165" y="260"/>
                  <a:pt x="174" y="260"/>
                </a:cubicBezTo>
                <a:cubicBezTo>
                  <a:pt x="186" y="260"/>
                  <a:pt x="193" y="267"/>
                  <a:pt x="193" y="276"/>
                </a:cubicBezTo>
                <a:cubicBezTo>
                  <a:pt x="193" y="285"/>
                  <a:pt x="188" y="289"/>
                  <a:pt x="174" y="299"/>
                </a:cubicBezTo>
                <a:cubicBezTo>
                  <a:pt x="165" y="305"/>
                  <a:pt x="162" y="309"/>
                  <a:pt x="162" y="314"/>
                </a:cubicBezTo>
                <a:cubicBezTo>
                  <a:pt x="191" y="314"/>
                  <a:pt x="191" y="314"/>
                  <a:pt x="191" y="314"/>
                </a:cubicBezTo>
                <a:cubicBezTo>
                  <a:pt x="193" y="314"/>
                  <a:pt x="194" y="315"/>
                  <a:pt x="194" y="317"/>
                </a:cubicBezTo>
                <a:cubicBezTo>
                  <a:pt x="194" y="319"/>
                  <a:pt x="193" y="320"/>
                  <a:pt x="191" y="320"/>
                </a:cubicBezTo>
                <a:close/>
                <a:moveTo>
                  <a:pt x="348" y="286"/>
                </a:moveTo>
                <a:cubicBezTo>
                  <a:pt x="348" y="275"/>
                  <a:pt x="347" y="264"/>
                  <a:pt x="345" y="253"/>
                </a:cubicBezTo>
                <a:cubicBezTo>
                  <a:pt x="332" y="184"/>
                  <a:pt x="280" y="133"/>
                  <a:pt x="217" y="116"/>
                </a:cubicBezTo>
                <a:cubicBezTo>
                  <a:pt x="214" y="116"/>
                  <a:pt x="210" y="115"/>
                  <a:pt x="207" y="114"/>
                </a:cubicBezTo>
                <a:cubicBezTo>
                  <a:pt x="202" y="113"/>
                  <a:pt x="198" y="116"/>
                  <a:pt x="197" y="121"/>
                </a:cubicBezTo>
                <a:cubicBezTo>
                  <a:pt x="197" y="125"/>
                  <a:pt x="199" y="129"/>
                  <a:pt x="204" y="130"/>
                </a:cubicBezTo>
                <a:cubicBezTo>
                  <a:pt x="207" y="131"/>
                  <a:pt x="211" y="131"/>
                  <a:pt x="214" y="132"/>
                </a:cubicBezTo>
                <a:cubicBezTo>
                  <a:pt x="271" y="147"/>
                  <a:pt x="318" y="194"/>
                  <a:pt x="329" y="256"/>
                </a:cubicBezTo>
                <a:cubicBezTo>
                  <a:pt x="331" y="266"/>
                  <a:pt x="332" y="276"/>
                  <a:pt x="332" y="286"/>
                </a:cubicBezTo>
                <a:cubicBezTo>
                  <a:pt x="332" y="353"/>
                  <a:pt x="289" y="414"/>
                  <a:pt x="224" y="436"/>
                </a:cubicBezTo>
                <a:cubicBezTo>
                  <a:pt x="236" y="418"/>
                  <a:pt x="236" y="418"/>
                  <a:pt x="236" y="418"/>
                </a:cubicBezTo>
                <a:cubicBezTo>
                  <a:pt x="239" y="414"/>
                  <a:pt x="238" y="409"/>
                  <a:pt x="234" y="407"/>
                </a:cubicBezTo>
                <a:cubicBezTo>
                  <a:pt x="230" y="404"/>
                  <a:pt x="225" y="405"/>
                  <a:pt x="223" y="409"/>
                </a:cubicBezTo>
                <a:cubicBezTo>
                  <a:pt x="199" y="445"/>
                  <a:pt x="199" y="445"/>
                  <a:pt x="199" y="445"/>
                </a:cubicBezTo>
                <a:cubicBezTo>
                  <a:pt x="198" y="445"/>
                  <a:pt x="198" y="445"/>
                  <a:pt x="198" y="446"/>
                </a:cubicBezTo>
                <a:cubicBezTo>
                  <a:pt x="198" y="446"/>
                  <a:pt x="198" y="446"/>
                  <a:pt x="198" y="446"/>
                </a:cubicBezTo>
                <a:cubicBezTo>
                  <a:pt x="198" y="447"/>
                  <a:pt x="198" y="447"/>
                  <a:pt x="198" y="447"/>
                </a:cubicBezTo>
                <a:cubicBezTo>
                  <a:pt x="197" y="448"/>
                  <a:pt x="197" y="448"/>
                  <a:pt x="197" y="448"/>
                </a:cubicBezTo>
                <a:cubicBezTo>
                  <a:pt x="197" y="449"/>
                  <a:pt x="197" y="449"/>
                  <a:pt x="197" y="449"/>
                </a:cubicBezTo>
                <a:cubicBezTo>
                  <a:pt x="197" y="450"/>
                  <a:pt x="197" y="450"/>
                  <a:pt x="198" y="451"/>
                </a:cubicBezTo>
                <a:cubicBezTo>
                  <a:pt x="198" y="451"/>
                  <a:pt x="198" y="452"/>
                  <a:pt x="198" y="452"/>
                </a:cubicBezTo>
                <a:cubicBezTo>
                  <a:pt x="198" y="452"/>
                  <a:pt x="198" y="452"/>
                  <a:pt x="198" y="452"/>
                </a:cubicBezTo>
                <a:cubicBezTo>
                  <a:pt x="198" y="453"/>
                  <a:pt x="198" y="453"/>
                  <a:pt x="199" y="453"/>
                </a:cubicBezTo>
                <a:cubicBezTo>
                  <a:pt x="199" y="453"/>
                  <a:pt x="199" y="454"/>
                  <a:pt x="199" y="454"/>
                </a:cubicBezTo>
                <a:cubicBezTo>
                  <a:pt x="199" y="454"/>
                  <a:pt x="199" y="454"/>
                  <a:pt x="199" y="454"/>
                </a:cubicBezTo>
                <a:cubicBezTo>
                  <a:pt x="200" y="455"/>
                  <a:pt x="200" y="455"/>
                  <a:pt x="200" y="455"/>
                </a:cubicBezTo>
                <a:cubicBezTo>
                  <a:pt x="200" y="455"/>
                  <a:pt x="200" y="455"/>
                  <a:pt x="201" y="456"/>
                </a:cubicBezTo>
                <a:cubicBezTo>
                  <a:pt x="201" y="456"/>
                  <a:pt x="201" y="456"/>
                  <a:pt x="201" y="456"/>
                </a:cubicBezTo>
                <a:cubicBezTo>
                  <a:pt x="236" y="480"/>
                  <a:pt x="236" y="480"/>
                  <a:pt x="236" y="480"/>
                </a:cubicBezTo>
                <a:cubicBezTo>
                  <a:pt x="238" y="481"/>
                  <a:pt x="239" y="481"/>
                  <a:pt x="241" y="481"/>
                </a:cubicBezTo>
                <a:cubicBezTo>
                  <a:pt x="244" y="481"/>
                  <a:pt x="246" y="480"/>
                  <a:pt x="248" y="478"/>
                </a:cubicBezTo>
                <a:cubicBezTo>
                  <a:pt x="250" y="474"/>
                  <a:pt x="249" y="469"/>
                  <a:pt x="245" y="467"/>
                </a:cubicBezTo>
                <a:cubicBezTo>
                  <a:pt x="245" y="467"/>
                  <a:pt x="245" y="467"/>
                  <a:pt x="245" y="467"/>
                </a:cubicBezTo>
                <a:cubicBezTo>
                  <a:pt x="225" y="452"/>
                  <a:pt x="225" y="452"/>
                  <a:pt x="225" y="452"/>
                </a:cubicBezTo>
                <a:cubicBezTo>
                  <a:pt x="298" y="430"/>
                  <a:pt x="348" y="362"/>
                  <a:pt x="348" y="286"/>
                </a:cubicBezTo>
                <a:close/>
                <a:moveTo>
                  <a:pt x="278" y="335"/>
                </a:moveTo>
                <a:cubicBezTo>
                  <a:pt x="283" y="335"/>
                  <a:pt x="287" y="331"/>
                  <a:pt x="287" y="326"/>
                </a:cubicBezTo>
                <a:cubicBezTo>
                  <a:pt x="287" y="250"/>
                  <a:pt x="287" y="250"/>
                  <a:pt x="287" y="250"/>
                </a:cubicBezTo>
                <a:cubicBezTo>
                  <a:pt x="287" y="245"/>
                  <a:pt x="283" y="241"/>
                  <a:pt x="278" y="241"/>
                </a:cubicBezTo>
                <a:cubicBezTo>
                  <a:pt x="230" y="241"/>
                  <a:pt x="230" y="241"/>
                  <a:pt x="230" y="241"/>
                </a:cubicBezTo>
                <a:cubicBezTo>
                  <a:pt x="225" y="241"/>
                  <a:pt x="221" y="245"/>
                  <a:pt x="221" y="250"/>
                </a:cubicBezTo>
                <a:cubicBezTo>
                  <a:pt x="221" y="326"/>
                  <a:pt x="221" y="326"/>
                  <a:pt x="221" y="326"/>
                </a:cubicBezTo>
                <a:cubicBezTo>
                  <a:pt x="221" y="331"/>
                  <a:pt x="225" y="335"/>
                  <a:pt x="230" y="335"/>
                </a:cubicBezTo>
                <a:lnTo>
                  <a:pt x="278" y="335"/>
                </a:lnTo>
                <a:close/>
                <a:moveTo>
                  <a:pt x="239" y="260"/>
                </a:moveTo>
                <a:cubicBezTo>
                  <a:pt x="266" y="260"/>
                  <a:pt x="266" y="260"/>
                  <a:pt x="266" y="260"/>
                </a:cubicBezTo>
                <a:cubicBezTo>
                  <a:pt x="269" y="260"/>
                  <a:pt x="271" y="262"/>
                  <a:pt x="271" y="265"/>
                </a:cubicBezTo>
                <a:cubicBezTo>
                  <a:pt x="271" y="266"/>
                  <a:pt x="271" y="267"/>
                  <a:pt x="270" y="268"/>
                </a:cubicBezTo>
                <a:cubicBezTo>
                  <a:pt x="257" y="282"/>
                  <a:pt x="257" y="282"/>
                  <a:pt x="257" y="282"/>
                </a:cubicBezTo>
                <a:cubicBezTo>
                  <a:pt x="267" y="282"/>
                  <a:pt x="274" y="289"/>
                  <a:pt x="274" y="298"/>
                </a:cubicBezTo>
                <a:cubicBezTo>
                  <a:pt x="274" y="313"/>
                  <a:pt x="261" y="321"/>
                  <a:pt x="239" y="320"/>
                </a:cubicBezTo>
                <a:cubicBezTo>
                  <a:pt x="237" y="320"/>
                  <a:pt x="236" y="319"/>
                  <a:pt x="236" y="317"/>
                </a:cubicBezTo>
                <a:cubicBezTo>
                  <a:pt x="236" y="316"/>
                  <a:pt x="237" y="314"/>
                  <a:pt x="239" y="314"/>
                </a:cubicBezTo>
                <a:cubicBezTo>
                  <a:pt x="256" y="316"/>
                  <a:pt x="268" y="310"/>
                  <a:pt x="268" y="299"/>
                </a:cubicBezTo>
                <a:cubicBezTo>
                  <a:pt x="268" y="292"/>
                  <a:pt x="263" y="288"/>
                  <a:pt x="256" y="288"/>
                </a:cubicBezTo>
                <a:cubicBezTo>
                  <a:pt x="253" y="288"/>
                  <a:pt x="252" y="288"/>
                  <a:pt x="250" y="288"/>
                </a:cubicBezTo>
                <a:cubicBezTo>
                  <a:pt x="249" y="288"/>
                  <a:pt x="247" y="287"/>
                  <a:pt x="247" y="285"/>
                </a:cubicBezTo>
                <a:cubicBezTo>
                  <a:pt x="247" y="285"/>
                  <a:pt x="248" y="284"/>
                  <a:pt x="248" y="283"/>
                </a:cubicBezTo>
                <a:cubicBezTo>
                  <a:pt x="263" y="266"/>
                  <a:pt x="263" y="266"/>
                  <a:pt x="263" y="266"/>
                </a:cubicBezTo>
                <a:cubicBezTo>
                  <a:pt x="239" y="266"/>
                  <a:pt x="239" y="266"/>
                  <a:pt x="239" y="266"/>
                </a:cubicBezTo>
                <a:cubicBezTo>
                  <a:pt x="237" y="266"/>
                  <a:pt x="236" y="265"/>
                  <a:pt x="236" y="263"/>
                </a:cubicBezTo>
                <a:cubicBezTo>
                  <a:pt x="236" y="262"/>
                  <a:pt x="237" y="260"/>
                  <a:pt x="239" y="260"/>
                </a:cubicBezTo>
                <a:close/>
                <a:moveTo>
                  <a:pt x="174" y="444"/>
                </a:moveTo>
                <a:cubicBezTo>
                  <a:pt x="130" y="444"/>
                  <a:pt x="91" y="426"/>
                  <a:pt x="62" y="398"/>
                </a:cubicBezTo>
                <a:cubicBezTo>
                  <a:pt x="33" y="369"/>
                  <a:pt x="16" y="329"/>
                  <a:pt x="16" y="286"/>
                </a:cubicBezTo>
                <a:cubicBezTo>
                  <a:pt x="16" y="251"/>
                  <a:pt x="27" y="219"/>
                  <a:pt x="46" y="193"/>
                </a:cubicBezTo>
                <a:cubicBezTo>
                  <a:pt x="62" y="206"/>
                  <a:pt x="81" y="212"/>
                  <a:pt x="101" y="212"/>
                </a:cubicBezTo>
                <a:cubicBezTo>
                  <a:pt x="101" y="212"/>
                  <a:pt x="101" y="212"/>
                  <a:pt x="101" y="212"/>
                </a:cubicBezTo>
                <a:cubicBezTo>
                  <a:pt x="124" y="212"/>
                  <a:pt x="146" y="204"/>
                  <a:pt x="163" y="187"/>
                </a:cubicBezTo>
                <a:cubicBezTo>
                  <a:pt x="183" y="166"/>
                  <a:pt x="183" y="166"/>
                  <a:pt x="183" y="166"/>
                </a:cubicBezTo>
                <a:cubicBezTo>
                  <a:pt x="187" y="163"/>
                  <a:pt x="188" y="159"/>
                  <a:pt x="188" y="155"/>
                </a:cubicBezTo>
                <a:cubicBezTo>
                  <a:pt x="188" y="151"/>
                  <a:pt x="187" y="147"/>
                  <a:pt x="183" y="144"/>
                </a:cubicBezTo>
                <a:cubicBezTo>
                  <a:pt x="172" y="132"/>
                  <a:pt x="172" y="132"/>
                  <a:pt x="172" y="132"/>
                </a:cubicBezTo>
                <a:cubicBezTo>
                  <a:pt x="221" y="83"/>
                  <a:pt x="221" y="83"/>
                  <a:pt x="221" y="83"/>
                </a:cubicBezTo>
                <a:cubicBezTo>
                  <a:pt x="224" y="80"/>
                  <a:pt x="226" y="76"/>
                  <a:pt x="226" y="72"/>
                </a:cubicBezTo>
                <a:cubicBezTo>
                  <a:pt x="226" y="68"/>
                  <a:pt x="224" y="63"/>
                  <a:pt x="221" y="60"/>
                </a:cubicBezTo>
                <a:cubicBezTo>
                  <a:pt x="215" y="55"/>
                  <a:pt x="215" y="55"/>
                  <a:pt x="215" y="55"/>
                </a:cubicBezTo>
                <a:cubicBezTo>
                  <a:pt x="212" y="52"/>
                  <a:pt x="208" y="50"/>
                  <a:pt x="204" y="50"/>
                </a:cubicBezTo>
                <a:cubicBezTo>
                  <a:pt x="200" y="50"/>
                  <a:pt x="196" y="52"/>
                  <a:pt x="192" y="55"/>
                </a:cubicBezTo>
                <a:cubicBezTo>
                  <a:pt x="143" y="104"/>
                  <a:pt x="143" y="104"/>
                  <a:pt x="143" y="104"/>
                </a:cubicBezTo>
                <a:cubicBezTo>
                  <a:pt x="122" y="82"/>
                  <a:pt x="122" y="82"/>
                  <a:pt x="122" y="82"/>
                </a:cubicBezTo>
                <a:cubicBezTo>
                  <a:pt x="171" y="33"/>
                  <a:pt x="171" y="33"/>
                  <a:pt x="171" y="33"/>
                </a:cubicBezTo>
                <a:cubicBezTo>
                  <a:pt x="174" y="30"/>
                  <a:pt x="176" y="26"/>
                  <a:pt x="176" y="22"/>
                </a:cubicBezTo>
                <a:cubicBezTo>
                  <a:pt x="176" y="18"/>
                  <a:pt x="174" y="13"/>
                  <a:pt x="171" y="10"/>
                </a:cubicBezTo>
                <a:cubicBezTo>
                  <a:pt x="165" y="5"/>
                  <a:pt x="165" y="5"/>
                  <a:pt x="165" y="5"/>
                </a:cubicBezTo>
                <a:cubicBezTo>
                  <a:pt x="162" y="2"/>
                  <a:pt x="158" y="0"/>
                  <a:pt x="154" y="0"/>
                </a:cubicBezTo>
                <a:cubicBezTo>
                  <a:pt x="150" y="0"/>
                  <a:pt x="146" y="2"/>
                  <a:pt x="142" y="5"/>
                </a:cubicBezTo>
                <a:cubicBezTo>
                  <a:pt x="94" y="54"/>
                  <a:pt x="94" y="54"/>
                  <a:pt x="94" y="54"/>
                </a:cubicBezTo>
                <a:cubicBezTo>
                  <a:pt x="82" y="42"/>
                  <a:pt x="82" y="42"/>
                  <a:pt x="82" y="42"/>
                </a:cubicBezTo>
                <a:cubicBezTo>
                  <a:pt x="79" y="39"/>
                  <a:pt x="75" y="37"/>
                  <a:pt x="71" y="37"/>
                </a:cubicBezTo>
                <a:cubicBezTo>
                  <a:pt x="66" y="37"/>
                  <a:pt x="62" y="39"/>
                  <a:pt x="59" y="42"/>
                </a:cubicBezTo>
                <a:cubicBezTo>
                  <a:pt x="39" y="62"/>
                  <a:pt x="39" y="62"/>
                  <a:pt x="39" y="62"/>
                </a:cubicBezTo>
                <a:cubicBezTo>
                  <a:pt x="22" y="80"/>
                  <a:pt x="13" y="102"/>
                  <a:pt x="13" y="124"/>
                </a:cubicBezTo>
                <a:cubicBezTo>
                  <a:pt x="13" y="145"/>
                  <a:pt x="20" y="165"/>
                  <a:pt x="34" y="181"/>
                </a:cubicBezTo>
                <a:cubicBezTo>
                  <a:pt x="13" y="210"/>
                  <a:pt x="0" y="247"/>
                  <a:pt x="0" y="286"/>
                </a:cubicBezTo>
                <a:cubicBezTo>
                  <a:pt x="0" y="382"/>
                  <a:pt x="78" y="460"/>
                  <a:pt x="174" y="460"/>
                </a:cubicBezTo>
                <a:cubicBezTo>
                  <a:pt x="179" y="460"/>
                  <a:pt x="182" y="456"/>
                  <a:pt x="182" y="452"/>
                </a:cubicBezTo>
                <a:cubicBezTo>
                  <a:pt x="182" y="448"/>
                  <a:pt x="179" y="444"/>
                  <a:pt x="174" y="444"/>
                </a:cubicBezTo>
                <a:close/>
                <a:moveTo>
                  <a:pt x="204" y="66"/>
                </a:moveTo>
                <a:cubicBezTo>
                  <a:pt x="204" y="66"/>
                  <a:pt x="204" y="66"/>
                  <a:pt x="204" y="66"/>
                </a:cubicBezTo>
                <a:cubicBezTo>
                  <a:pt x="204" y="66"/>
                  <a:pt x="204" y="66"/>
                  <a:pt x="204" y="66"/>
                </a:cubicBezTo>
                <a:cubicBezTo>
                  <a:pt x="209" y="72"/>
                  <a:pt x="209" y="72"/>
                  <a:pt x="209" y="72"/>
                </a:cubicBezTo>
                <a:cubicBezTo>
                  <a:pt x="210" y="72"/>
                  <a:pt x="210" y="72"/>
                  <a:pt x="210" y="72"/>
                </a:cubicBezTo>
                <a:cubicBezTo>
                  <a:pt x="210" y="72"/>
                  <a:pt x="210" y="72"/>
                  <a:pt x="209" y="72"/>
                </a:cubicBezTo>
                <a:cubicBezTo>
                  <a:pt x="161" y="121"/>
                  <a:pt x="161" y="121"/>
                  <a:pt x="161" y="121"/>
                </a:cubicBezTo>
                <a:cubicBezTo>
                  <a:pt x="160" y="120"/>
                  <a:pt x="160" y="120"/>
                  <a:pt x="160" y="120"/>
                </a:cubicBezTo>
                <a:cubicBezTo>
                  <a:pt x="155" y="115"/>
                  <a:pt x="155" y="115"/>
                  <a:pt x="155" y="115"/>
                </a:cubicBezTo>
                <a:lnTo>
                  <a:pt x="204" y="66"/>
                </a:lnTo>
                <a:close/>
                <a:moveTo>
                  <a:pt x="154" y="16"/>
                </a:moveTo>
                <a:cubicBezTo>
                  <a:pt x="154" y="16"/>
                  <a:pt x="154" y="16"/>
                  <a:pt x="154" y="16"/>
                </a:cubicBezTo>
                <a:cubicBezTo>
                  <a:pt x="154" y="16"/>
                  <a:pt x="154" y="16"/>
                  <a:pt x="154" y="16"/>
                </a:cubicBezTo>
                <a:cubicBezTo>
                  <a:pt x="160" y="22"/>
                  <a:pt x="160" y="22"/>
                  <a:pt x="160" y="22"/>
                </a:cubicBezTo>
                <a:cubicBezTo>
                  <a:pt x="160" y="22"/>
                  <a:pt x="160" y="22"/>
                  <a:pt x="160" y="22"/>
                </a:cubicBezTo>
                <a:cubicBezTo>
                  <a:pt x="160" y="22"/>
                  <a:pt x="160" y="22"/>
                  <a:pt x="160" y="22"/>
                </a:cubicBezTo>
                <a:cubicBezTo>
                  <a:pt x="111" y="71"/>
                  <a:pt x="111" y="71"/>
                  <a:pt x="111" y="71"/>
                </a:cubicBezTo>
                <a:cubicBezTo>
                  <a:pt x="105" y="65"/>
                  <a:pt x="105" y="65"/>
                  <a:pt x="105" y="65"/>
                </a:cubicBezTo>
                <a:lnTo>
                  <a:pt x="154" y="16"/>
                </a:lnTo>
                <a:close/>
                <a:moveTo>
                  <a:pt x="29" y="124"/>
                </a:moveTo>
                <a:cubicBezTo>
                  <a:pt x="29" y="106"/>
                  <a:pt x="36" y="88"/>
                  <a:pt x="50" y="74"/>
                </a:cubicBezTo>
                <a:cubicBezTo>
                  <a:pt x="70" y="54"/>
                  <a:pt x="70" y="54"/>
                  <a:pt x="70" y="54"/>
                </a:cubicBezTo>
                <a:cubicBezTo>
                  <a:pt x="70" y="53"/>
                  <a:pt x="70" y="53"/>
                  <a:pt x="71" y="53"/>
                </a:cubicBezTo>
                <a:cubicBezTo>
                  <a:pt x="71" y="53"/>
                  <a:pt x="71" y="53"/>
                  <a:pt x="71" y="54"/>
                </a:cubicBezTo>
                <a:cubicBezTo>
                  <a:pt x="88" y="71"/>
                  <a:pt x="88" y="71"/>
                  <a:pt x="88" y="71"/>
                </a:cubicBezTo>
                <a:cubicBezTo>
                  <a:pt x="91" y="74"/>
                  <a:pt x="91" y="74"/>
                  <a:pt x="91" y="74"/>
                </a:cubicBezTo>
                <a:cubicBezTo>
                  <a:pt x="138" y="121"/>
                  <a:pt x="138" y="121"/>
                  <a:pt x="138" y="121"/>
                </a:cubicBezTo>
                <a:cubicBezTo>
                  <a:pt x="138" y="121"/>
                  <a:pt x="138" y="121"/>
                  <a:pt x="138" y="121"/>
                </a:cubicBezTo>
                <a:cubicBezTo>
                  <a:pt x="145" y="128"/>
                  <a:pt x="145" y="128"/>
                  <a:pt x="145" y="128"/>
                </a:cubicBezTo>
                <a:cubicBezTo>
                  <a:pt x="172" y="155"/>
                  <a:pt x="172" y="155"/>
                  <a:pt x="172" y="155"/>
                </a:cubicBezTo>
                <a:cubicBezTo>
                  <a:pt x="172" y="155"/>
                  <a:pt x="172" y="155"/>
                  <a:pt x="172" y="155"/>
                </a:cubicBezTo>
                <a:cubicBezTo>
                  <a:pt x="172" y="155"/>
                  <a:pt x="172" y="155"/>
                  <a:pt x="172" y="155"/>
                </a:cubicBezTo>
                <a:cubicBezTo>
                  <a:pt x="152" y="175"/>
                  <a:pt x="152" y="175"/>
                  <a:pt x="152" y="175"/>
                </a:cubicBezTo>
                <a:cubicBezTo>
                  <a:pt x="138" y="189"/>
                  <a:pt x="119" y="196"/>
                  <a:pt x="101" y="196"/>
                </a:cubicBezTo>
                <a:cubicBezTo>
                  <a:pt x="83" y="196"/>
                  <a:pt x="64" y="189"/>
                  <a:pt x="50" y="175"/>
                </a:cubicBezTo>
                <a:cubicBezTo>
                  <a:pt x="36" y="161"/>
                  <a:pt x="29" y="143"/>
                  <a:pt x="29" y="124"/>
                </a:cubicBezTo>
                <a:close/>
                <a:moveTo>
                  <a:pt x="59" y="359"/>
                </a:moveTo>
                <a:cubicBezTo>
                  <a:pt x="59" y="363"/>
                  <a:pt x="62" y="367"/>
                  <a:pt x="67" y="367"/>
                </a:cubicBezTo>
                <a:cubicBezTo>
                  <a:pt x="281" y="367"/>
                  <a:pt x="281" y="367"/>
                  <a:pt x="281" y="367"/>
                </a:cubicBezTo>
                <a:cubicBezTo>
                  <a:pt x="286" y="367"/>
                  <a:pt x="289" y="363"/>
                  <a:pt x="289" y="359"/>
                </a:cubicBezTo>
                <a:cubicBezTo>
                  <a:pt x="289" y="354"/>
                  <a:pt x="286" y="351"/>
                  <a:pt x="281" y="351"/>
                </a:cubicBezTo>
                <a:cubicBezTo>
                  <a:pt x="67" y="351"/>
                  <a:pt x="67" y="351"/>
                  <a:pt x="67" y="351"/>
                </a:cubicBezTo>
                <a:cubicBezTo>
                  <a:pt x="62" y="351"/>
                  <a:pt x="59" y="354"/>
                  <a:pt x="59" y="359"/>
                </a:cubicBezTo>
                <a:close/>
              </a:path>
            </a:pathLst>
          </a:custGeom>
          <a:solidFill>
            <a:srgbClr val="B1B3B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88" name="Freeform 3"/>
          <p:cNvSpPr>
            <a:spLocks noChangeAspect="1" noEditPoints="1"/>
          </p:cNvSpPr>
          <p:nvPr/>
        </p:nvSpPr>
        <p:spPr bwMode="auto">
          <a:xfrm>
            <a:off x="6163734" y="4973889"/>
            <a:ext cx="566131" cy="566131"/>
          </a:xfrm>
          <a:custGeom>
            <a:avLst/>
            <a:gdLst>
              <a:gd name="T0" fmla="*/ 2147483647 w 380"/>
              <a:gd name="T1" fmla="*/ 2147483647 h 380"/>
              <a:gd name="T2" fmla="*/ 2147483647 w 380"/>
              <a:gd name="T3" fmla="*/ 2147483647 h 380"/>
              <a:gd name="T4" fmla="*/ 2147483647 w 380"/>
              <a:gd name="T5" fmla="*/ 2147483647 h 380"/>
              <a:gd name="T6" fmla="*/ 2147483647 w 380"/>
              <a:gd name="T7" fmla="*/ 2147483647 h 380"/>
              <a:gd name="T8" fmla="*/ 2147483647 w 380"/>
              <a:gd name="T9" fmla="*/ 2147483647 h 380"/>
              <a:gd name="T10" fmla="*/ 2147483647 w 380"/>
              <a:gd name="T11" fmla="*/ 2147483647 h 380"/>
              <a:gd name="T12" fmla="*/ 2147483647 w 380"/>
              <a:gd name="T13" fmla="*/ 2147483647 h 380"/>
              <a:gd name="T14" fmla="*/ 2147483647 w 380"/>
              <a:gd name="T15" fmla="*/ 2147483647 h 380"/>
              <a:gd name="T16" fmla="*/ 2147483647 w 380"/>
              <a:gd name="T17" fmla="*/ 2147483647 h 380"/>
              <a:gd name="T18" fmla="*/ 2147483647 w 380"/>
              <a:gd name="T19" fmla="*/ 2147483647 h 380"/>
              <a:gd name="T20" fmla="*/ 2147483647 w 380"/>
              <a:gd name="T21" fmla="*/ 2147483647 h 380"/>
              <a:gd name="T22" fmla="*/ 2147483647 w 380"/>
              <a:gd name="T23" fmla="*/ 2147483647 h 380"/>
              <a:gd name="T24" fmla="*/ 2147483647 w 380"/>
              <a:gd name="T25" fmla="*/ 2147483647 h 380"/>
              <a:gd name="T26" fmla="*/ 2147483647 w 380"/>
              <a:gd name="T27" fmla="*/ 2147483647 h 380"/>
              <a:gd name="T28" fmla="*/ 2147483647 w 380"/>
              <a:gd name="T29" fmla="*/ 2147483647 h 380"/>
              <a:gd name="T30" fmla="*/ 2147483647 w 380"/>
              <a:gd name="T31" fmla="*/ 2147483647 h 380"/>
              <a:gd name="T32" fmla="*/ 2147483647 w 380"/>
              <a:gd name="T33" fmla="*/ 2147483647 h 380"/>
              <a:gd name="T34" fmla="*/ 2147483647 w 380"/>
              <a:gd name="T35" fmla="*/ 2147483647 h 380"/>
              <a:gd name="T36" fmla="*/ 2147483647 w 380"/>
              <a:gd name="T37" fmla="*/ 2147483647 h 380"/>
              <a:gd name="T38" fmla="*/ 2147483647 w 380"/>
              <a:gd name="T39" fmla="*/ 2147483647 h 380"/>
              <a:gd name="T40" fmla="*/ 2147483647 w 380"/>
              <a:gd name="T41" fmla="*/ 0 h 380"/>
              <a:gd name="T42" fmla="*/ 2147483647 w 380"/>
              <a:gd name="T43" fmla="*/ 2147483647 h 380"/>
              <a:gd name="T44" fmla="*/ 2147483647 w 380"/>
              <a:gd name="T45" fmla="*/ 2147483647 h 380"/>
              <a:gd name="T46" fmla="*/ 2147483647 w 380"/>
              <a:gd name="T47" fmla="*/ 2147483647 h 380"/>
              <a:gd name="T48" fmla="*/ 2147483647 w 380"/>
              <a:gd name="T49" fmla="*/ 2147483647 h 380"/>
              <a:gd name="T50" fmla="*/ 2147483647 w 380"/>
              <a:gd name="T51" fmla="*/ 2147483647 h 380"/>
              <a:gd name="T52" fmla="*/ 2147483647 w 380"/>
              <a:gd name="T53" fmla="*/ 2147483647 h 380"/>
              <a:gd name="T54" fmla="*/ 2147483647 w 380"/>
              <a:gd name="T55" fmla="*/ 2147483647 h 380"/>
              <a:gd name="T56" fmla="*/ 2147483647 w 380"/>
              <a:gd name="T57" fmla="*/ 2147483647 h 380"/>
              <a:gd name="T58" fmla="*/ 2147483647 w 380"/>
              <a:gd name="T59" fmla="*/ 2147483647 h 380"/>
              <a:gd name="T60" fmla="*/ 2147483647 w 380"/>
              <a:gd name="T61" fmla="*/ 2147483647 h 380"/>
              <a:gd name="T62" fmla="*/ 2147483647 w 380"/>
              <a:gd name="T63" fmla="*/ 2147483647 h 380"/>
              <a:gd name="T64" fmla="*/ 2147483647 w 380"/>
              <a:gd name="T65" fmla="*/ 2147483647 h 380"/>
              <a:gd name="T66" fmla="*/ 2147483647 w 380"/>
              <a:gd name="T67" fmla="*/ 2147483647 h 380"/>
              <a:gd name="T68" fmla="*/ 2147483647 w 380"/>
              <a:gd name="T69" fmla="*/ 2147483647 h 380"/>
              <a:gd name="T70" fmla="*/ 2147483647 w 380"/>
              <a:gd name="T71" fmla="*/ 2147483647 h 380"/>
              <a:gd name="T72" fmla="*/ 2147483647 w 380"/>
              <a:gd name="T73" fmla="*/ 2147483647 h 380"/>
              <a:gd name="T74" fmla="*/ 2147483647 w 380"/>
              <a:gd name="T75" fmla="*/ 2147483647 h 380"/>
              <a:gd name="T76" fmla="*/ 2147483647 w 380"/>
              <a:gd name="T77" fmla="*/ 2147483647 h 380"/>
              <a:gd name="T78" fmla="*/ 2147483647 w 380"/>
              <a:gd name="T79" fmla="*/ 2147483647 h 380"/>
              <a:gd name="T80" fmla="*/ 2147483647 w 380"/>
              <a:gd name="T81" fmla="*/ 2147483647 h 380"/>
              <a:gd name="T82" fmla="*/ 2147483647 w 380"/>
              <a:gd name="T83" fmla="*/ 2147483647 h 380"/>
              <a:gd name="T84" fmla="*/ 2147483647 w 380"/>
              <a:gd name="T85" fmla="*/ 2147483647 h 380"/>
              <a:gd name="T86" fmla="*/ 2147483647 w 380"/>
              <a:gd name="T87" fmla="*/ 2147483647 h 380"/>
              <a:gd name="T88" fmla="*/ 2147483647 w 380"/>
              <a:gd name="T89" fmla="*/ 2147483647 h 380"/>
              <a:gd name="T90" fmla="*/ 2147483647 w 380"/>
              <a:gd name="T91" fmla="*/ 2147483647 h 380"/>
              <a:gd name="T92" fmla="*/ 2147483647 w 380"/>
              <a:gd name="T93" fmla="*/ 2147483647 h 380"/>
              <a:gd name="T94" fmla="*/ 2147483647 w 380"/>
              <a:gd name="T95" fmla="*/ 2147483647 h 380"/>
              <a:gd name="T96" fmla="*/ 2147483647 w 380"/>
              <a:gd name="T97" fmla="*/ 2147483647 h 380"/>
              <a:gd name="T98" fmla="*/ 2147483647 w 380"/>
              <a:gd name="T99" fmla="*/ 2147483647 h 380"/>
              <a:gd name="T100" fmla="*/ 2147483647 w 380"/>
              <a:gd name="T101" fmla="*/ 2147483647 h 380"/>
              <a:gd name="T102" fmla="*/ 2147483647 w 380"/>
              <a:gd name="T103" fmla="*/ 2147483647 h 380"/>
              <a:gd name="T104" fmla="*/ 2147483647 w 380"/>
              <a:gd name="T105" fmla="*/ 2147483647 h 380"/>
              <a:gd name="T106" fmla="*/ 2147483647 w 380"/>
              <a:gd name="T107" fmla="*/ 2147483647 h 380"/>
              <a:gd name="T108" fmla="*/ 2147483647 w 380"/>
              <a:gd name="T109" fmla="*/ 2147483647 h 380"/>
              <a:gd name="T110" fmla="*/ 2147483647 w 380"/>
              <a:gd name="T111" fmla="*/ 2147483647 h 380"/>
              <a:gd name="T112" fmla="*/ 2147483647 w 380"/>
              <a:gd name="T113" fmla="*/ 2147483647 h 380"/>
              <a:gd name="T114" fmla="*/ 2147483647 w 380"/>
              <a:gd name="T115" fmla="*/ 2147483647 h 380"/>
              <a:gd name="T116" fmla="*/ 2147483647 w 380"/>
              <a:gd name="T117" fmla="*/ 2147483647 h 380"/>
              <a:gd name="T118" fmla="*/ 2147483647 w 380"/>
              <a:gd name="T119" fmla="*/ 2147483647 h 380"/>
              <a:gd name="T120" fmla="*/ 2147483647 w 380"/>
              <a:gd name="T121" fmla="*/ 2147483647 h 380"/>
              <a:gd name="T122" fmla="*/ 2147483647 w 380"/>
              <a:gd name="T123" fmla="*/ 2147483647 h 38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80" h="380">
                <a:moveTo>
                  <a:pt x="310" y="136"/>
                </a:moveTo>
                <a:cubicBezTo>
                  <a:pt x="309" y="134"/>
                  <a:pt x="309" y="134"/>
                  <a:pt x="309" y="134"/>
                </a:cubicBezTo>
                <a:cubicBezTo>
                  <a:pt x="308" y="132"/>
                  <a:pt x="306" y="132"/>
                  <a:pt x="304" y="133"/>
                </a:cubicBezTo>
                <a:cubicBezTo>
                  <a:pt x="302" y="134"/>
                  <a:pt x="302" y="134"/>
                  <a:pt x="302" y="134"/>
                </a:cubicBezTo>
                <a:cubicBezTo>
                  <a:pt x="300" y="132"/>
                  <a:pt x="297" y="130"/>
                  <a:pt x="294" y="129"/>
                </a:cubicBezTo>
                <a:cubicBezTo>
                  <a:pt x="294" y="126"/>
                  <a:pt x="294" y="126"/>
                  <a:pt x="294" y="126"/>
                </a:cubicBezTo>
                <a:cubicBezTo>
                  <a:pt x="294" y="124"/>
                  <a:pt x="292" y="123"/>
                  <a:pt x="290" y="123"/>
                </a:cubicBezTo>
                <a:cubicBezTo>
                  <a:pt x="288" y="123"/>
                  <a:pt x="288" y="123"/>
                  <a:pt x="288" y="123"/>
                </a:cubicBezTo>
                <a:cubicBezTo>
                  <a:pt x="286" y="123"/>
                  <a:pt x="284" y="124"/>
                  <a:pt x="284" y="126"/>
                </a:cubicBezTo>
                <a:cubicBezTo>
                  <a:pt x="284" y="129"/>
                  <a:pt x="284" y="129"/>
                  <a:pt x="284" y="129"/>
                </a:cubicBezTo>
                <a:cubicBezTo>
                  <a:pt x="282" y="129"/>
                  <a:pt x="281" y="130"/>
                  <a:pt x="279" y="130"/>
                </a:cubicBezTo>
                <a:cubicBezTo>
                  <a:pt x="278" y="131"/>
                  <a:pt x="277" y="132"/>
                  <a:pt x="275" y="133"/>
                </a:cubicBezTo>
                <a:cubicBezTo>
                  <a:pt x="273" y="132"/>
                  <a:pt x="273" y="132"/>
                  <a:pt x="273" y="132"/>
                </a:cubicBezTo>
                <a:cubicBezTo>
                  <a:pt x="272" y="131"/>
                  <a:pt x="269" y="132"/>
                  <a:pt x="268" y="133"/>
                </a:cubicBezTo>
                <a:cubicBezTo>
                  <a:pt x="267" y="135"/>
                  <a:pt x="267" y="135"/>
                  <a:pt x="267" y="135"/>
                </a:cubicBezTo>
                <a:cubicBezTo>
                  <a:pt x="266" y="137"/>
                  <a:pt x="266" y="140"/>
                  <a:pt x="268" y="141"/>
                </a:cubicBezTo>
                <a:cubicBezTo>
                  <a:pt x="270" y="142"/>
                  <a:pt x="270" y="142"/>
                  <a:pt x="270" y="142"/>
                </a:cubicBezTo>
                <a:cubicBezTo>
                  <a:pt x="270" y="145"/>
                  <a:pt x="269" y="148"/>
                  <a:pt x="270" y="151"/>
                </a:cubicBezTo>
                <a:cubicBezTo>
                  <a:pt x="268" y="153"/>
                  <a:pt x="268" y="153"/>
                  <a:pt x="268" y="153"/>
                </a:cubicBezTo>
                <a:cubicBezTo>
                  <a:pt x="266" y="154"/>
                  <a:pt x="266" y="156"/>
                  <a:pt x="267" y="158"/>
                </a:cubicBezTo>
                <a:cubicBezTo>
                  <a:pt x="267" y="159"/>
                  <a:pt x="267" y="159"/>
                  <a:pt x="267" y="159"/>
                </a:cubicBezTo>
                <a:cubicBezTo>
                  <a:pt x="268" y="161"/>
                  <a:pt x="271" y="162"/>
                  <a:pt x="272" y="161"/>
                </a:cubicBezTo>
                <a:cubicBezTo>
                  <a:pt x="275" y="159"/>
                  <a:pt x="275" y="159"/>
                  <a:pt x="275" y="159"/>
                </a:cubicBezTo>
                <a:cubicBezTo>
                  <a:pt x="277" y="162"/>
                  <a:pt x="280" y="163"/>
                  <a:pt x="283" y="164"/>
                </a:cubicBezTo>
                <a:cubicBezTo>
                  <a:pt x="283" y="167"/>
                  <a:pt x="283" y="167"/>
                  <a:pt x="283" y="167"/>
                </a:cubicBezTo>
                <a:cubicBezTo>
                  <a:pt x="283" y="169"/>
                  <a:pt x="284" y="170"/>
                  <a:pt x="286" y="171"/>
                </a:cubicBezTo>
                <a:cubicBezTo>
                  <a:pt x="289" y="171"/>
                  <a:pt x="289" y="171"/>
                  <a:pt x="289" y="171"/>
                </a:cubicBezTo>
                <a:cubicBezTo>
                  <a:pt x="291" y="171"/>
                  <a:pt x="293" y="169"/>
                  <a:pt x="293" y="167"/>
                </a:cubicBezTo>
                <a:cubicBezTo>
                  <a:pt x="293" y="165"/>
                  <a:pt x="293" y="165"/>
                  <a:pt x="293" y="165"/>
                </a:cubicBezTo>
                <a:cubicBezTo>
                  <a:pt x="294" y="164"/>
                  <a:pt x="296" y="164"/>
                  <a:pt x="297" y="163"/>
                </a:cubicBezTo>
                <a:cubicBezTo>
                  <a:pt x="299" y="162"/>
                  <a:pt x="300" y="161"/>
                  <a:pt x="301" y="160"/>
                </a:cubicBezTo>
                <a:cubicBezTo>
                  <a:pt x="303" y="161"/>
                  <a:pt x="303" y="161"/>
                  <a:pt x="303" y="161"/>
                </a:cubicBezTo>
                <a:cubicBezTo>
                  <a:pt x="305" y="162"/>
                  <a:pt x="307" y="162"/>
                  <a:pt x="308" y="160"/>
                </a:cubicBezTo>
                <a:cubicBezTo>
                  <a:pt x="309" y="158"/>
                  <a:pt x="309" y="158"/>
                  <a:pt x="309" y="158"/>
                </a:cubicBezTo>
                <a:cubicBezTo>
                  <a:pt x="311" y="156"/>
                  <a:pt x="310" y="154"/>
                  <a:pt x="308" y="153"/>
                </a:cubicBezTo>
                <a:cubicBezTo>
                  <a:pt x="306" y="151"/>
                  <a:pt x="306" y="151"/>
                  <a:pt x="306" y="151"/>
                </a:cubicBezTo>
                <a:cubicBezTo>
                  <a:pt x="307" y="148"/>
                  <a:pt x="307" y="145"/>
                  <a:pt x="306" y="142"/>
                </a:cubicBezTo>
                <a:cubicBezTo>
                  <a:pt x="308" y="141"/>
                  <a:pt x="308" y="141"/>
                  <a:pt x="308" y="141"/>
                </a:cubicBezTo>
                <a:cubicBezTo>
                  <a:pt x="310" y="140"/>
                  <a:pt x="311" y="137"/>
                  <a:pt x="310" y="136"/>
                </a:cubicBezTo>
                <a:close/>
                <a:moveTo>
                  <a:pt x="296" y="153"/>
                </a:moveTo>
                <a:cubicBezTo>
                  <a:pt x="293" y="158"/>
                  <a:pt x="286" y="158"/>
                  <a:pt x="281" y="155"/>
                </a:cubicBezTo>
                <a:cubicBezTo>
                  <a:pt x="277" y="151"/>
                  <a:pt x="276" y="144"/>
                  <a:pt x="280" y="140"/>
                </a:cubicBezTo>
                <a:cubicBezTo>
                  <a:pt x="284" y="135"/>
                  <a:pt x="291" y="135"/>
                  <a:pt x="295" y="138"/>
                </a:cubicBezTo>
                <a:cubicBezTo>
                  <a:pt x="300" y="142"/>
                  <a:pt x="300" y="149"/>
                  <a:pt x="296" y="153"/>
                </a:cubicBezTo>
                <a:close/>
                <a:moveTo>
                  <a:pt x="336" y="68"/>
                </a:moveTo>
                <a:cubicBezTo>
                  <a:pt x="333" y="65"/>
                  <a:pt x="328" y="64"/>
                  <a:pt x="325" y="67"/>
                </a:cubicBezTo>
                <a:cubicBezTo>
                  <a:pt x="321" y="70"/>
                  <a:pt x="321" y="75"/>
                  <a:pt x="324" y="78"/>
                </a:cubicBezTo>
                <a:cubicBezTo>
                  <a:pt x="349" y="108"/>
                  <a:pt x="364" y="147"/>
                  <a:pt x="364" y="190"/>
                </a:cubicBezTo>
                <a:cubicBezTo>
                  <a:pt x="364" y="225"/>
                  <a:pt x="353" y="259"/>
                  <a:pt x="335" y="286"/>
                </a:cubicBezTo>
                <a:cubicBezTo>
                  <a:pt x="333" y="288"/>
                  <a:pt x="329" y="289"/>
                  <a:pt x="326" y="285"/>
                </a:cubicBezTo>
                <a:cubicBezTo>
                  <a:pt x="299" y="258"/>
                  <a:pt x="299" y="258"/>
                  <a:pt x="299" y="258"/>
                </a:cubicBezTo>
                <a:cubicBezTo>
                  <a:pt x="296" y="255"/>
                  <a:pt x="296" y="251"/>
                  <a:pt x="296" y="251"/>
                </a:cubicBezTo>
                <a:cubicBezTo>
                  <a:pt x="302" y="229"/>
                  <a:pt x="302" y="229"/>
                  <a:pt x="302" y="229"/>
                </a:cubicBezTo>
                <a:cubicBezTo>
                  <a:pt x="303" y="226"/>
                  <a:pt x="302" y="224"/>
                  <a:pt x="301" y="222"/>
                </a:cubicBezTo>
                <a:cubicBezTo>
                  <a:pt x="259" y="181"/>
                  <a:pt x="259" y="181"/>
                  <a:pt x="259" y="181"/>
                </a:cubicBezTo>
                <a:cubicBezTo>
                  <a:pt x="258" y="179"/>
                  <a:pt x="255" y="178"/>
                  <a:pt x="253" y="179"/>
                </a:cubicBezTo>
                <a:cubicBezTo>
                  <a:pt x="233" y="184"/>
                  <a:pt x="233" y="184"/>
                  <a:pt x="233" y="184"/>
                </a:cubicBezTo>
                <a:cubicBezTo>
                  <a:pt x="233" y="184"/>
                  <a:pt x="226" y="186"/>
                  <a:pt x="231" y="191"/>
                </a:cubicBezTo>
                <a:cubicBezTo>
                  <a:pt x="237" y="196"/>
                  <a:pt x="258" y="218"/>
                  <a:pt x="258" y="218"/>
                </a:cubicBezTo>
                <a:cubicBezTo>
                  <a:pt x="259" y="219"/>
                  <a:pt x="260" y="220"/>
                  <a:pt x="259" y="221"/>
                </a:cubicBezTo>
                <a:cubicBezTo>
                  <a:pt x="251" y="251"/>
                  <a:pt x="251" y="251"/>
                  <a:pt x="251" y="251"/>
                </a:cubicBezTo>
                <a:cubicBezTo>
                  <a:pt x="251" y="252"/>
                  <a:pt x="250" y="253"/>
                  <a:pt x="249" y="254"/>
                </a:cubicBezTo>
                <a:cubicBezTo>
                  <a:pt x="219" y="262"/>
                  <a:pt x="219" y="262"/>
                  <a:pt x="219" y="262"/>
                </a:cubicBezTo>
                <a:cubicBezTo>
                  <a:pt x="217" y="262"/>
                  <a:pt x="216" y="262"/>
                  <a:pt x="215" y="261"/>
                </a:cubicBezTo>
                <a:cubicBezTo>
                  <a:pt x="215" y="261"/>
                  <a:pt x="193" y="239"/>
                  <a:pt x="188" y="234"/>
                </a:cubicBezTo>
                <a:cubicBezTo>
                  <a:pt x="183" y="229"/>
                  <a:pt x="182" y="236"/>
                  <a:pt x="182" y="236"/>
                </a:cubicBezTo>
                <a:cubicBezTo>
                  <a:pt x="176" y="255"/>
                  <a:pt x="176" y="255"/>
                  <a:pt x="176" y="255"/>
                </a:cubicBezTo>
                <a:cubicBezTo>
                  <a:pt x="176" y="258"/>
                  <a:pt x="176" y="260"/>
                  <a:pt x="178" y="262"/>
                </a:cubicBezTo>
                <a:cubicBezTo>
                  <a:pt x="219" y="303"/>
                  <a:pt x="219" y="303"/>
                  <a:pt x="219" y="303"/>
                </a:cubicBezTo>
                <a:cubicBezTo>
                  <a:pt x="221" y="305"/>
                  <a:pt x="224" y="306"/>
                  <a:pt x="226" y="305"/>
                </a:cubicBezTo>
                <a:cubicBezTo>
                  <a:pt x="248" y="299"/>
                  <a:pt x="248" y="299"/>
                  <a:pt x="248" y="299"/>
                </a:cubicBezTo>
                <a:cubicBezTo>
                  <a:pt x="249" y="299"/>
                  <a:pt x="252" y="298"/>
                  <a:pt x="255" y="301"/>
                </a:cubicBezTo>
                <a:cubicBezTo>
                  <a:pt x="282" y="328"/>
                  <a:pt x="282" y="328"/>
                  <a:pt x="282" y="328"/>
                </a:cubicBezTo>
                <a:cubicBezTo>
                  <a:pt x="286" y="332"/>
                  <a:pt x="285" y="335"/>
                  <a:pt x="282" y="337"/>
                </a:cubicBezTo>
                <a:cubicBezTo>
                  <a:pt x="255" y="354"/>
                  <a:pt x="224" y="364"/>
                  <a:pt x="190" y="364"/>
                </a:cubicBezTo>
                <a:cubicBezTo>
                  <a:pt x="142" y="364"/>
                  <a:pt x="99" y="344"/>
                  <a:pt x="67" y="313"/>
                </a:cubicBezTo>
                <a:cubicBezTo>
                  <a:pt x="36" y="281"/>
                  <a:pt x="16" y="238"/>
                  <a:pt x="16" y="190"/>
                </a:cubicBezTo>
                <a:cubicBezTo>
                  <a:pt x="16" y="142"/>
                  <a:pt x="36" y="98"/>
                  <a:pt x="67" y="67"/>
                </a:cubicBezTo>
                <a:cubicBezTo>
                  <a:pt x="99" y="35"/>
                  <a:pt x="142" y="16"/>
                  <a:pt x="190" y="16"/>
                </a:cubicBezTo>
                <a:cubicBezTo>
                  <a:pt x="233" y="16"/>
                  <a:pt x="272" y="31"/>
                  <a:pt x="302" y="57"/>
                </a:cubicBezTo>
                <a:cubicBezTo>
                  <a:pt x="305" y="59"/>
                  <a:pt x="310" y="59"/>
                  <a:pt x="313" y="56"/>
                </a:cubicBezTo>
                <a:cubicBezTo>
                  <a:pt x="316" y="52"/>
                  <a:pt x="316" y="47"/>
                  <a:pt x="312" y="44"/>
                </a:cubicBezTo>
                <a:cubicBezTo>
                  <a:pt x="312" y="44"/>
                  <a:pt x="312" y="44"/>
                  <a:pt x="312" y="44"/>
                </a:cubicBezTo>
                <a:cubicBezTo>
                  <a:pt x="279" y="17"/>
                  <a:pt x="237" y="0"/>
                  <a:pt x="190" y="0"/>
                </a:cubicBezTo>
                <a:cubicBezTo>
                  <a:pt x="85" y="0"/>
                  <a:pt x="0" y="85"/>
                  <a:pt x="0" y="190"/>
                </a:cubicBezTo>
                <a:cubicBezTo>
                  <a:pt x="0" y="295"/>
                  <a:pt x="85" y="380"/>
                  <a:pt x="190" y="380"/>
                </a:cubicBezTo>
                <a:cubicBezTo>
                  <a:pt x="224" y="380"/>
                  <a:pt x="255" y="371"/>
                  <a:pt x="282" y="356"/>
                </a:cubicBezTo>
                <a:cubicBezTo>
                  <a:pt x="283" y="356"/>
                  <a:pt x="283" y="356"/>
                  <a:pt x="283" y="356"/>
                </a:cubicBezTo>
                <a:cubicBezTo>
                  <a:pt x="284" y="355"/>
                  <a:pt x="284" y="355"/>
                  <a:pt x="284" y="355"/>
                </a:cubicBezTo>
                <a:cubicBezTo>
                  <a:pt x="341" y="322"/>
                  <a:pt x="380" y="261"/>
                  <a:pt x="380" y="190"/>
                </a:cubicBezTo>
                <a:cubicBezTo>
                  <a:pt x="380" y="143"/>
                  <a:pt x="363" y="101"/>
                  <a:pt x="336" y="68"/>
                </a:cubicBezTo>
                <a:close/>
                <a:moveTo>
                  <a:pt x="247" y="105"/>
                </a:moveTo>
                <a:cubicBezTo>
                  <a:pt x="250" y="105"/>
                  <a:pt x="250" y="105"/>
                  <a:pt x="250" y="105"/>
                </a:cubicBezTo>
                <a:cubicBezTo>
                  <a:pt x="252" y="105"/>
                  <a:pt x="254" y="103"/>
                  <a:pt x="254" y="101"/>
                </a:cubicBezTo>
                <a:cubicBezTo>
                  <a:pt x="254" y="99"/>
                  <a:pt x="254" y="99"/>
                  <a:pt x="254" y="99"/>
                </a:cubicBezTo>
                <a:cubicBezTo>
                  <a:pt x="255" y="99"/>
                  <a:pt x="257" y="98"/>
                  <a:pt x="258" y="97"/>
                </a:cubicBezTo>
                <a:cubicBezTo>
                  <a:pt x="260" y="96"/>
                  <a:pt x="261" y="95"/>
                  <a:pt x="262" y="94"/>
                </a:cubicBezTo>
                <a:cubicBezTo>
                  <a:pt x="264" y="95"/>
                  <a:pt x="264" y="95"/>
                  <a:pt x="264" y="95"/>
                </a:cubicBezTo>
                <a:cubicBezTo>
                  <a:pt x="266" y="96"/>
                  <a:pt x="268" y="96"/>
                  <a:pt x="269" y="94"/>
                </a:cubicBezTo>
                <a:cubicBezTo>
                  <a:pt x="271" y="92"/>
                  <a:pt x="271" y="92"/>
                  <a:pt x="271" y="92"/>
                </a:cubicBezTo>
                <a:cubicBezTo>
                  <a:pt x="272" y="90"/>
                  <a:pt x="271" y="88"/>
                  <a:pt x="269" y="87"/>
                </a:cubicBezTo>
                <a:cubicBezTo>
                  <a:pt x="267" y="86"/>
                  <a:pt x="267" y="86"/>
                  <a:pt x="267" y="86"/>
                </a:cubicBezTo>
                <a:cubicBezTo>
                  <a:pt x="268" y="83"/>
                  <a:pt x="268" y="79"/>
                  <a:pt x="267" y="76"/>
                </a:cubicBezTo>
                <a:cubicBezTo>
                  <a:pt x="270" y="75"/>
                  <a:pt x="270" y="75"/>
                  <a:pt x="270" y="75"/>
                </a:cubicBezTo>
                <a:cubicBezTo>
                  <a:pt x="271" y="74"/>
                  <a:pt x="272" y="72"/>
                  <a:pt x="271" y="70"/>
                </a:cubicBezTo>
                <a:cubicBezTo>
                  <a:pt x="270" y="68"/>
                  <a:pt x="270" y="68"/>
                  <a:pt x="270" y="68"/>
                </a:cubicBezTo>
                <a:cubicBezTo>
                  <a:pt x="269" y="67"/>
                  <a:pt x="267" y="66"/>
                  <a:pt x="265" y="67"/>
                </a:cubicBezTo>
                <a:cubicBezTo>
                  <a:pt x="263" y="68"/>
                  <a:pt x="263" y="68"/>
                  <a:pt x="263" y="68"/>
                </a:cubicBezTo>
                <a:cubicBezTo>
                  <a:pt x="261" y="66"/>
                  <a:pt x="258" y="64"/>
                  <a:pt x="255" y="63"/>
                </a:cubicBezTo>
                <a:cubicBezTo>
                  <a:pt x="255" y="61"/>
                  <a:pt x="255" y="61"/>
                  <a:pt x="255" y="61"/>
                </a:cubicBezTo>
                <a:cubicBezTo>
                  <a:pt x="255" y="59"/>
                  <a:pt x="253" y="57"/>
                  <a:pt x="251" y="57"/>
                </a:cubicBezTo>
                <a:cubicBezTo>
                  <a:pt x="249" y="57"/>
                  <a:pt x="249" y="57"/>
                  <a:pt x="249" y="57"/>
                </a:cubicBezTo>
                <a:cubicBezTo>
                  <a:pt x="247" y="57"/>
                  <a:pt x="245" y="58"/>
                  <a:pt x="245" y="61"/>
                </a:cubicBezTo>
                <a:cubicBezTo>
                  <a:pt x="245" y="63"/>
                  <a:pt x="245" y="63"/>
                  <a:pt x="245" y="63"/>
                </a:cubicBezTo>
                <a:cubicBezTo>
                  <a:pt x="243" y="63"/>
                  <a:pt x="242" y="64"/>
                  <a:pt x="240" y="65"/>
                </a:cubicBezTo>
                <a:cubicBezTo>
                  <a:pt x="239" y="65"/>
                  <a:pt x="238" y="66"/>
                  <a:pt x="236" y="68"/>
                </a:cubicBezTo>
                <a:cubicBezTo>
                  <a:pt x="235" y="66"/>
                  <a:pt x="235" y="66"/>
                  <a:pt x="235" y="66"/>
                </a:cubicBezTo>
                <a:cubicBezTo>
                  <a:pt x="233" y="65"/>
                  <a:pt x="230" y="66"/>
                  <a:pt x="229" y="68"/>
                </a:cubicBezTo>
                <a:cubicBezTo>
                  <a:pt x="228" y="70"/>
                  <a:pt x="228" y="70"/>
                  <a:pt x="228" y="70"/>
                </a:cubicBezTo>
                <a:cubicBezTo>
                  <a:pt x="227" y="71"/>
                  <a:pt x="228" y="74"/>
                  <a:pt x="229" y="75"/>
                </a:cubicBezTo>
                <a:cubicBezTo>
                  <a:pt x="231" y="76"/>
                  <a:pt x="231" y="76"/>
                  <a:pt x="231" y="76"/>
                </a:cubicBezTo>
                <a:cubicBezTo>
                  <a:pt x="231" y="79"/>
                  <a:pt x="231" y="82"/>
                  <a:pt x="231" y="86"/>
                </a:cubicBezTo>
                <a:cubicBezTo>
                  <a:pt x="229" y="87"/>
                  <a:pt x="229" y="87"/>
                  <a:pt x="229" y="87"/>
                </a:cubicBezTo>
                <a:cubicBezTo>
                  <a:pt x="227" y="88"/>
                  <a:pt x="227" y="90"/>
                  <a:pt x="228" y="92"/>
                </a:cubicBezTo>
                <a:cubicBezTo>
                  <a:pt x="228" y="93"/>
                  <a:pt x="228" y="93"/>
                  <a:pt x="228" y="93"/>
                </a:cubicBezTo>
                <a:cubicBezTo>
                  <a:pt x="229" y="95"/>
                  <a:pt x="232" y="96"/>
                  <a:pt x="234" y="95"/>
                </a:cubicBezTo>
                <a:cubicBezTo>
                  <a:pt x="236" y="94"/>
                  <a:pt x="236" y="94"/>
                  <a:pt x="236" y="94"/>
                </a:cubicBezTo>
                <a:cubicBezTo>
                  <a:pt x="238" y="96"/>
                  <a:pt x="241" y="98"/>
                  <a:pt x="244" y="99"/>
                </a:cubicBezTo>
                <a:cubicBezTo>
                  <a:pt x="244" y="101"/>
                  <a:pt x="244" y="101"/>
                  <a:pt x="244" y="101"/>
                </a:cubicBezTo>
                <a:cubicBezTo>
                  <a:pt x="244" y="103"/>
                  <a:pt x="245" y="105"/>
                  <a:pt x="247" y="105"/>
                </a:cubicBezTo>
                <a:close/>
                <a:moveTo>
                  <a:pt x="243" y="89"/>
                </a:moveTo>
                <a:cubicBezTo>
                  <a:pt x="238" y="85"/>
                  <a:pt x="237" y="78"/>
                  <a:pt x="241" y="74"/>
                </a:cubicBezTo>
                <a:cubicBezTo>
                  <a:pt x="245" y="70"/>
                  <a:pt x="252" y="69"/>
                  <a:pt x="256" y="73"/>
                </a:cubicBezTo>
                <a:cubicBezTo>
                  <a:pt x="261" y="77"/>
                  <a:pt x="261" y="83"/>
                  <a:pt x="257" y="88"/>
                </a:cubicBezTo>
                <a:cubicBezTo>
                  <a:pt x="254" y="92"/>
                  <a:pt x="247" y="93"/>
                  <a:pt x="243" y="89"/>
                </a:cubicBezTo>
                <a:close/>
                <a:moveTo>
                  <a:pt x="147" y="283"/>
                </a:moveTo>
                <a:cubicBezTo>
                  <a:pt x="150" y="283"/>
                  <a:pt x="150" y="283"/>
                  <a:pt x="150" y="283"/>
                </a:cubicBezTo>
                <a:cubicBezTo>
                  <a:pt x="153" y="282"/>
                  <a:pt x="155" y="280"/>
                  <a:pt x="155" y="277"/>
                </a:cubicBezTo>
                <a:cubicBezTo>
                  <a:pt x="155" y="273"/>
                  <a:pt x="155" y="273"/>
                  <a:pt x="155" y="273"/>
                </a:cubicBezTo>
                <a:cubicBezTo>
                  <a:pt x="155" y="270"/>
                  <a:pt x="152" y="268"/>
                  <a:pt x="149" y="268"/>
                </a:cubicBezTo>
                <a:cubicBezTo>
                  <a:pt x="145" y="268"/>
                  <a:pt x="145" y="268"/>
                  <a:pt x="145" y="268"/>
                </a:cubicBezTo>
                <a:cubicBezTo>
                  <a:pt x="144" y="264"/>
                  <a:pt x="141" y="260"/>
                  <a:pt x="137" y="256"/>
                </a:cubicBezTo>
                <a:cubicBezTo>
                  <a:pt x="139" y="253"/>
                  <a:pt x="139" y="253"/>
                  <a:pt x="139" y="253"/>
                </a:cubicBezTo>
                <a:cubicBezTo>
                  <a:pt x="140" y="250"/>
                  <a:pt x="139" y="247"/>
                  <a:pt x="136" y="246"/>
                </a:cubicBezTo>
                <a:cubicBezTo>
                  <a:pt x="134" y="245"/>
                  <a:pt x="134" y="245"/>
                  <a:pt x="134" y="245"/>
                </a:cubicBezTo>
                <a:cubicBezTo>
                  <a:pt x="131" y="243"/>
                  <a:pt x="128" y="244"/>
                  <a:pt x="127" y="247"/>
                </a:cubicBezTo>
                <a:cubicBezTo>
                  <a:pt x="125" y="251"/>
                  <a:pt x="125" y="251"/>
                  <a:pt x="125" y="251"/>
                </a:cubicBezTo>
                <a:cubicBezTo>
                  <a:pt x="120" y="250"/>
                  <a:pt x="115" y="250"/>
                  <a:pt x="111" y="251"/>
                </a:cubicBezTo>
                <a:cubicBezTo>
                  <a:pt x="109" y="248"/>
                  <a:pt x="109" y="248"/>
                  <a:pt x="109" y="248"/>
                </a:cubicBezTo>
                <a:cubicBezTo>
                  <a:pt x="107" y="246"/>
                  <a:pt x="104" y="245"/>
                  <a:pt x="101" y="247"/>
                </a:cubicBezTo>
                <a:cubicBezTo>
                  <a:pt x="98" y="249"/>
                  <a:pt x="98" y="249"/>
                  <a:pt x="98" y="249"/>
                </a:cubicBezTo>
                <a:cubicBezTo>
                  <a:pt x="95" y="251"/>
                  <a:pt x="95" y="254"/>
                  <a:pt x="97" y="257"/>
                </a:cubicBezTo>
                <a:cubicBezTo>
                  <a:pt x="98" y="260"/>
                  <a:pt x="98" y="260"/>
                  <a:pt x="98" y="260"/>
                </a:cubicBezTo>
                <a:cubicBezTo>
                  <a:pt x="97" y="261"/>
                  <a:pt x="96" y="263"/>
                  <a:pt x="94" y="266"/>
                </a:cubicBezTo>
                <a:cubicBezTo>
                  <a:pt x="93" y="268"/>
                  <a:pt x="93" y="270"/>
                  <a:pt x="92" y="273"/>
                </a:cubicBezTo>
                <a:cubicBezTo>
                  <a:pt x="89" y="273"/>
                  <a:pt x="89" y="273"/>
                  <a:pt x="89" y="273"/>
                </a:cubicBezTo>
                <a:cubicBezTo>
                  <a:pt x="86" y="273"/>
                  <a:pt x="83" y="276"/>
                  <a:pt x="84" y="279"/>
                </a:cubicBezTo>
                <a:cubicBezTo>
                  <a:pt x="84" y="282"/>
                  <a:pt x="84" y="282"/>
                  <a:pt x="84" y="282"/>
                </a:cubicBezTo>
                <a:cubicBezTo>
                  <a:pt x="84" y="286"/>
                  <a:pt x="87" y="288"/>
                  <a:pt x="90" y="288"/>
                </a:cubicBezTo>
                <a:cubicBezTo>
                  <a:pt x="93" y="287"/>
                  <a:pt x="93" y="287"/>
                  <a:pt x="93" y="287"/>
                </a:cubicBezTo>
                <a:cubicBezTo>
                  <a:pt x="95" y="292"/>
                  <a:pt x="98" y="296"/>
                  <a:pt x="102" y="299"/>
                </a:cubicBezTo>
                <a:cubicBezTo>
                  <a:pt x="100" y="302"/>
                  <a:pt x="100" y="302"/>
                  <a:pt x="100" y="302"/>
                </a:cubicBezTo>
                <a:cubicBezTo>
                  <a:pt x="99" y="305"/>
                  <a:pt x="100" y="308"/>
                  <a:pt x="103" y="310"/>
                </a:cubicBezTo>
                <a:cubicBezTo>
                  <a:pt x="105" y="311"/>
                  <a:pt x="105" y="311"/>
                  <a:pt x="105" y="311"/>
                </a:cubicBezTo>
                <a:cubicBezTo>
                  <a:pt x="107" y="312"/>
                  <a:pt x="111" y="311"/>
                  <a:pt x="112" y="308"/>
                </a:cubicBezTo>
                <a:cubicBezTo>
                  <a:pt x="114" y="305"/>
                  <a:pt x="114" y="305"/>
                  <a:pt x="114" y="305"/>
                </a:cubicBezTo>
                <a:cubicBezTo>
                  <a:pt x="119" y="306"/>
                  <a:pt x="123" y="305"/>
                  <a:pt x="128" y="304"/>
                </a:cubicBezTo>
                <a:cubicBezTo>
                  <a:pt x="130" y="307"/>
                  <a:pt x="130" y="307"/>
                  <a:pt x="130" y="307"/>
                </a:cubicBezTo>
                <a:cubicBezTo>
                  <a:pt x="132" y="309"/>
                  <a:pt x="135" y="310"/>
                  <a:pt x="138" y="308"/>
                </a:cubicBezTo>
                <a:cubicBezTo>
                  <a:pt x="141" y="306"/>
                  <a:pt x="141" y="306"/>
                  <a:pt x="141" y="306"/>
                </a:cubicBezTo>
                <a:cubicBezTo>
                  <a:pt x="143" y="305"/>
                  <a:pt x="144" y="301"/>
                  <a:pt x="142" y="299"/>
                </a:cubicBezTo>
                <a:cubicBezTo>
                  <a:pt x="140" y="296"/>
                  <a:pt x="140" y="296"/>
                  <a:pt x="140" y="296"/>
                </a:cubicBezTo>
                <a:cubicBezTo>
                  <a:pt x="142" y="294"/>
                  <a:pt x="143" y="292"/>
                  <a:pt x="144" y="290"/>
                </a:cubicBezTo>
                <a:cubicBezTo>
                  <a:pt x="145" y="287"/>
                  <a:pt x="146" y="285"/>
                  <a:pt x="147" y="283"/>
                </a:cubicBezTo>
                <a:close/>
                <a:moveTo>
                  <a:pt x="132" y="289"/>
                </a:moveTo>
                <a:cubicBezTo>
                  <a:pt x="126" y="296"/>
                  <a:pt x="115" y="297"/>
                  <a:pt x="108" y="291"/>
                </a:cubicBezTo>
                <a:cubicBezTo>
                  <a:pt x="101" y="285"/>
                  <a:pt x="100" y="274"/>
                  <a:pt x="106" y="267"/>
                </a:cubicBezTo>
                <a:cubicBezTo>
                  <a:pt x="112" y="259"/>
                  <a:pt x="123" y="258"/>
                  <a:pt x="130" y="265"/>
                </a:cubicBezTo>
                <a:cubicBezTo>
                  <a:pt x="138" y="271"/>
                  <a:pt x="139" y="282"/>
                  <a:pt x="132" y="289"/>
                </a:cubicBezTo>
                <a:close/>
                <a:moveTo>
                  <a:pt x="201" y="155"/>
                </a:moveTo>
                <a:cubicBezTo>
                  <a:pt x="201" y="154"/>
                  <a:pt x="201" y="154"/>
                  <a:pt x="201" y="153"/>
                </a:cubicBezTo>
                <a:cubicBezTo>
                  <a:pt x="202" y="153"/>
                  <a:pt x="202" y="152"/>
                  <a:pt x="202" y="151"/>
                </a:cubicBezTo>
                <a:cubicBezTo>
                  <a:pt x="202" y="151"/>
                  <a:pt x="202" y="151"/>
                  <a:pt x="202" y="151"/>
                </a:cubicBezTo>
                <a:cubicBezTo>
                  <a:pt x="208" y="151"/>
                  <a:pt x="208" y="151"/>
                  <a:pt x="208" y="151"/>
                </a:cubicBezTo>
                <a:cubicBezTo>
                  <a:pt x="211" y="151"/>
                  <a:pt x="214" y="148"/>
                  <a:pt x="214" y="145"/>
                </a:cubicBezTo>
                <a:cubicBezTo>
                  <a:pt x="214" y="135"/>
                  <a:pt x="214" y="135"/>
                  <a:pt x="214" y="135"/>
                </a:cubicBezTo>
                <a:cubicBezTo>
                  <a:pt x="214" y="132"/>
                  <a:pt x="211" y="129"/>
                  <a:pt x="208" y="129"/>
                </a:cubicBezTo>
                <a:cubicBezTo>
                  <a:pt x="202" y="129"/>
                  <a:pt x="202" y="129"/>
                  <a:pt x="202" y="129"/>
                </a:cubicBezTo>
                <a:cubicBezTo>
                  <a:pt x="201" y="125"/>
                  <a:pt x="200" y="120"/>
                  <a:pt x="198" y="115"/>
                </a:cubicBezTo>
                <a:cubicBezTo>
                  <a:pt x="196" y="111"/>
                  <a:pt x="194" y="107"/>
                  <a:pt x="192" y="104"/>
                </a:cubicBezTo>
                <a:cubicBezTo>
                  <a:pt x="196" y="100"/>
                  <a:pt x="196" y="100"/>
                  <a:pt x="196" y="100"/>
                </a:cubicBezTo>
                <a:cubicBezTo>
                  <a:pt x="198" y="98"/>
                  <a:pt x="198" y="94"/>
                  <a:pt x="196" y="92"/>
                </a:cubicBezTo>
                <a:cubicBezTo>
                  <a:pt x="189" y="85"/>
                  <a:pt x="189" y="85"/>
                  <a:pt x="189" y="85"/>
                </a:cubicBezTo>
                <a:cubicBezTo>
                  <a:pt x="186" y="82"/>
                  <a:pt x="183" y="82"/>
                  <a:pt x="180" y="85"/>
                </a:cubicBezTo>
                <a:cubicBezTo>
                  <a:pt x="176" y="88"/>
                  <a:pt x="176" y="88"/>
                  <a:pt x="176" y="88"/>
                </a:cubicBezTo>
                <a:cubicBezTo>
                  <a:pt x="169" y="83"/>
                  <a:pt x="160" y="79"/>
                  <a:pt x="151" y="78"/>
                </a:cubicBezTo>
                <a:cubicBezTo>
                  <a:pt x="151" y="72"/>
                  <a:pt x="151" y="72"/>
                  <a:pt x="151" y="72"/>
                </a:cubicBezTo>
                <a:cubicBezTo>
                  <a:pt x="151" y="69"/>
                  <a:pt x="148" y="66"/>
                  <a:pt x="145" y="66"/>
                </a:cubicBezTo>
                <a:cubicBezTo>
                  <a:pt x="135" y="67"/>
                  <a:pt x="135" y="67"/>
                  <a:pt x="135" y="67"/>
                </a:cubicBezTo>
                <a:cubicBezTo>
                  <a:pt x="132" y="67"/>
                  <a:pt x="129" y="69"/>
                  <a:pt x="129" y="72"/>
                </a:cubicBezTo>
                <a:cubicBezTo>
                  <a:pt x="129" y="78"/>
                  <a:pt x="129" y="78"/>
                  <a:pt x="129" y="78"/>
                </a:cubicBezTo>
                <a:cubicBezTo>
                  <a:pt x="125" y="78"/>
                  <a:pt x="120" y="80"/>
                  <a:pt x="115" y="82"/>
                </a:cubicBezTo>
                <a:cubicBezTo>
                  <a:pt x="111" y="84"/>
                  <a:pt x="107" y="86"/>
                  <a:pt x="103" y="88"/>
                </a:cubicBezTo>
                <a:cubicBezTo>
                  <a:pt x="100" y="85"/>
                  <a:pt x="100" y="85"/>
                  <a:pt x="100" y="85"/>
                </a:cubicBezTo>
                <a:cubicBezTo>
                  <a:pt x="97" y="82"/>
                  <a:pt x="94" y="82"/>
                  <a:pt x="91" y="85"/>
                </a:cubicBezTo>
                <a:cubicBezTo>
                  <a:pt x="84" y="92"/>
                  <a:pt x="84" y="92"/>
                  <a:pt x="84" y="92"/>
                </a:cubicBezTo>
                <a:cubicBezTo>
                  <a:pt x="82" y="94"/>
                  <a:pt x="82" y="98"/>
                  <a:pt x="84" y="100"/>
                </a:cubicBezTo>
                <a:cubicBezTo>
                  <a:pt x="88" y="104"/>
                  <a:pt x="88" y="104"/>
                  <a:pt x="88" y="104"/>
                </a:cubicBezTo>
                <a:cubicBezTo>
                  <a:pt x="83" y="111"/>
                  <a:pt x="79" y="120"/>
                  <a:pt x="78" y="130"/>
                </a:cubicBezTo>
                <a:cubicBezTo>
                  <a:pt x="72" y="130"/>
                  <a:pt x="72" y="130"/>
                  <a:pt x="72" y="130"/>
                </a:cubicBezTo>
                <a:cubicBezTo>
                  <a:pt x="69" y="130"/>
                  <a:pt x="66" y="132"/>
                  <a:pt x="66" y="135"/>
                </a:cubicBezTo>
                <a:cubicBezTo>
                  <a:pt x="66" y="145"/>
                  <a:pt x="66" y="145"/>
                  <a:pt x="66" y="145"/>
                </a:cubicBezTo>
                <a:cubicBezTo>
                  <a:pt x="66" y="148"/>
                  <a:pt x="69" y="151"/>
                  <a:pt x="72" y="151"/>
                </a:cubicBezTo>
                <a:cubicBezTo>
                  <a:pt x="78" y="151"/>
                  <a:pt x="78" y="151"/>
                  <a:pt x="78" y="151"/>
                </a:cubicBezTo>
                <a:cubicBezTo>
                  <a:pt x="79" y="156"/>
                  <a:pt x="80" y="160"/>
                  <a:pt x="82" y="164"/>
                </a:cubicBezTo>
                <a:cubicBezTo>
                  <a:pt x="84" y="169"/>
                  <a:pt x="86" y="173"/>
                  <a:pt x="89" y="177"/>
                </a:cubicBezTo>
                <a:cubicBezTo>
                  <a:pt x="84" y="181"/>
                  <a:pt x="84" y="181"/>
                  <a:pt x="84" y="181"/>
                </a:cubicBezTo>
                <a:cubicBezTo>
                  <a:pt x="82" y="183"/>
                  <a:pt x="82" y="187"/>
                  <a:pt x="84" y="189"/>
                </a:cubicBezTo>
                <a:cubicBezTo>
                  <a:pt x="91" y="196"/>
                  <a:pt x="91" y="196"/>
                  <a:pt x="91" y="196"/>
                </a:cubicBezTo>
                <a:cubicBezTo>
                  <a:pt x="94" y="198"/>
                  <a:pt x="97" y="198"/>
                  <a:pt x="100" y="196"/>
                </a:cubicBezTo>
                <a:cubicBezTo>
                  <a:pt x="104" y="192"/>
                  <a:pt x="104" y="192"/>
                  <a:pt x="104" y="192"/>
                </a:cubicBezTo>
                <a:cubicBezTo>
                  <a:pt x="104" y="192"/>
                  <a:pt x="104" y="192"/>
                  <a:pt x="104" y="192"/>
                </a:cubicBezTo>
                <a:cubicBezTo>
                  <a:pt x="105" y="192"/>
                  <a:pt x="106" y="193"/>
                  <a:pt x="106" y="193"/>
                </a:cubicBezTo>
                <a:cubicBezTo>
                  <a:pt x="107" y="193"/>
                  <a:pt x="107" y="194"/>
                  <a:pt x="108" y="194"/>
                </a:cubicBezTo>
                <a:cubicBezTo>
                  <a:pt x="108" y="194"/>
                  <a:pt x="108" y="194"/>
                  <a:pt x="108" y="194"/>
                </a:cubicBezTo>
                <a:cubicBezTo>
                  <a:pt x="115" y="198"/>
                  <a:pt x="122" y="201"/>
                  <a:pt x="129" y="202"/>
                </a:cubicBezTo>
                <a:cubicBezTo>
                  <a:pt x="129" y="208"/>
                  <a:pt x="129" y="208"/>
                  <a:pt x="129" y="208"/>
                </a:cubicBezTo>
                <a:cubicBezTo>
                  <a:pt x="129" y="211"/>
                  <a:pt x="132" y="214"/>
                  <a:pt x="135" y="214"/>
                </a:cubicBezTo>
                <a:cubicBezTo>
                  <a:pt x="145" y="214"/>
                  <a:pt x="145" y="214"/>
                  <a:pt x="145" y="214"/>
                </a:cubicBezTo>
                <a:cubicBezTo>
                  <a:pt x="148" y="214"/>
                  <a:pt x="151" y="211"/>
                  <a:pt x="151" y="208"/>
                </a:cubicBezTo>
                <a:cubicBezTo>
                  <a:pt x="151" y="202"/>
                  <a:pt x="151" y="202"/>
                  <a:pt x="151" y="202"/>
                </a:cubicBezTo>
                <a:cubicBezTo>
                  <a:pt x="155" y="201"/>
                  <a:pt x="160" y="200"/>
                  <a:pt x="165" y="198"/>
                </a:cubicBezTo>
                <a:cubicBezTo>
                  <a:pt x="169" y="196"/>
                  <a:pt x="173" y="194"/>
                  <a:pt x="176" y="192"/>
                </a:cubicBezTo>
                <a:cubicBezTo>
                  <a:pt x="180" y="196"/>
                  <a:pt x="180" y="196"/>
                  <a:pt x="180" y="196"/>
                </a:cubicBezTo>
                <a:cubicBezTo>
                  <a:pt x="183" y="198"/>
                  <a:pt x="186" y="198"/>
                  <a:pt x="189" y="196"/>
                </a:cubicBezTo>
                <a:cubicBezTo>
                  <a:pt x="196" y="189"/>
                  <a:pt x="196" y="189"/>
                  <a:pt x="196" y="189"/>
                </a:cubicBezTo>
                <a:cubicBezTo>
                  <a:pt x="198" y="187"/>
                  <a:pt x="198" y="183"/>
                  <a:pt x="196" y="181"/>
                </a:cubicBezTo>
                <a:cubicBezTo>
                  <a:pt x="191" y="176"/>
                  <a:pt x="191" y="176"/>
                  <a:pt x="191" y="176"/>
                </a:cubicBezTo>
                <a:cubicBezTo>
                  <a:pt x="196" y="170"/>
                  <a:pt x="199" y="163"/>
                  <a:pt x="201" y="155"/>
                </a:cubicBezTo>
                <a:cubicBezTo>
                  <a:pt x="201" y="155"/>
                  <a:pt x="201" y="155"/>
                  <a:pt x="201" y="155"/>
                </a:cubicBezTo>
                <a:close/>
                <a:moveTo>
                  <a:pt x="184" y="158"/>
                </a:moveTo>
                <a:cubicBezTo>
                  <a:pt x="180" y="169"/>
                  <a:pt x="171" y="179"/>
                  <a:pt x="159" y="184"/>
                </a:cubicBezTo>
                <a:cubicBezTo>
                  <a:pt x="146" y="189"/>
                  <a:pt x="133" y="189"/>
                  <a:pt x="122" y="184"/>
                </a:cubicBezTo>
                <a:cubicBezTo>
                  <a:pt x="110" y="180"/>
                  <a:pt x="101" y="171"/>
                  <a:pt x="96" y="158"/>
                </a:cubicBezTo>
                <a:cubicBezTo>
                  <a:pt x="91" y="146"/>
                  <a:pt x="91" y="133"/>
                  <a:pt x="95" y="122"/>
                </a:cubicBezTo>
                <a:cubicBezTo>
                  <a:pt x="100" y="110"/>
                  <a:pt x="109" y="101"/>
                  <a:pt x="121" y="96"/>
                </a:cubicBezTo>
                <a:cubicBezTo>
                  <a:pt x="133" y="91"/>
                  <a:pt x="146" y="91"/>
                  <a:pt x="158" y="95"/>
                </a:cubicBezTo>
                <a:cubicBezTo>
                  <a:pt x="169" y="100"/>
                  <a:pt x="179" y="109"/>
                  <a:pt x="184" y="121"/>
                </a:cubicBezTo>
                <a:cubicBezTo>
                  <a:pt x="189" y="133"/>
                  <a:pt x="189" y="146"/>
                  <a:pt x="184" y="158"/>
                </a:cubicBezTo>
                <a:close/>
              </a:path>
            </a:pathLst>
          </a:custGeom>
          <a:solidFill>
            <a:srgbClr val="B1B3B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7" name="Freeform 3"/>
          <p:cNvSpPr>
            <a:spLocks noChangeAspect="1" noEditPoints="1"/>
          </p:cNvSpPr>
          <p:nvPr/>
        </p:nvSpPr>
        <p:spPr bwMode="auto">
          <a:xfrm>
            <a:off x="10301153" y="5637146"/>
            <a:ext cx="364518" cy="478787"/>
          </a:xfrm>
          <a:custGeom>
            <a:avLst/>
            <a:gdLst>
              <a:gd name="T0" fmla="*/ 2147483647 w 270"/>
              <a:gd name="T1" fmla="*/ 2147483647 h 355"/>
              <a:gd name="T2" fmla="*/ 2147483647 w 270"/>
              <a:gd name="T3" fmla="*/ 2147483647 h 355"/>
              <a:gd name="T4" fmla="*/ 2147483647 w 270"/>
              <a:gd name="T5" fmla="*/ 2147483647 h 355"/>
              <a:gd name="T6" fmla="*/ 2147483647 w 270"/>
              <a:gd name="T7" fmla="*/ 2147483647 h 355"/>
              <a:gd name="T8" fmla="*/ 2147483647 w 270"/>
              <a:gd name="T9" fmla="*/ 2147483647 h 355"/>
              <a:gd name="T10" fmla="*/ 2147483647 w 270"/>
              <a:gd name="T11" fmla="*/ 2147483647 h 355"/>
              <a:gd name="T12" fmla="*/ 2147483647 w 270"/>
              <a:gd name="T13" fmla="*/ 2147483647 h 355"/>
              <a:gd name="T14" fmla="*/ 2147483647 w 270"/>
              <a:gd name="T15" fmla="*/ 2147483647 h 355"/>
              <a:gd name="T16" fmla="*/ 2147483647 w 270"/>
              <a:gd name="T17" fmla="*/ 2147483647 h 355"/>
              <a:gd name="T18" fmla="*/ 2147483647 w 270"/>
              <a:gd name="T19" fmla="*/ 2147483647 h 355"/>
              <a:gd name="T20" fmla="*/ 2147483647 w 270"/>
              <a:gd name="T21" fmla="*/ 2147483647 h 355"/>
              <a:gd name="T22" fmla="*/ 2147483647 w 270"/>
              <a:gd name="T23" fmla="*/ 2147483647 h 355"/>
              <a:gd name="T24" fmla="*/ 2147483647 w 270"/>
              <a:gd name="T25" fmla="*/ 2147483647 h 355"/>
              <a:gd name="T26" fmla="*/ 2147483647 w 270"/>
              <a:gd name="T27" fmla="*/ 2147483647 h 355"/>
              <a:gd name="T28" fmla="*/ 2147483647 w 270"/>
              <a:gd name="T29" fmla="*/ 2147483647 h 355"/>
              <a:gd name="T30" fmla="*/ 2147483647 w 270"/>
              <a:gd name="T31" fmla="*/ 2147483647 h 355"/>
              <a:gd name="T32" fmla="*/ 2147483647 w 270"/>
              <a:gd name="T33" fmla="*/ 2147483647 h 355"/>
              <a:gd name="T34" fmla="*/ 2147483647 w 270"/>
              <a:gd name="T35" fmla="*/ 2147483647 h 355"/>
              <a:gd name="T36" fmla="*/ 2147483647 w 270"/>
              <a:gd name="T37" fmla="*/ 2147483647 h 355"/>
              <a:gd name="T38" fmla="*/ 2147483647 w 270"/>
              <a:gd name="T39" fmla="*/ 2147483647 h 355"/>
              <a:gd name="T40" fmla="*/ 2147483647 w 270"/>
              <a:gd name="T41" fmla="*/ 2147483647 h 355"/>
              <a:gd name="T42" fmla="*/ 2147483647 w 270"/>
              <a:gd name="T43" fmla="*/ 2147483647 h 355"/>
              <a:gd name="T44" fmla="*/ 2147483647 w 270"/>
              <a:gd name="T45" fmla="*/ 0 h 355"/>
              <a:gd name="T46" fmla="*/ 2147483647 w 270"/>
              <a:gd name="T47" fmla="*/ 2147483647 h 355"/>
              <a:gd name="T48" fmla="*/ 2147483647 w 270"/>
              <a:gd name="T49" fmla="*/ 2147483647 h 355"/>
              <a:gd name="T50" fmla="*/ 0 w 270"/>
              <a:gd name="T51" fmla="*/ 2147483647 h 355"/>
              <a:gd name="T52" fmla="*/ 2147483647 w 270"/>
              <a:gd name="T53" fmla="*/ 2147483647 h 355"/>
              <a:gd name="T54" fmla="*/ 2147483647 w 270"/>
              <a:gd name="T55" fmla="*/ 2147483647 h 355"/>
              <a:gd name="T56" fmla="*/ 2147483647 w 270"/>
              <a:gd name="T57" fmla="*/ 2147483647 h 355"/>
              <a:gd name="T58" fmla="*/ 2147483647 w 270"/>
              <a:gd name="T59" fmla="*/ 2147483647 h 355"/>
              <a:gd name="T60" fmla="*/ 2147483647 w 270"/>
              <a:gd name="T61" fmla="*/ 2147483647 h 355"/>
              <a:gd name="T62" fmla="*/ 2147483647 w 270"/>
              <a:gd name="T63" fmla="*/ 2147483647 h 355"/>
              <a:gd name="T64" fmla="*/ 2147483647 w 270"/>
              <a:gd name="T65" fmla="*/ 2147483647 h 355"/>
              <a:gd name="T66" fmla="*/ 2147483647 w 270"/>
              <a:gd name="T67" fmla="*/ 2147483647 h 35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70" h="355">
                <a:moveTo>
                  <a:pt x="113" y="254"/>
                </a:moveTo>
                <a:cubicBezTo>
                  <a:pt x="106" y="297"/>
                  <a:pt x="106" y="297"/>
                  <a:pt x="106" y="297"/>
                </a:cubicBezTo>
                <a:cubicBezTo>
                  <a:pt x="105" y="300"/>
                  <a:pt x="106" y="302"/>
                  <a:pt x="107" y="304"/>
                </a:cubicBezTo>
                <a:cubicBezTo>
                  <a:pt x="109" y="306"/>
                  <a:pt x="111" y="307"/>
                  <a:pt x="113" y="307"/>
                </a:cubicBezTo>
                <a:cubicBezTo>
                  <a:pt x="157" y="307"/>
                  <a:pt x="157" y="307"/>
                  <a:pt x="157" y="307"/>
                </a:cubicBezTo>
                <a:cubicBezTo>
                  <a:pt x="160" y="307"/>
                  <a:pt x="162" y="306"/>
                  <a:pt x="164" y="304"/>
                </a:cubicBezTo>
                <a:cubicBezTo>
                  <a:pt x="165" y="302"/>
                  <a:pt x="166" y="300"/>
                  <a:pt x="165" y="297"/>
                </a:cubicBezTo>
                <a:cubicBezTo>
                  <a:pt x="157" y="254"/>
                  <a:pt x="157" y="254"/>
                  <a:pt x="157" y="254"/>
                </a:cubicBezTo>
                <a:cubicBezTo>
                  <a:pt x="167" y="248"/>
                  <a:pt x="173" y="237"/>
                  <a:pt x="173" y="225"/>
                </a:cubicBezTo>
                <a:cubicBezTo>
                  <a:pt x="173" y="206"/>
                  <a:pt x="157" y="188"/>
                  <a:pt x="135" y="188"/>
                </a:cubicBezTo>
                <a:cubicBezTo>
                  <a:pt x="114" y="188"/>
                  <a:pt x="97" y="206"/>
                  <a:pt x="97" y="225"/>
                </a:cubicBezTo>
                <a:cubicBezTo>
                  <a:pt x="97" y="237"/>
                  <a:pt x="103" y="248"/>
                  <a:pt x="113" y="254"/>
                </a:cubicBezTo>
                <a:close/>
                <a:moveTo>
                  <a:pt x="135" y="204"/>
                </a:moveTo>
                <a:cubicBezTo>
                  <a:pt x="148" y="204"/>
                  <a:pt x="157" y="214"/>
                  <a:pt x="157" y="225"/>
                </a:cubicBezTo>
                <a:cubicBezTo>
                  <a:pt x="157" y="233"/>
                  <a:pt x="152" y="240"/>
                  <a:pt x="145" y="243"/>
                </a:cubicBezTo>
                <a:cubicBezTo>
                  <a:pt x="141" y="244"/>
                  <a:pt x="139" y="248"/>
                  <a:pt x="140" y="252"/>
                </a:cubicBezTo>
                <a:cubicBezTo>
                  <a:pt x="147" y="291"/>
                  <a:pt x="147" y="291"/>
                  <a:pt x="147" y="291"/>
                </a:cubicBezTo>
                <a:cubicBezTo>
                  <a:pt x="123" y="291"/>
                  <a:pt x="123" y="291"/>
                  <a:pt x="123" y="291"/>
                </a:cubicBezTo>
                <a:cubicBezTo>
                  <a:pt x="130" y="252"/>
                  <a:pt x="130" y="252"/>
                  <a:pt x="130" y="252"/>
                </a:cubicBezTo>
                <a:cubicBezTo>
                  <a:pt x="131" y="248"/>
                  <a:pt x="129" y="244"/>
                  <a:pt x="125" y="243"/>
                </a:cubicBezTo>
                <a:cubicBezTo>
                  <a:pt x="118" y="240"/>
                  <a:pt x="113" y="233"/>
                  <a:pt x="113" y="225"/>
                </a:cubicBezTo>
                <a:cubicBezTo>
                  <a:pt x="113" y="214"/>
                  <a:pt x="122" y="204"/>
                  <a:pt x="135" y="204"/>
                </a:cubicBezTo>
                <a:close/>
                <a:moveTo>
                  <a:pt x="256" y="141"/>
                </a:moveTo>
                <a:cubicBezTo>
                  <a:pt x="243" y="141"/>
                  <a:pt x="243" y="141"/>
                  <a:pt x="243" y="141"/>
                </a:cubicBezTo>
                <a:cubicBezTo>
                  <a:pt x="243" y="106"/>
                  <a:pt x="243" y="106"/>
                  <a:pt x="243" y="106"/>
                </a:cubicBezTo>
                <a:cubicBezTo>
                  <a:pt x="243" y="106"/>
                  <a:pt x="243" y="105"/>
                  <a:pt x="243" y="105"/>
                </a:cubicBezTo>
                <a:cubicBezTo>
                  <a:pt x="243" y="93"/>
                  <a:pt x="242" y="82"/>
                  <a:pt x="238" y="70"/>
                </a:cubicBezTo>
                <a:cubicBezTo>
                  <a:pt x="236" y="66"/>
                  <a:pt x="232" y="64"/>
                  <a:pt x="227" y="66"/>
                </a:cubicBezTo>
                <a:cubicBezTo>
                  <a:pt x="223" y="67"/>
                  <a:pt x="221" y="72"/>
                  <a:pt x="223" y="76"/>
                </a:cubicBezTo>
                <a:cubicBezTo>
                  <a:pt x="226" y="85"/>
                  <a:pt x="227" y="94"/>
                  <a:pt x="227" y="106"/>
                </a:cubicBezTo>
                <a:cubicBezTo>
                  <a:pt x="227" y="106"/>
                  <a:pt x="227" y="107"/>
                  <a:pt x="227" y="107"/>
                </a:cubicBezTo>
                <a:cubicBezTo>
                  <a:pt x="227" y="141"/>
                  <a:pt x="227" y="141"/>
                  <a:pt x="227" y="141"/>
                </a:cubicBezTo>
                <a:cubicBezTo>
                  <a:pt x="211" y="141"/>
                  <a:pt x="211" y="141"/>
                  <a:pt x="211" y="141"/>
                </a:cubicBezTo>
                <a:cubicBezTo>
                  <a:pt x="211" y="106"/>
                  <a:pt x="211" y="106"/>
                  <a:pt x="211" y="106"/>
                </a:cubicBezTo>
                <a:cubicBezTo>
                  <a:pt x="211" y="89"/>
                  <a:pt x="204" y="71"/>
                  <a:pt x="191" y="56"/>
                </a:cubicBezTo>
                <a:cubicBezTo>
                  <a:pt x="177" y="41"/>
                  <a:pt x="158" y="30"/>
                  <a:pt x="135" y="30"/>
                </a:cubicBezTo>
                <a:cubicBezTo>
                  <a:pt x="93" y="30"/>
                  <a:pt x="59" y="64"/>
                  <a:pt x="59" y="106"/>
                </a:cubicBezTo>
                <a:cubicBezTo>
                  <a:pt x="59" y="141"/>
                  <a:pt x="59" y="141"/>
                  <a:pt x="59" y="141"/>
                </a:cubicBezTo>
                <a:cubicBezTo>
                  <a:pt x="43" y="141"/>
                  <a:pt x="43" y="141"/>
                  <a:pt x="43" y="141"/>
                </a:cubicBezTo>
                <a:cubicBezTo>
                  <a:pt x="43" y="106"/>
                  <a:pt x="43" y="106"/>
                  <a:pt x="43" y="106"/>
                </a:cubicBezTo>
                <a:cubicBezTo>
                  <a:pt x="43" y="106"/>
                  <a:pt x="43" y="106"/>
                  <a:pt x="43" y="106"/>
                </a:cubicBezTo>
                <a:cubicBezTo>
                  <a:pt x="44" y="56"/>
                  <a:pt x="85" y="16"/>
                  <a:pt x="135" y="16"/>
                </a:cubicBezTo>
                <a:cubicBezTo>
                  <a:pt x="179" y="16"/>
                  <a:pt x="199" y="40"/>
                  <a:pt x="207" y="50"/>
                </a:cubicBezTo>
                <a:cubicBezTo>
                  <a:pt x="210" y="54"/>
                  <a:pt x="215" y="55"/>
                  <a:pt x="218" y="52"/>
                </a:cubicBezTo>
                <a:cubicBezTo>
                  <a:pt x="222" y="49"/>
                  <a:pt x="223" y="44"/>
                  <a:pt x="220" y="41"/>
                </a:cubicBezTo>
                <a:cubicBezTo>
                  <a:pt x="211" y="29"/>
                  <a:pt x="185" y="0"/>
                  <a:pt x="135" y="0"/>
                </a:cubicBezTo>
                <a:cubicBezTo>
                  <a:pt x="77" y="0"/>
                  <a:pt x="29" y="46"/>
                  <a:pt x="27" y="104"/>
                </a:cubicBezTo>
                <a:cubicBezTo>
                  <a:pt x="27" y="105"/>
                  <a:pt x="27" y="105"/>
                  <a:pt x="27" y="106"/>
                </a:cubicBezTo>
                <a:cubicBezTo>
                  <a:pt x="27" y="141"/>
                  <a:pt x="27" y="141"/>
                  <a:pt x="27" y="141"/>
                </a:cubicBezTo>
                <a:cubicBezTo>
                  <a:pt x="14" y="141"/>
                  <a:pt x="14" y="141"/>
                  <a:pt x="14" y="141"/>
                </a:cubicBezTo>
                <a:cubicBezTo>
                  <a:pt x="6" y="141"/>
                  <a:pt x="0" y="148"/>
                  <a:pt x="0" y="156"/>
                </a:cubicBezTo>
                <a:cubicBezTo>
                  <a:pt x="0" y="341"/>
                  <a:pt x="0" y="341"/>
                  <a:pt x="0" y="341"/>
                </a:cubicBezTo>
                <a:cubicBezTo>
                  <a:pt x="0" y="349"/>
                  <a:pt x="6" y="355"/>
                  <a:pt x="14" y="355"/>
                </a:cubicBezTo>
                <a:cubicBezTo>
                  <a:pt x="14" y="355"/>
                  <a:pt x="256" y="355"/>
                  <a:pt x="256" y="355"/>
                </a:cubicBezTo>
                <a:cubicBezTo>
                  <a:pt x="264" y="355"/>
                  <a:pt x="270" y="349"/>
                  <a:pt x="270" y="341"/>
                </a:cubicBezTo>
                <a:cubicBezTo>
                  <a:pt x="270" y="156"/>
                  <a:pt x="270" y="156"/>
                  <a:pt x="270" y="156"/>
                </a:cubicBezTo>
                <a:cubicBezTo>
                  <a:pt x="270" y="148"/>
                  <a:pt x="264" y="141"/>
                  <a:pt x="256" y="141"/>
                </a:cubicBezTo>
                <a:close/>
                <a:moveTo>
                  <a:pt x="75" y="106"/>
                </a:moveTo>
                <a:cubicBezTo>
                  <a:pt x="75" y="72"/>
                  <a:pt x="102" y="46"/>
                  <a:pt x="135" y="46"/>
                </a:cubicBezTo>
                <a:cubicBezTo>
                  <a:pt x="153" y="46"/>
                  <a:pt x="168" y="54"/>
                  <a:pt x="178" y="67"/>
                </a:cubicBezTo>
                <a:cubicBezTo>
                  <a:pt x="189" y="79"/>
                  <a:pt x="195" y="94"/>
                  <a:pt x="195" y="106"/>
                </a:cubicBezTo>
                <a:cubicBezTo>
                  <a:pt x="195" y="141"/>
                  <a:pt x="195" y="141"/>
                  <a:pt x="195" y="141"/>
                </a:cubicBezTo>
                <a:cubicBezTo>
                  <a:pt x="75" y="141"/>
                  <a:pt x="75" y="141"/>
                  <a:pt x="75" y="141"/>
                </a:cubicBezTo>
                <a:lnTo>
                  <a:pt x="75" y="106"/>
                </a:lnTo>
                <a:close/>
                <a:moveTo>
                  <a:pt x="254" y="339"/>
                </a:moveTo>
                <a:cubicBezTo>
                  <a:pt x="16" y="339"/>
                  <a:pt x="16" y="339"/>
                  <a:pt x="16" y="339"/>
                </a:cubicBezTo>
                <a:cubicBezTo>
                  <a:pt x="16" y="157"/>
                  <a:pt x="16" y="157"/>
                  <a:pt x="16" y="157"/>
                </a:cubicBezTo>
                <a:cubicBezTo>
                  <a:pt x="254" y="157"/>
                  <a:pt x="254" y="157"/>
                  <a:pt x="254" y="157"/>
                </a:cubicBezTo>
                <a:lnTo>
                  <a:pt x="254" y="339"/>
                </a:lnTo>
                <a:close/>
              </a:path>
            </a:pathLst>
          </a:custGeom>
          <a:solidFill>
            <a:srgbClr val="B1B3B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B1B3B4"/>
              </a:solidFill>
            </a:endParaRPr>
          </a:p>
        </p:txBody>
      </p:sp>
      <p:sp>
        <p:nvSpPr>
          <p:cNvPr id="90" name="Freeform 3"/>
          <p:cNvSpPr>
            <a:spLocks noChangeAspect="1" noEditPoints="1"/>
          </p:cNvSpPr>
          <p:nvPr/>
        </p:nvSpPr>
        <p:spPr bwMode="auto">
          <a:xfrm>
            <a:off x="11875835" y="5586145"/>
            <a:ext cx="417736" cy="362502"/>
          </a:xfrm>
          <a:custGeom>
            <a:avLst/>
            <a:gdLst>
              <a:gd name="T0" fmla="*/ 2147483647 w 381"/>
              <a:gd name="T1" fmla="*/ 2147483647 h 331"/>
              <a:gd name="T2" fmla="*/ 2147483647 w 381"/>
              <a:gd name="T3" fmla="*/ 2147483647 h 331"/>
              <a:gd name="T4" fmla="*/ 2147483647 w 381"/>
              <a:gd name="T5" fmla="*/ 2147483647 h 331"/>
              <a:gd name="T6" fmla="*/ 2147483647 w 381"/>
              <a:gd name="T7" fmla="*/ 2147483647 h 331"/>
              <a:gd name="T8" fmla="*/ 2147483647 w 381"/>
              <a:gd name="T9" fmla="*/ 2147483647 h 331"/>
              <a:gd name="T10" fmla="*/ 2147483647 w 381"/>
              <a:gd name="T11" fmla="*/ 2147483647 h 331"/>
              <a:gd name="T12" fmla="*/ 2147483647 w 381"/>
              <a:gd name="T13" fmla="*/ 2147483647 h 331"/>
              <a:gd name="T14" fmla="*/ 2147483647 w 381"/>
              <a:gd name="T15" fmla="*/ 2147483647 h 331"/>
              <a:gd name="T16" fmla="*/ 2147483647 w 381"/>
              <a:gd name="T17" fmla="*/ 2147483647 h 331"/>
              <a:gd name="T18" fmla="*/ 2147483647 w 381"/>
              <a:gd name="T19" fmla="*/ 2147483647 h 331"/>
              <a:gd name="T20" fmla="*/ 2147483647 w 381"/>
              <a:gd name="T21" fmla="*/ 2147483647 h 331"/>
              <a:gd name="T22" fmla="*/ 2147483647 w 381"/>
              <a:gd name="T23" fmla="*/ 2147483647 h 331"/>
              <a:gd name="T24" fmla="*/ 2147483647 w 381"/>
              <a:gd name="T25" fmla="*/ 2147483647 h 331"/>
              <a:gd name="T26" fmla="*/ 2147483647 w 381"/>
              <a:gd name="T27" fmla="*/ 2147483647 h 331"/>
              <a:gd name="T28" fmla="*/ 2147483647 w 381"/>
              <a:gd name="T29" fmla="*/ 2147483647 h 331"/>
              <a:gd name="T30" fmla="*/ 2147483647 w 381"/>
              <a:gd name="T31" fmla="*/ 2147483647 h 331"/>
              <a:gd name="T32" fmla="*/ 2147483647 w 381"/>
              <a:gd name="T33" fmla="*/ 2147483647 h 331"/>
              <a:gd name="T34" fmla="*/ 2147483647 w 381"/>
              <a:gd name="T35" fmla="*/ 2147483647 h 331"/>
              <a:gd name="T36" fmla="*/ 2147483647 w 381"/>
              <a:gd name="T37" fmla="*/ 2147483647 h 331"/>
              <a:gd name="T38" fmla="*/ 2147483647 w 381"/>
              <a:gd name="T39" fmla="*/ 2147483647 h 331"/>
              <a:gd name="T40" fmla="*/ 2147483647 w 381"/>
              <a:gd name="T41" fmla="*/ 2147483647 h 331"/>
              <a:gd name="T42" fmla="*/ 2147483647 w 381"/>
              <a:gd name="T43" fmla="*/ 2147483647 h 331"/>
              <a:gd name="T44" fmla="*/ 2147483647 w 381"/>
              <a:gd name="T45" fmla="*/ 2147483647 h 331"/>
              <a:gd name="T46" fmla="*/ 2147483647 w 381"/>
              <a:gd name="T47" fmla="*/ 2147483647 h 331"/>
              <a:gd name="T48" fmla="*/ 2147483647 w 381"/>
              <a:gd name="T49" fmla="*/ 2147483647 h 331"/>
              <a:gd name="T50" fmla="*/ 2147483647 w 381"/>
              <a:gd name="T51" fmla="*/ 2147483647 h 331"/>
              <a:gd name="T52" fmla="*/ 2147483647 w 381"/>
              <a:gd name="T53" fmla="*/ 2147483647 h 331"/>
              <a:gd name="T54" fmla="*/ 2147483647 w 381"/>
              <a:gd name="T55" fmla="*/ 2147483647 h 331"/>
              <a:gd name="T56" fmla="*/ 2147483647 w 381"/>
              <a:gd name="T57" fmla="*/ 2147483647 h 331"/>
              <a:gd name="T58" fmla="*/ 2147483647 w 381"/>
              <a:gd name="T59" fmla="*/ 2147483647 h 331"/>
              <a:gd name="T60" fmla="*/ 2147483647 w 381"/>
              <a:gd name="T61" fmla="*/ 2147483647 h 331"/>
              <a:gd name="T62" fmla="*/ 2147483647 w 381"/>
              <a:gd name="T63" fmla="*/ 2147483647 h 331"/>
              <a:gd name="T64" fmla="*/ 2147483647 w 381"/>
              <a:gd name="T65" fmla="*/ 2147483647 h 331"/>
              <a:gd name="T66" fmla="*/ 2147483647 w 381"/>
              <a:gd name="T67" fmla="*/ 2147483647 h 331"/>
              <a:gd name="T68" fmla="*/ 2147483647 w 381"/>
              <a:gd name="T69" fmla="*/ 2147483647 h 331"/>
              <a:gd name="T70" fmla="*/ 2147483647 w 381"/>
              <a:gd name="T71" fmla="*/ 2147483647 h 331"/>
              <a:gd name="T72" fmla="*/ 2147483647 w 381"/>
              <a:gd name="T73" fmla="*/ 2147483647 h 331"/>
              <a:gd name="T74" fmla="*/ 2147483647 w 381"/>
              <a:gd name="T75" fmla="*/ 2147483647 h 331"/>
              <a:gd name="T76" fmla="*/ 2147483647 w 381"/>
              <a:gd name="T77" fmla="*/ 2147483647 h 331"/>
              <a:gd name="T78" fmla="*/ 2147483647 w 381"/>
              <a:gd name="T79" fmla="*/ 2147483647 h 331"/>
              <a:gd name="T80" fmla="*/ 2147483647 w 381"/>
              <a:gd name="T81" fmla="*/ 2147483647 h 331"/>
              <a:gd name="T82" fmla="*/ 2147483647 w 381"/>
              <a:gd name="T83" fmla="*/ 2147483647 h 331"/>
              <a:gd name="T84" fmla="*/ 2147483647 w 381"/>
              <a:gd name="T85" fmla="*/ 2147483647 h 331"/>
              <a:gd name="T86" fmla="*/ 2147483647 w 381"/>
              <a:gd name="T87" fmla="*/ 2147483647 h 331"/>
              <a:gd name="T88" fmla="*/ 2147483647 w 381"/>
              <a:gd name="T89" fmla="*/ 2147483647 h 331"/>
              <a:gd name="T90" fmla="*/ 2147483647 w 381"/>
              <a:gd name="T91" fmla="*/ 2147483647 h 331"/>
              <a:gd name="T92" fmla="*/ 2147483647 w 381"/>
              <a:gd name="T93" fmla="*/ 2147483647 h 331"/>
              <a:gd name="T94" fmla="*/ 2147483647 w 381"/>
              <a:gd name="T95" fmla="*/ 2147483647 h 331"/>
              <a:gd name="T96" fmla="*/ 2147483647 w 381"/>
              <a:gd name="T97" fmla="*/ 2147483647 h 33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381" h="331">
                <a:moveTo>
                  <a:pt x="376" y="306"/>
                </a:moveTo>
                <a:cubicBezTo>
                  <a:pt x="372" y="298"/>
                  <a:pt x="325" y="216"/>
                  <a:pt x="236" y="62"/>
                </a:cubicBezTo>
                <a:cubicBezTo>
                  <a:pt x="233" y="58"/>
                  <a:pt x="228" y="57"/>
                  <a:pt x="225" y="59"/>
                </a:cubicBezTo>
                <a:cubicBezTo>
                  <a:pt x="221" y="61"/>
                  <a:pt x="219" y="66"/>
                  <a:pt x="222" y="70"/>
                </a:cubicBezTo>
                <a:cubicBezTo>
                  <a:pt x="311" y="224"/>
                  <a:pt x="358" y="306"/>
                  <a:pt x="362" y="314"/>
                </a:cubicBezTo>
                <a:cubicBezTo>
                  <a:pt x="363" y="314"/>
                  <a:pt x="363" y="315"/>
                  <a:pt x="363" y="315"/>
                </a:cubicBezTo>
                <a:cubicBezTo>
                  <a:pt x="19" y="315"/>
                  <a:pt x="19" y="315"/>
                  <a:pt x="19" y="315"/>
                </a:cubicBezTo>
                <a:cubicBezTo>
                  <a:pt x="19" y="315"/>
                  <a:pt x="20" y="314"/>
                  <a:pt x="20" y="314"/>
                </a:cubicBezTo>
                <a:cubicBezTo>
                  <a:pt x="190" y="19"/>
                  <a:pt x="190" y="19"/>
                  <a:pt x="190" y="19"/>
                </a:cubicBezTo>
                <a:cubicBezTo>
                  <a:pt x="190" y="18"/>
                  <a:pt x="191" y="18"/>
                  <a:pt x="191" y="17"/>
                </a:cubicBezTo>
                <a:cubicBezTo>
                  <a:pt x="192" y="18"/>
                  <a:pt x="192" y="18"/>
                  <a:pt x="192" y="19"/>
                </a:cubicBezTo>
                <a:cubicBezTo>
                  <a:pt x="196" y="25"/>
                  <a:pt x="207" y="43"/>
                  <a:pt x="207" y="43"/>
                </a:cubicBezTo>
                <a:cubicBezTo>
                  <a:pt x="207" y="43"/>
                  <a:pt x="207" y="43"/>
                  <a:pt x="207" y="43"/>
                </a:cubicBezTo>
                <a:cubicBezTo>
                  <a:pt x="208" y="45"/>
                  <a:pt x="211" y="47"/>
                  <a:pt x="214" y="47"/>
                </a:cubicBezTo>
                <a:cubicBezTo>
                  <a:pt x="218" y="47"/>
                  <a:pt x="222" y="43"/>
                  <a:pt x="222" y="39"/>
                </a:cubicBezTo>
                <a:cubicBezTo>
                  <a:pt x="222" y="38"/>
                  <a:pt x="221" y="36"/>
                  <a:pt x="220" y="35"/>
                </a:cubicBezTo>
                <a:cubicBezTo>
                  <a:pt x="220" y="35"/>
                  <a:pt x="220" y="35"/>
                  <a:pt x="220" y="35"/>
                </a:cubicBezTo>
                <a:cubicBezTo>
                  <a:pt x="220" y="35"/>
                  <a:pt x="210" y="17"/>
                  <a:pt x="206" y="11"/>
                </a:cubicBezTo>
                <a:cubicBezTo>
                  <a:pt x="201" y="2"/>
                  <a:pt x="196" y="1"/>
                  <a:pt x="192" y="1"/>
                </a:cubicBezTo>
                <a:cubicBezTo>
                  <a:pt x="183" y="0"/>
                  <a:pt x="177" y="9"/>
                  <a:pt x="176" y="11"/>
                </a:cubicBezTo>
                <a:cubicBezTo>
                  <a:pt x="6" y="305"/>
                  <a:pt x="6" y="305"/>
                  <a:pt x="6" y="305"/>
                </a:cubicBezTo>
                <a:cubicBezTo>
                  <a:pt x="5" y="307"/>
                  <a:pt x="0" y="316"/>
                  <a:pt x="4" y="324"/>
                </a:cubicBezTo>
                <a:cubicBezTo>
                  <a:pt x="6" y="327"/>
                  <a:pt x="10" y="331"/>
                  <a:pt x="19" y="331"/>
                </a:cubicBezTo>
                <a:cubicBezTo>
                  <a:pt x="363" y="331"/>
                  <a:pt x="363" y="331"/>
                  <a:pt x="363" y="331"/>
                </a:cubicBezTo>
                <a:cubicBezTo>
                  <a:pt x="363" y="331"/>
                  <a:pt x="363" y="331"/>
                  <a:pt x="363" y="331"/>
                </a:cubicBezTo>
                <a:cubicBezTo>
                  <a:pt x="366" y="331"/>
                  <a:pt x="374" y="330"/>
                  <a:pt x="378" y="324"/>
                </a:cubicBezTo>
                <a:cubicBezTo>
                  <a:pt x="381" y="319"/>
                  <a:pt x="380" y="313"/>
                  <a:pt x="376" y="306"/>
                </a:cubicBezTo>
                <a:close/>
                <a:moveTo>
                  <a:pt x="198" y="94"/>
                </a:moveTo>
                <a:cubicBezTo>
                  <a:pt x="196" y="92"/>
                  <a:pt x="194" y="91"/>
                  <a:pt x="191" y="91"/>
                </a:cubicBezTo>
                <a:cubicBezTo>
                  <a:pt x="189" y="91"/>
                  <a:pt x="186" y="92"/>
                  <a:pt x="184" y="94"/>
                </a:cubicBezTo>
                <a:cubicBezTo>
                  <a:pt x="182" y="96"/>
                  <a:pt x="181" y="99"/>
                  <a:pt x="181" y="101"/>
                </a:cubicBezTo>
                <a:cubicBezTo>
                  <a:pt x="182" y="228"/>
                  <a:pt x="182" y="228"/>
                  <a:pt x="182" y="228"/>
                </a:cubicBezTo>
                <a:cubicBezTo>
                  <a:pt x="182" y="230"/>
                  <a:pt x="183" y="232"/>
                  <a:pt x="185" y="234"/>
                </a:cubicBezTo>
                <a:cubicBezTo>
                  <a:pt x="187" y="236"/>
                  <a:pt x="189" y="237"/>
                  <a:pt x="191" y="237"/>
                </a:cubicBezTo>
                <a:cubicBezTo>
                  <a:pt x="194" y="237"/>
                  <a:pt x="196" y="236"/>
                  <a:pt x="197" y="234"/>
                </a:cubicBezTo>
                <a:cubicBezTo>
                  <a:pt x="199" y="233"/>
                  <a:pt x="200" y="230"/>
                  <a:pt x="200" y="228"/>
                </a:cubicBezTo>
                <a:cubicBezTo>
                  <a:pt x="201" y="101"/>
                  <a:pt x="201" y="101"/>
                  <a:pt x="201" y="101"/>
                </a:cubicBezTo>
                <a:cubicBezTo>
                  <a:pt x="201" y="99"/>
                  <a:pt x="200" y="96"/>
                  <a:pt x="198" y="94"/>
                </a:cubicBezTo>
                <a:close/>
                <a:moveTo>
                  <a:pt x="191" y="253"/>
                </a:moveTo>
                <a:cubicBezTo>
                  <a:pt x="189" y="253"/>
                  <a:pt x="186" y="254"/>
                  <a:pt x="184" y="256"/>
                </a:cubicBezTo>
                <a:cubicBezTo>
                  <a:pt x="182" y="258"/>
                  <a:pt x="181" y="260"/>
                  <a:pt x="181" y="263"/>
                </a:cubicBezTo>
                <a:cubicBezTo>
                  <a:pt x="181" y="276"/>
                  <a:pt x="181" y="276"/>
                  <a:pt x="181" y="276"/>
                </a:cubicBezTo>
                <a:cubicBezTo>
                  <a:pt x="181" y="278"/>
                  <a:pt x="182" y="281"/>
                  <a:pt x="184" y="283"/>
                </a:cubicBezTo>
                <a:cubicBezTo>
                  <a:pt x="186" y="285"/>
                  <a:pt x="189" y="286"/>
                  <a:pt x="191" y="286"/>
                </a:cubicBezTo>
                <a:cubicBezTo>
                  <a:pt x="194" y="286"/>
                  <a:pt x="196" y="285"/>
                  <a:pt x="198" y="283"/>
                </a:cubicBezTo>
                <a:cubicBezTo>
                  <a:pt x="200" y="281"/>
                  <a:pt x="201" y="279"/>
                  <a:pt x="201" y="276"/>
                </a:cubicBezTo>
                <a:cubicBezTo>
                  <a:pt x="201" y="263"/>
                  <a:pt x="201" y="263"/>
                  <a:pt x="201" y="263"/>
                </a:cubicBezTo>
                <a:cubicBezTo>
                  <a:pt x="201" y="260"/>
                  <a:pt x="200" y="258"/>
                  <a:pt x="198" y="256"/>
                </a:cubicBezTo>
                <a:cubicBezTo>
                  <a:pt x="196" y="254"/>
                  <a:pt x="194" y="253"/>
                  <a:pt x="191" y="253"/>
                </a:cubicBezTo>
                <a:close/>
              </a:path>
            </a:pathLst>
          </a:custGeom>
          <a:solidFill>
            <a:srgbClr val="B1B3B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91" name="Freeform 6"/>
          <p:cNvSpPr>
            <a:spLocks noEditPoints="1"/>
          </p:cNvSpPr>
          <p:nvPr/>
        </p:nvSpPr>
        <p:spPr bwMode="auto">
          <a:xfrm>
            <a:off x="1308706" y="4012592"/>
            <a:ext cx="315427" cy="403581"/>
          </a:xfrm>
          <a:custGeom>
            <a:avLst/>
            <a:gdLst>
              <a:gd name="T0" fmla="*/ 2147483647 w 273"/>
              <a:gd name="T1" fmla="*/ 2147483647 h 386"/>
              <a:gd name="T2" fmla="*/ 2147483647 w 273"/>
              <a:gd name="T3" fmla="*/ 2147483647 h 386"/>
              <a:gd name="T4" fmla="*/ 2147483647 w 273"/>
              <a:gd name="T5" fmla="*/ 2147483647 h 386"/>
              <a:gd name="T6" fmla="*/ 2147483647 w 273"/>
              <a:gd name="T7" fmla="*/ 2147483647 h 386"/>
              <a:gd name="T8" fmla="*/ 2147483647 w 273"/>
              <a:gd name="T9" fmla="*/ 2147483647 h 386"/>
              <a:gd name="T10" fmla="*/ 2147483647 w 273"/>
              <a:gd name="T11" fmla="*/ 2147483647 h 386"/>
              <a:gd name="T12" fmla="*/ 2147483647 w 273"/>
              <a:gd name="T13" fmla="*/ 2147483647 h 386"/>
              <a:gd name="T14" fmla="*/ 2147483647 w 273"/>
              <a:gd name="T15" fmla="*/ 2147483647 h 386"/>
              <a:gd name="T16" fmla="*/ 2147483647 w 273"/>
              <a:gd name="T17" fmla="*/ 2147483647 h 386"/>
              <a:gd name="T18" fmla="*/ 2147483647 w 273"/>
              <a:gd name="T19" fmla="*/ 2147483647 h 386"/>
              <a:gd name="T20" fmla="*/ 2147483647 w 273"/>
              <a:gd name="T21" fmla="*/ 2147483647 h 386"/>
              <a:gd name="T22" fmla="*/ 2147483647 w 273"/>
              <a:gd name="T23" fmla="*/ 2147483647 h 386"/>
              <a:gd name="T24" fmla="*/ 2147483647 w 273"/>
              <a:gd name="T25" fmla="*/ 2147483647 h 386"/>
              <a:gd name="T26" fmla="*/ 2147483647 w 273"/>
              <a:gd name="T27" fmla="*/ 2147483647 h 386"/>
              <a:gd name="T28" fmla="*/ 2147483647 w 273"/>
              <a:gd name="T29" fmla="*/ 2147483647 h 386"/>
              <a:gd name="T30" fmla="*/ 2147483647 w 273"/>
              <a:gd name="T31" fmla="*/ 2147483647 h 386"/>
              <a:gd name="T32" fmla="*/ 2147483647 w 273"/>
              <a:gd name="T33" fmla="*/ 2147483647 h 386"/>
              <a:gd name="T34" fmla="*/ 2147483647 w 273"/>
              <a:gd name="T35" fmla="*/ 0 h 386"/>
              <a:gd name="T36" fmla="*/ 2147483647 w 273"/>
              <a:gd name="T37" fmla="*/ 2147483647 h 386"/>
              <a:gd name="T38" fmla="*/ 2147483647 w 273"/>
              <a:gd name="T39" fmla="*/ 2147483647 h 386"/>
              <a:gd name="T40" fmla="*/ 2147483647 w 273"/>
              <a:gd name="T41" fmla="*/ 2147483647 h 386"/>
              <a:gd name="T42" fmla="*/ 0 w 273"/>
              <a:gd name="T43" fmla="*/ 2147483647 h 386"/>
              <a:gd name="T44" fmla="*/ 2147483647 w 273"/>
              <a:gd name="T45" fmla="*/ 2147483647 h 386"/>
              <a:gd name="T46" fmla="*/ 2147483647 w 273"/>
              <a:gd name="T47" fmla="*/ 2147483647 h 386"/>
              <a:gd name="T48" fmla="*/ 2147483647 w 273"/>
              <a:gd name="T49" fmla="*/ 2147483647 h 386"/>
              <a:gd name="T50" fmla="*/ 2147483647 w 273"/>
              <a:gd name="T51" fmla="*/ 2147483647 h 386"/>
              <a:gd name="T52" fmla="*/ 2147483647 w 273"/>
              <a:gd name="T53" fmla="*/ 2147483647 h 386"/>
              <a:gd name="T54" fmla="*/ 2147483647 w 273"/>
              <a:gd name="T55" fmla="*/ 2147483647 h 386"/>
              <a:gd name="T56" fmla="*/ 2147483647 w 273"/>
              <a:gd name="T57" fmla="*/ 2147483647 h 386"/>
              <a:gd name="T58" fmla="*/ 2147483647 w 273"/>
              <a:gd name="T59" fmla="*/ 2147483647 h 386"/>
              <a:gd name="T60" fmla="*/ 2147483647 w 273"/>
              <a:gd name="T61" fmla="*/ 2147483647 h 386"/>
              <a:gd name="T62" fmla="*/ 2147483647 w 273"/>
              <a:gd name="T63" fmla="*/ 2147483647 h 38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73" h="386">
                <a:moveTo>
                  <a:pt x="213" y="120"/>
                </a:moveTo>
                <a:cubicBezTo>
                  <a:pt x="209" y="115"/>
                  <a:pt x="205" y="110"/>
                  <a:pt x="201" y="105"/>
                </a:cubicBezTo>
                <a:cubicBezTo>
                  <a:pt x="199" y="101"/>
                  <a:pt x="194" y="100"/>
                  <a:pt x="190" y="103"/>
                </a:cubicBezTo>
                <a:cubicBezTo>
                  <a:pt x="187" y="106"/>
                  <a:pt x="186" y="111"/>
                  <a:pt x="189" y="114"/>
                </a:cubicBezTo>
                <a:cubicBezTo>
                  <a:pt x="192" y="119"/>
                  <a:pt x="197" y="125"/>
                  <a:pt x="201" y="130"/>
                </a:cubicBezTo>
                <a:cubicBezTo>
                  <a:pt x="227" y="164"/>
                  <a:pt x="257" y="202"/>
                  <a:pt x="257" y="247"/>
                </a:cubicBezTo>
                <a:cubicBezTo>
                  <a:pt x="257" y="337"/>
                  <a:pt x="185" y="370"/>
                  <a:pt x="136" y="370"/>
                </a:cubicBezTo>
                <a:cubicBezTo>
                  <a:pt x="88" y="370"/>
                  <a:pt x="16" y="337"/>
                  <a:pt x="16" y="247"/>
                </a:cubicBezTo>
                <a:cubicBezTo>
                  <a:pt x="16" y="199"/>
                  <a:pt x="46" y="162"/>
                  <a:pt x="73" y="130"/>
                </a:cubicBezTo>
                <a:cubicBezTo>
                  <a:pt x="85" y="115"/>
                  <a:pt x="96" y="101"/>
                  <a:pt x="105" y="87"/>
                </a:cubicBezTo>
                <a:cubicBezTo>
                  <a:pt x="119" y="62"/>
                  <a:pt x="125" y="43"/>
                  <a:pt x="129" y="31"/>
                </a:cubicBezTo>
                <a:cubicBezTo>
                  <a:pt x="133" y="17"/>
                  <a:pt x="134" y="16"/>
                  <a:pt x="136" y="16"/>
                </a:cubicBezTo>
                <a:cubicBezTo>
                  <a:pt x="140" y="16"/>
                  <a:pt x="142" y="21"/>
                  <a:pt x="147" y="36"/>
                </a:cubicBezTo>
                <a:cubicBezTo>
                  <a:pt x="152" y="48"/>
                  <a:pt x="158" y="66"/>
                  <a:pt x="170" y="87"/>
                </a:cubicBezTo>
                <a:cubicBezTo>
                  <a:pt x="172" y="91"/>
                  <a:pt x="177" y="92"/>
                  <a:pt x="181" y="90"/>
                </a:cubicBezTo>
                <a:cubicBezTo>
                  <a:pt x="185" y="88"/>
                  <a:pt x="186" y="83"/>
                  <a:pt x="184" y="79"/>
                </a:cubicBezTo>
                <a:cubicBezTo>
                  <a:pt x="173" y="59"/>
                  <a:pt x="167" y="42"/>
                  <a:pt x="162" y="30"/>
                </a:cubicBezTo>
                <a:cubicBezTo>
                  <a:pt x="156" y="13"/>
                  <a:pt x="151" y="0"/>
                  <a:pt x="136" y="0"/>
                </a:cubicBezTo>
                <a:cubicBezTo>
                  <a:pt x="122" y="0"/>
                  <a:pt x="118" y="11"/>
                  <a:pt x="113" y="26"/>
                </a:cubicBezTo>
                <a:cubicBezTo>
                  <a:pt x="110" y="39"/>
                  <a:pt x="104" y="56"/>
                  <a:pt x="91" y="79"/>
                </a:cubicBezTo>
                <a:cubicBezTo>
                  <a:pt x="83" y="92"/>
                  <a:pt x="72" y="105"/>
                  <a:pt x="61" y="120"/>
                </a:cubicBezTo>
                <a:cubicBezTo>
                  <a:pt x="32" y="154"/>
                  <a:pt x="0" y="193"/>
                  <a:pt x="0" y="247"/>
                </a:cubicBezTo>
                <a:cubicBezTo>
                  <a:pt x="0" y="348"/>
                  <a:pt x="83" y="386"/>
                  <a:pt x="136" y="386"/>
                </a:cubicBezTo>
                <a:cubicBezTo>
                  <a:pt x="189" y="386"/>
                  <a:pt x="273" y="348"/>
                  <a:pt x="273" y="247"/>
                </a:cubicBezTo>
                <a:cubicBezTo>
                  <a:pt x="273" y="197"/>
                  <a:pt x="241" y="156"/>
                  <a:pt x="213" y="120"/>
                </a:cubicBezTo>
                <a:close/>
                <a:moveTo>
                  <a:pt x="132" y="343"/>
                </a:moveTo>
                <a:cubicBezTo>
                  <a:pt x="132" y="348"/>
                  <a:pt x="136" y="351"/>
                  <a:pt x="140" y="351"/>
                </a:cubicBezTo>
                <a:cubicBezTo>
                  <a:pt x="193" y="351"/>
                  <a:pt x="236" y="308"/>
                  <a:pt x="236" y="256"/>
                </a:cubicBezTo>
                <a:cubicBezTo>
                  <a:pt x="236" y="251"/>
                  <a:pt x="232" y="248"/>
                  <a:pt x="228" y="248"/>
                </a:cubicBezTo>
                <a:cubicBezTo>
                  <a:pt x="223" y="248"/>
                  <a:pt x="220" y="251"/>
                  <a:pt x="220" y="256"/>
                </a:cubicBezTo>
                <a:cubicBezTo>
                  <a:pt x="220" y="300"/>
                  <a:pt x="184" y="335"/>
                  <a:pt x="140" y="335"/>
                </a:cubicBezTo>
                <a:cubicBezTo>
                  <a:pt x="136" y="335"/>
                  <a:pt x="132" y="339"/>
                  <a:pt x="132" y="343"/>
                </a:cubicBezTo>
                <a:close/>
              </a:path>
            </a:pathLst>
          </a:custGeom>
          <a:solidFill>
            <a:srgbClr val="B1B3B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 name="Title 4"/>
          <p:cNvSpPr>
            <a:spLocks noGrp="1"/>
          </p:cNvSpPr>
          <p:nvPr>
            <p:ph type="title"/>
          </p:nvPr>
        </p:nvSpPr>
        <p:spPr>
          <a:xfrm>
            <a:off x="463594" y="523437"/>
            <a:ext cx="4754669" cy="2955548"/>
          </a:xfrm>
        </p:spPr>
        <p:txBody>
          <a:bodyPr/>
          <a:lstStyle/>
          <a:p>
            <a:pPr algn="r"/>
            <a:r>
              <a:rPr lang="en-US" dirty="0">
                <a:solidFill>
                  <a:srgbClr val="FFFFFF"/>
                </a:solidFill>
              </a:rPr>
              <a:t>CAT M </a:t>
            </a:r>
            <a:r>
              <a:rPr lang="en-US">
                <a:solidFill>
                  <a:srgbClr val="FFFFFF"/>
                </a:solidFill>
              </a:rPr>
              <a:t>use case- Transport </a:t>
            </a:r>
            <a:r>
              <a:rPr lang="en-US" dirty="0">
                <a:solidFill>
                  <a:srgbClr val="FFFFFF"/>
                </a:solidFill>
              </a:rPr>
              <a:t>trailer asset management</a:t>
            </a:r>
          </a:p>
        </p:txBody>
      </p:sp>
    </p:spTree>
    <p:extLst>
      <p:ext uri="{BB962C8B-B14F-4D97-AF65-F5344CB8AC3E}">
        <p14:creationId xmlns:p14="http://schemas.microsoft.com/office/powerpoint/2010/main" val="290059849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NLOADING: Door open</a:t>
            </a:r>
          </a:p>
        </p:txBody>
      </p:sp>
      <p:pic>
        <p:nvPicPr>
          <p:cNvPr id="3" name="Picture 2"/>
          <p:cNvPicPr>
            <a:picLocks/>
          </p:cNvPicPr>
          <p:nvPr/>
        </p:nvPicPr>
        <p:blipFill>
          <a:blip r:embed="rId3"/>
          <a:stretch>
            <a:fillRect/>
          </a:stretch>
        </p:blipFill>
        <p:spPr>
          <a:xfrm>
            <a:off x="524935" y="1325085"/>
            <a:ext cx="10656000" cy="5148000"/>
          </a:xfrm>
          <a:prstGeom prst="rect">
            <a:avLst/>
          </a:prstGeom>
        </p:spPr>
      </p:pic>
      <p:pic>
        <p:nvPicPr>
          <p:cNvPr id="6" name="Picture 5"/>
          <p:cNvPicPr>
            <a:picLocks/>
          </p:cNvPicPr>
          <p:nvPr/>
        </p:nvPicPr>
        <p:blipFill>
          <a:blip r:embed="rId4"/>
          <a:stretch>
            <a:fillRect/>
          </a:stretch>
        </p:blipFill>
        <p:spPr>
          <a:xfrm flipH="1">
            <a:off x="7236000" y="1044000"/>
            <a:ext cx="3268800" cy="1980000"/>
          </a:xfrm>
          <a:prstGeom prst="rect">
            <a:avLst/>
          </a:prstGeom>
        </p:spPr>
      </p:pic>
    </p:spTree>
    <p:extLst>
      <p:ext uri="{BB962C8B-B14F-4D97-AF65-F5344CB8AC3E}">
        <p14:creationId xmlns:p14="http://schemas.microsoft.com/office/powerpoint/2010/main" val="1013389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Logo_ChapterSlide_Wide"/>
          <p:cNvPicPr>
            <a:picLocks/>
          </p:cNvPicPr>
          <p:nvPr/>
        </p:nvPicPr>
        <p:blipFill>
          <a:blip r:embed="rId3">
            <a:extLst>
              <a:ext uri="{28A0092B-C50C-407E-A947-70E740481C1C}">
                <a14:useLocalDpi xmlns:a14="http://schemas.microsoft.com/office/drawing/2010/main" val="0"/>
              </a:ext>
            </a:extLst>
          </a:blip>
          <a:stretch>
            <a:fillRect/>
          </a:stretch>
        </p:blipFill>
        <p:spPr>
          <a:xfrm>
            <a:off x="0" y="-60325"/>
            <a:ext cx="12192000" cy="6858000"/>
          </a:xfrm>
          <a:prstGeom prst="rect">
            <a:avLst/>
          </a:prstGeom>
        </p:spPr>
      </p:pic>
    </p:spTree>
    <p:extLst>
      <p:ext uri="{BB962C8B-B14F-4D97-AF65-F5344CB8AC3E}">
        <p14:creationId xmlns:p14="http://schemas.microsoft.com/office/powerpoint/2010/main" val="42037780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sp>
        <p:nvSpPr>
          <p:cNvPr id="182" name="Rectangle 181"/>
          <p:cNvSpPr/>
          <p:nvPr/>
        </p:nvSpPr>
        <p:spPr bwMode="auto">
          <a:xfrm>
            <a:off x="-3755" y="-699"/>
            <a:ext cx="12192000" cy="6864304"/>
          </a:xfrm>
          <a:prstGeom prst="rect">
            <a:avLst/>
          </a:prstGeom>
          <a:solidFill>
            <a:srgbClr val="000000">
              <a:alpha val="20000"/>
            </a:srgbClr>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bg1"/>
              </a:solidFill>
              <a:effectLst/>
              <a:latin typeface="Arial" charset="0"/>
            </a:endParaRPr>
          </a:p>
        </p:txBody>
      </p:sp>
      <p:sp>
        <p:nvSpPr>
          <p:cNvPr id="66" name="Title 3"/>
          <p:cNvSpPr>
            <a:spLocks noGrp="1"/>
          </p:cNvSpPr>
          <p:nvPr>
            <p:ph type="title"/>
          </p:nvPr>
        </p:nvSpPr>
        <p:spPr>
          <a:xfrm>
            <a:off x="525600" y="241200"/>
            <a:ext cx="10513179" cy="1085371"/>
          </a:xfrm>
        </p:spPr>
        <p:txBody>
          <a:bodyPr>
            <a:noAutofit/>
          </a:bodyPr>
          <a:lstStyle/>
          <a:p>
            <a:r>
              <a:rPr lang="en-US" sz="4800" dirty="0">
                <a:solidFill>
                  <a:schemeClr val="bg1"/>
                </a:solidFill>
                <a:latin typeface="Ericsson Capital TT" pitchFamily="2" charset="0"/>
              </a:rPr>
              <a:t>Customer value</a:t>
            </a:r>
            <a:endParaRPr lang="en-US" sz="4800" dirty="0">
              <a:solidFill>
                <a:schemeClr val="bg1"/>
              </a:solidFill>
            </a:endParaRPr>
          </a:p>
        </p:txBody>
      </p:sp>
      <p:sp>
        <p:nvSpPr>
          <p:cNvPr id="102" name="Rektangel 101"/>
          <p:cNvSpPr/>
          <p:nvPr/>
        </p:nvSpPr>
        <p:spPr>
          <a:xfrm>
            <a:off x="7722899" y="3873584"/>
            <a:ext cx="898003" cy="400110"/>
          </a:xfrm>
          <a:prstGeom prst="rect">
            <a:avLst/>
          </a:prstGeom>
        </p:spPr>
        <p:txBody>
          <a:bodyPr wrap="none">
            <a:spAutoFit/>
          </a:bodyPr>
          <a:lstStyle/>
          <a:p>
            <a:r>
              <a:rPr lang="sv-SE" b="1" dirty="0">
                <a:solidFill>
                  <a:schemeClr val="bg1"/>
                </a:solidFill>
                <a:latin typeface="+mn-lt"/>
                <a:ea typeface="Ericsson Capital" charset="0"/>
                <a:cs typeface="Ericsson Capital" charset="0"/>
              </a:rPr>
              <a:t>COST</a:t>
            </a:r>
          </a:p>
        </p:txBody>
      </p:sp>
      <p:sp>
        <p:nvSpPr>
          <p:cNvPr id="106" name="Rektangel 105"/>
          <p:cNvSpPr/>
          <p:nvPr/>
        </p:nvSpPr>
        <p:spPr>
          <a:xfrm>
            <a:off x="5262093" y="6141606"/>
            <a:ext cx="1721919" cy="707886"/>
          </a:xfrm>
          <a:prstGeom prst="rect">
            <a:avLst/>
          </a:prstGeom>
        </p:spPr>
        <p:txBody>
          <a:bodyPr wrap="square">
            <a:spAutoFit/>
          </a:bodyPr>
          <a:lstStyle/>
          <a:p>
            <a:r>
              <a:rPr lang="sv-SE" b="1" dirty="0">
                <a:solidFill>
                  <a:schemeClr val="bg1"/>
                </a:solidFill>
                <a:latin typeface="+mn-lt"/>
                <a:ea typeface="Ericsson Capital" charset="0"/>
                <a:cs typeface="Ericsson Capital" charset="0"/>
              </a:rPr>
              <a:t>REVENUE GROWTH</a:t>
            </a:r>
          </a:p>
        </p:txBody>
      </p:sp>
      <p:sp>
        <p:nvSpPr>
          <p:cNvPr id="41" name="Rektangel 105"/>
          <p:cNvSpPr/>
          <p:nvPr/>
        </p:nvSpPr>
        <p:spPr>
          <a:xfrm>
            <a:off x="6637289" y="2659939"/>
            <a:ext cx="1712328" cy="400110"/>
          </a:xfrm>
          <a:prstGeom prst="rect">
            <a:avLst/>
          </a:prstGeom>
        </p:spPr>
        <p:txBody>
          <a:bodyPr wrap="none">
            <a:spAutoFit/>
          </a:bodyPr>
          <a:lstStyle/>
          <a:p>
            <a:r>
              <a:rPr lang="sv-SE" b="1" dirty="0">
                <a:solidFill>
                  <a:schemeClr val="bg1"/>
                </a:solidFill>
                <a:latin typeface="+mn-lt"/>
                <a:ea typeface="Ericsson Capital" charset="0"/>
                <a:cs typeface="Ericsson Capital" charset="0"/>
              </a:rPr>
              <a:t>EFFICIENCY</a:t>
            </a:r>
          </a:p>
        </p:txBody>
      </p:sp>
      <p:sp>
        <p:nvSpPr>
          <p:cNvPr id="52" name="Freeform 3"/>
          <p:cNvSpPr>
            <a:spLocks noChangeAspect="1" noEditPoints="1"/>
          </p:cNvSpPr>
          <p:nvPr/>
        </p:nvSpPr>
        <p:spPr bwMode="auto">
          <a:xfrm>
            <a:off x="7751888" y="3267293"/>
            <a:ext cx="752846" cy="606291"/>
          </a:xfrm>
          <a:custGeom>
            <a:avLst/>
            <a:gdLst>
              <a:gd name="T0" fmla="*/ 2147483647 w 524"/>
              <a:gd name="T1" fmla="*/ 2147483647 h 422"/>
              <a:gd name="T2" fmla="*/ 2147483647 w 524"/>
              <a:gd name="T3" fmla="*/ 2147483647 h 422"/>
              <a:gd name="T4" fmla="*/ 2147483647 w 524"/>
              <a:gd name="T5" fmla="*/ 2147483647 h 422"/>
              <a:gd name="T6" fmla="*/ 2147483647 w 524"/>
              <a:gd name="T7" fmla="*/ 2147483647 h 422"/>
              <a:gd name="T8" fmla="*/ 2147483647 w 524"/>
              <a:gd name="T9" fmla="*/ 2147483647 h 422"/>
              <a:gd name="T10" fmla="*/ 2147483647 w 524"/>
              <a:gd name="T11" fmla="*/ 2147483647 h 422"/>
              <a:gd name="T12" fmla="*/ 2147483647 w 524"/>
              <a:gd name="T13" fmla="*/ 2147483647 h 422"/>
              <a:gd name="T14" fmla="*/ 2147483647 w 524"/>
              <a:gd name="T15" fmla="*/ 2147483647 h 422"/>
              <a:gd name="T16" fmla="*/ 2147483647 w 524"/>
              <a:gd name="T17" fmla="*/ 2147483647 h 422"/>
              <a:gd name="T18" fmla="*/ 2147483647 w 524"/>
              <a:gd name="T19" fmla="*/ 2147483647 h 422"/>
              <a:gd name="T20" fmla="*/ 2147483647 w 524"/>
              <a:gd name="T21" fmla="*/ 2147483647 h 422"/>
              <a:gd name="T22" fmla="*/ 2147483647 w 524"/>
              <a:gd name="T23" fmla="*/ 2147483647 h 422"/>
              <a:gd name="T24" fmla="*/ 2147483647 w 524"/>
              <a:gd name="T25" fmla="*/ 2147483647 h 422"/>
              <a:gd name="T26" fmla="*/ 2147483647 w 524"/>
              <a:gd name="T27" fmla="*/ 2147483647 h 422"/>
              <a:gd name="T28" fmla="*/ 2147483647 w 524"/>
              <a:gd name="T29" fmla="*/ 2147483647 h 422"/>
              <a:gd name="T30" fmla="*/ 2147483647 w 524"/>
              <a:gd name="T31" fmla="*/ 2147483647 h 422"/>
              <a:gd name="T32" fmla="*/ 2147483647 w 524"/>
              <a:gd name="T33" fmla="*/ 2147483647 h 422"/>
              <a:gd name="T34" fmla="*/ 2147483647 w 524"/>
              <a:gd name="T35" fmla="*/ 2147483647 h 422"/>
              <a:gd name="T36" fmla="*/ 2147483647 w 524"/>
              <a:gd name="T37" fmla="*/ 2147483647 h 422"/>
              <a:gd name="T38" fmla="*/ 2147483647 w 524"/>
              <a:gd name="T39" fmla="*/ 2147483647 h 422"/>
              <a:gd name="T40" fmla="*/ 2147483647 w 524"/>
              <a:gd name="T41" fmla="*/ 2147483647 h 422"/>
              <a:gd name="T42" fmla="*/ 2147483647 w 524"/>
              <a:gd name="T43" fmla="*/ 2147483647 h 422"/>
              <a:gd name="T44" fmla="*/ 2147483647 w 524"/>
              <a:gd name="T45" fmla="*/ 2147483647 h 422"/>
              <a:gd name="T46" fmla="*/ 2147483647 w 524"/>
              <a:gd name="T47" fmla="*/ 2147483647 h 422"/>
              <a:gd name="T48" fmla="*/ 2147483647 w 524"/>
              <a:gd name="T49" fmla="*/ 2147483647 h 422"/>
              <a:gd name="T50" fmla="*/ 2147483647 w 524"/>
              <a:gd name="T51" fmla="*/ 2147483647 h 422"/>
              <a:gd name="T52" fmla="*/ 2147483647 w 524"/>
              <a:gd name="T53" fmla="*/ 2147483647 h 422"/>
              <a:gd name="T54" fmla="*/ 2147483647 w 524"/>
              <a:gd name="T55" fmla="*/ 2147483647 h 422"/>
              <a:gd name="T56" fmla="*/ 2147483647 w 524"/>
              <a:gd name="T57" fmla="*/ 2147483647 h 422"/>
              <a:gd name="T58" fmla="*/ 2147483647 w 524"/>
              <a:gd name="T59" fmla="*/ 2147483647 h 422"/>
              <a:gd name="T60" fmla="*/ 2147483647 w 524"/>
              <a:gd name="T61" fmla="*/ 2147483647 h 422"/>
              <a:gd name="T62" fmla="*/ 2147483647 w 524"/>
              <a:gd name="T63" fmla="*/ 2147483647 h 422"/>
              <a:gd name="T64" fmla="*/ 2147483647 w 524"/>
              <a:gd name="T65" fmla="*/ 2147483647 h 422"/>
              <a:gd name="T66" fmla="*/ 2147483647 w 524"/>
              <a:gd name="T67" fmla="*/ 2147483647 h 422"/>
              <a:gd name="T68" fmla="*/ 2147483647 w 524"/>
              <a:gd name="T69" fmla="*/ 2147483647 h 422"/>
              <a:gd name="T70" fmla="*/ 2147483647 w 524"/>
              <a:gd name="T71" fmla="*/ 2147483647 h 422"/>
              <a:gd name="T72" fmla="*/ 2147483647 w 524"/>
              <a:gd name="T73" fmla="*/ 2147483647 h 422"/>
              <a:gd name="T74" fmla="*/ 2147483647 w 524"/>
              <a:gd name="T75" fmla="*/ 2147483647 h 422"/>
              <a:gd name="T76" fmla="*/ 2147483647 w 524"/>
              <a:gd name="T77" fmla="*/ 2147483647 h 422"/>
              <a:gd name="T78" fmla="*/ 2147483647 w 524"/>
              <a:gd name="T79" fmla="*/ 2147483647 h 422"/>
              <a:gd name="T80" fmla="*/ 2147483647 w 524"/>
              <a:gd name="T81" fmla="*/ 2147483647 h 422"/>
              <a:gd name="T82" fmla="*/ 2147483647 w 524"/>
              <a:gd name="T83" fmla="*/ 2147483647 h 422"/>
              <a:gd name="T84" fmla="*/ 2147483647 w 524"/>
              <a:gd name="T85" fmla="*/ 2147483647 h 422"/>
              <a:gd name="T86" fmla="*/ 2147483647 w 524"/>
              <a:gd name="T87" fmla="*/ 2147483647 h 422"/>
              <a:gd name="T88" fmla="*/ 2147483647 w 524"/>
              <a:gd name="T89" fmla="*/ 2147483647 h 422"/>
              <a:gd name="T90" fmla="*/ 2147483647 w 524"/>
              <a:gd name="T91" fmla="*/ 2147483647 h 422"/>
              <a:gd name="T92" fmla="*/ 2147483647 w 524"/>
              <a:gd name="T93" fmla="*/ 2147483647 h 422"/>
              <a:gd name="T94" fmla="*/ 2147483647 w 524"/>
              <a:gd name="T95" fmla="*/ 2147483647 h 422"/>
              <a:gd name="T96" fmla="*/ 2147483647 w 524"/>
              <a:gd name="T97" fmla="*/ 2147483647 h 422"/>
              <a:gd name="T98" fmla="*/ 2147483647 w 524"/>
              <a:gd name="T99" fmla="*/ 2147483647 h 422"/>
              <a:gd name="T100" fmla="*/ 2147483647 w 524"/>
              <a:gd name="T101" fmla="*/ 2147483647 h 422"/>
              <a:gd name="T102" fmla="*/ 2147483647 w 524"/>
              <a:gd name="T103" fmla="*/ 2147483647 h 422"/>
              <a:gd name="T104" fmla="*/ 2147483647 w 524"/>
              <a:gd name="T105" fmla="*/ 2147483647 h 422"/>
              <a:gd name="T106" fmla="*/ 2147483647 w 524"/>
              <a:gd name="T107" fmla="*/ 2147483647 h 422"/>
              <a:gd name="T108" fmla="*/ 2147483647 w 524"/>
              <a:gd name="T109" fmla="*/ 2147483647 h 422"/>
              <a:gd name="T110" fmla="*/ 2147483647 w 524"/>
              <a:gd name="T111" fmla="*/ 2147483647 h 422"/>
              <a:gd name="T112" fmla="*/ 2147483647 w 524"/>
              <a:gd name="T113" fmla="*/ 2147483647 h 422"/>
              <a:gd name="T114" fmla="*/ 2147483647 w 524"/>
              <a:gd name="T115" fmla="*/ 2147483647 h 422"/>
              <a:gd name="T116" fmla="*/ 2147483647 w 524"/>
              <a:gd name="T117" fmla="*/ 2147483647 h 42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524" h="422">
                <a:moveTo>
                  <a:pt x="519" y="389"/>
                </a:moveTo>
                <a:cubicBezTo>
                  <a:pt x="469" y="372"/>
                  <a:pt x="469" y="372"/>
                  <a:pt x="469" y="372"/>
                </a:cubicBezTo>
                <a:cubicBezTo>
                  <a:pt x="467" y="371"/>
                  <a:pt x="464" y="371"/>
                  <a:pt x="462" y="373"/>
                </a:cubicBezTo>
                <a:cubicBezTo>
                  <a:pt x="460" y="374"/>
                  <a:pt x="458" y="377"/>
                  <a:pt x="458" y="379"/>
                </a:cubicBezTo>
                <a:cubicBezTo>
                  <a:pt x="458" y="388"/>
                  <a:pt x="458" y="388"/>
                  <a:pt x="458" y="388"/>
                </a:cubicBezTo>
                <a:cubicBezTo>
                  <a:pt x="419" y="388"/>
                  <a:pt x="419" y="388"/>
                  <a:pt x="419" y="388"/>
                </a:cubicBezTo>
                <a:cubicBezTo>
                  <a:pt x="415" y="388"/>
                  <a:pt x="411" y="392"/>
                  <a:pt x="411" y="396"/>
                </a:cubicBezTo>
                <a:cubicBezTo>
                  <a:pt x="411" y="401"/>
                  <a:pt x="415" y="404"/>
                  <a:pt x="419" y="404"/>
                </a:cubicBezTo>
                <a:cubicBezTo>
                  <a:pt x="459" y="404"/>
                  <a:pt x="459" y="404"/>
                  <a:pt x="459" y="404"/>
                </a:cubicBezTo>
                <a:cubicBezTo>
                  <a:pt x="459" y="414"/>
                  <a:pt x="459" y="414"/>
                  <a:pt x="459" y="414"/>
                </a:cubicBezTo>
                <a:cubicBezTo>
                  <a:pt x="459" y="417"/>
                  <a:pt x="460" y="419"/>
                  <a:pt x="462" y="420"/>
                </a:cubicBezTo>
                <a:cubicBezTo>
                  <a:pt x="463" y="421"/>
                  <a:pt x="465" y="422"/>
                  <a:pt x="467" y="422"/>
                </a:cubicBezTo>
                <a:cubicBezTo>
                  <a:pt x="467" y="422"/>
                  <a:pt x="468" y="422"/>
                  <a:pt x="469" y="421"/>
                </a:cubicBezTo>
                <a:cubicBezTo>
                  <a:pt x="519" y="404"/>
                  <a:pt x="519" y="404"/>
                  <a:pt x="519" y="404"/>
                </a:cubicBezTo>
                <a:cubicBezTo>
                  <a:pt x="522" y="403"/>
                  <a:pt x="524" y="400"/>
                  <a:pt x="524" y="396"/>
                </a:cubicBezTo>
                <a:cubicBezTo>
                  <a:pt x="524" y="393"/>
                  <a:pt x="522" y="390"/>
                  <a:pt x="519" y="389"/>
                </a:cubicBezTo>
                <a:close/>
                <a:moveTo>
                  <a:pt x="99" y="47"/>
                </a:moveTo>
                <a:cubicBezTo>
                  <a:pt x="410" y="122"/>
                  <a:pt x="410" y="122"/>
                  <a:pt x="410" y="122"/>
                </a:cubicBezTo>
                <a:cubicBezTo>
                  <a:pt x="408" y="131"/>
                  <a:pt x="408" y="131"/>
                  <a:pt x="408" y="131"/>
                </a:cubicBezTo>
                <a:cubicBezTo>
                  <a:pt x="408" y="133"/>
                  <a:pt x="408" y="136"/>
                  <a:pt x="410" y="138"/>
                </a:cubicBezTo>
                <a:cubicBezTo>
                  <a:pt x="411" y="139"/>
                  <a:pt x="414" y="140"/>
                  <a:pt x="416" y="140"/>
                </a:cubicBezTo>
                <a:cubicBezTo>
                  <a:pt x="416" y="140"/>
                  <a:pt x="416" y="140"/>
                  <a:pt x="417" y="140"/>
                </a:cubicBezTo>
                <a:cubicBezTo>
                  <a:pt x="469" y="135"/>
                  <a:pt x="469" y="135"/>
                  <a:pt x="469" y="135"/>
                </a:cubicBezTo>
                <a:cubicBezTo>
                  <a:pt x="472" y="135"/>
                  <a:pt x="475" y="132"/>
                  <a:pt x="476" y="129"/>
                </a:cubicBezTo>
                <a:cubicBezTo>
                  <a:pt x="477" y="126"/>
                  <a:pt x="475" y="122"/>
                  <a:pt x="472" y="121"/>
                </a:cubicBezTo>
                <a:cubicBezTo>
                  <a:pt x="428" y="92"/>
                  <a:pt x="428" y="92"/>
                  <a:pt x="428" y="92"/>
                </a:cubicBezTo>
                <a:cubicBezTo>
                  <a:pt x="426" y="91"/>
                  <a:pt x="424" y="90"/>
                  <a:pt x="421" y="91"/>
                </a:cubicBezTo>
                <a:cubicBezTo>
                  <a:pt x="419" y="92"/>
                  <a:pt x="417" y="94"/>
                  <a:pt x="416" y="97"/>
                </a:cubicBezTo>
                <a:cubicBezTo>
                  <a:pt x="414" y="106"/>
                  <a:pt x="414" y="106"/>
                  <a:pt x="414" y="106"/>
                </a:cubicBezTo>
                <a:cubicBezTo>
                  <a:pt x="103" y="32"/>
                  <a:pt x="103" y="32"/>
                  <a:pt x="103" y="32"/>
                </a:cubicBezTo>
                <a:cubicBezTo>
                  <a:pt x="98" y="31"/>
                  <a:pt x="94" y="34"/>
                  <a:pt x="93" y="38"/>
                </a:cubicBezTo>
                <a:cubicBezTo>
                  <a:pt x="92" y="42"/>
                  <a:pt x="95" y="46"/>
                  <a:pt x="99" y="47"/>
                </a:cubicBezTo>
                <a:close/>
                <a:moveTo>
                  <a:pt x="185" y="125"/>
                </a:moveTo>
                <a:cubicBezTo>
                  <a:pt x="185" y="125"/>
                  <a:pt x="184" y="124"/>
                  <a:pt x="183" y="123"/>
                </a:cubicBezTo>
                <a:cubicBezTo>
                  <a:pt x="184" y="122"/>
                  <a:pt x="184" y="120"/>
                  <a:pt x="183" y="119"/>
                </a:cubicBezTo>
                <a:cubicBezTo>
                  <a:pt x="182" y="118"/>
                  <a:pt x="180" y="118"/>
                  <a:pt x="179" y="119"/>
                </a:cubicBezTo>
                <a:cubicBezTo>
                  <a:pt x="179" y="120"/>
                  <a:pt x="179" y="120"/>
                  <a:pt x="179" y="120"/>
                </a:cubicBezTo>
                <a:cubicBezTo>
                  <a:pt x="178" y="120"/>
                  <a:pt x="177" y="120"/>
                  <a:pt x="176" y="120"/>
                </a:cubicBezTo>
                <a:cubicBezTo>
                  <a:pt x="174" y="120"/>
                  <a:pt x="172" y="121"/>
                  <a:pt x="170" y="123"/>
                </a:cubicBezTo>
                <a:cubicBezTo>
                  <a:pt x="169" y="124"/>
                  <a:pt x="168" y="125"/>
                  <a:pt x="168" y="126"/>
                </a:cubicBezTo>
                <a:cubicBezTo>
                  <a:pt x="168" y="128"/>
                  <a:pt x="170" y="130"/>
                  <a:pt x="170" y="130"/>
                </a:cubicBezTo>
                <a:cubicBezTo>
                  <a:pt x="171" y="131"/>
                  <a:pt x="172" y="132"/>
                  <a:pt x="173" y="132"/>
                </a:cubicBezTo>
                <a:cubicBezTo>
                  <a:pt x="173" y="132"/>
                  <a:pt x="174" y="133"/>
                  <a:pt x="174" y="133"/>
                </a:cubicBezTo>
                <a:cubicBezTo>
                  <a:pt x="174" y="133"/>
                  <a:pt x="174" y="133"/>
                  <a:pt x="174" y="133"/>
                </a:cubicBezTo>
                <a:cubicBezTo>
                  <a:pt x="174" y="133"/>
                  <a:pt x="174" y="133"/>
                  <a:pt x="174" y="133"/>
                </a:cubicBezTo>
                <a:cubicBezTo>
                  <a:pt x="174" y="133"/>
                  <a:pt x="174" y="133"/>
                  <a:pt x="174" y="133"/>
                </a:cubicBezTo>
                <a:cubicBezTo>
                  <a:pt x="174" y="133"/>
                  <a:pt x="174" y="134"/>
                  <a:pt x="174" y="134"/>
                </a:cubicBezTo>
                <a:cubicBezTo>
                  <a:pt x="173" y="135"/>
                  <a:pt x="173" y="135"/>
                  <a:pt x="171" y="135"/>
                </a:cubicBezTo>
                <a:cubicBezTo>
                  <a:pt x="171" y="135"/>
                  <a:pt x="170" y="135"/>
                  <a:pt x="170" y="135"/>
                </a:cubicBezTo>
                <a:cubicBezTo>
                  <a:pt x="169" y="135"/>
                  <a:pt x="169" y="135"/>
                  <a:pt x="169" y="134"/>
                </a:cubicBezTo>
                <a:cubicBezTo>
                  <a:pt x="169" y="134"/>
                  <a:pt x="169" y="134"/>
                  <a:pt x="169" y="134"/>
                </a:cubicBezTo>
                <a:cubicBezTo>
                  <a:pt x="169" y="134"/>
                  <a:pt x="169" y="134"/>
                  <a:pt x="169" y="134"/>
                </a:cubicBezTo>
                <a:cubicBezTo>
                  <a:pt x="168" y="134"/>
                  <a:pt x="167" y="134"/>
                  <a:pt x="167" y="133"/>
                </a:cubicBezTo>
                <a:cubicBezTo>
                  <a:pt x="167" y="133"/>
                  <a:pt x="167" y="132"/>
                  <a:pt x="166" y="132"/>
                </a:cubicBezTo>
                <a:cubicBezTo>
                  <a:pt x="166" y="132"/>
                  <a:pt x="166" y="132"/>
                  <a:pt x="166" y="132"/>
                </a:cubicBezTo>
                <a:cubicBezTo>
                  <a:pt x="166" y="131"/>
                  <a:pt x="164" y="130"/>
                  <a:pt x="163" y="131"/>
                </a:cubicBezTo>
                <a:cubicBezTo>
                  <a:pt x="162" y="131"/>
                  <a:pt x="161" y="133"/>
                  <a:pt x="162" y="134"/>
                </a:cubicBezTo>
                <a:cubicBezTo>
                  <a:pt x="162" y="134"/>
                  <a:pt x="162" y="136"/>
                  <a:pt x="164" y="137"/>
                </a:cubicBezTo>
                <a:cubicBezTo>
                  <a:pt x="164" y="137"/>
                  <a:pt x="164" y="137"/>
                  <a:pt x="164" y="137"/>
                </a:cubicBezTo>
                <a:cubicBezTo>
                  <a:pt x="163" y="138"/>
                  <a:pt x="163" y="140"/>
                  <a:pt x="164" y="141"/>
                </a:cubicBezTo>
                <a:cubicBezTo>
                  <a:pt x="165" y="141"/>
                  <a:pt x="165" y="141"/>
                  <a:pt x="166" y="141"/>
                </a:cubicBezTo>
                <a:cubicBezTo>
                  <a:pt x="167" y="141"/>
                  <a:pt x="167" y="141"/>
                  <a:pt x="168" y="141"/>
                </a:cubicBezTo>
                <a:cubicBezTo>
                  <a:pt x="169" y="139"/>
                  <a:pt x="169" y="139"/>
                  <a:pt x="169" y="139"/>
                </a:cubicBezTo>
                <a:cubicBezTo>
                  <a:pt x="169" y="140"/>
                  <a:pt x="170" y="140"/>
                  <a:pt x="171" y="140"/>
                </a:cubicBezTo>
                <a:cubicBezTo>
                  <a:pt x="171" y="140"/>
                  <a:pt x="171" y="140"/>
                  <a:pt x="172" y="140"/>
                </a:cubicBezTo>
                <a:cubicBezTo>
                  <a:pt x="173" y="140"/>
                  <a:pt x="176" y="139"/>
                  <a:pt x="178" y="137"/>
                </a:cubicBezTo>
                <a:cubicBezTo>
                  <a:pt x="178" y="136"/>
                  <a:pt x="179" y="136"/>
                  <a:pt x="179" y="135"/>
                </a:cubicBezTo>
                <a:cubicBezTo>
                  <a:pt x="179" y="134"/>
                  <a:pt x="179" y="134"/>
                  <a:pt x="179" y="133"/>
                </a:cubicBezTo>
                <a:cubicBezTo>
                  <a:pt x="179" y="132"/>
                  <a:pt x="178" y="130"/>
                  <a:pt x="178" y="129"/>
                </a:cubicBezTo>
                <a:cubicBezTo>
                  <a:pt x="177" y="129"/>
                  <a:pt x="176" y="128"/>
                  <a:pt x="175" y="128"/>
                </a:cubicBezTo>
                <a:cubicBezTo>
                  <a:pt x="175" y="127"/>
                  <a:pt x="174" y="127"/>
                  <a:pt x="174" y="127"/>
                </a:cubicBezTo>
                <a:cubicBezTo>
                  <a:pt x="174" y="127"/>
                  <a:pt x="173" y="126"/>
                  <a:pt x="173" y="126"/>
                </a:cubicBezTo>
                <a:cubicBezTo>
                  <a:pt x="173" y="126"/>
                  <a:pt x="174" y="126"/>
                  <a:pt x="174" y="126"/>
                </a:cubicBezTo>
                <a:cubicBezTo>
                  <a:pt x="174" y="125"/>
                  <a:pt x="175" y="125"/>
                  <a:pt x="176" y="125"/>
                </a:cubicBezTo>
                <a:cubicBezTo>
                  <a:pt x="177" y="125"/>
                  <a:pt x="177" y="125"/>
                  <a:pt x="178" y="125"/>
                </a:cubicBezTo>
                <a:cubicBezTo>
                  <a:pt x="178" y="125"/>
                  <a:pt x="178" y="125"/>
                  <a:pt x="178" y="125"/>
                </a:cubicBezTo>
                <a:cubicBezTo>
                  <a:pt x="178" y="125"/>
                  <a:pt x="178" y="125"/>
                  <a:pt x="178" y="125"/>
                </a:cubicBezTo>
                <a:cubicBezTo>
                  <a:pt x="178" y="125"/>
                  <a:pt x="178" y="125"/>
                  <a:pt x="178" y="125"/>
                </a:cubicBezTo>
                <a:cubicBezTo>
                  <a:pt x="180" y="126"/>
                  <a:pt x="180" y="126"/>
                  <a:pt x="180" y="126"/>
                </a:cubicBezTo>
                <a:cubicBezTo>
                  <a:pt x="180" y="127"/>
                  <a:pt x="180" y="127"/>
                  <a:pt x="180" y="127"/>
                </a:cubicBezTo>
                <a:cubicBezTo>
                  <a:pt x="181" y="128"/>
                  <a:pt x="182" y="128"/>
                  <a:pt x="183" y="128"/>
                </a:cubicBezTo>
                <a:cubicBezTo>
                  <a:pt x="185" y="128"/>
                  <a:pt x="185" y="126"/>
                  <a:pt x="185" y="125"/>
                </a:cubicBezTo>
                <a:close/>
                <a:moveTo>
                  <a:pt x="446" y="314"/>
                </a:moveTo>
                <a:cubicBezTo>
                  <a:pt x="448" y="312"/>
                  <a:pt x="449" y="309"/>
                  <a:pt x="449" y="306"/>
                </a:cubicBezTo>
                <a:cubicBezTo>
                  <a:pt x="449" y="301"/>
                  <a:pt x="446" y="297"/>
                  <a:pt x="441" y="295"/>
                </a:cubicBezTo>
                <a:cubicBezTo>
                  <a:pt x="435" y="292"/>
                  <a:pt x="435" y="292"/>
                  <a:pt x="435" y="292"/>
                </a:cubicBezTo>
                <a:cubicBezTo>
                  <a:pt x="446" y="279"/>
                  <a:pt x="446" y="279"/>
                  <a:pt x="446" y="279"/>
                </a:cubicBezTo>
                <a:cubicBezTo>
                  <a:pt x="448" y="277"/>
                  <a:pt x="449" y="274"/>
                  <a:pt x="449" y="271"/>
                </a:cubicBezTo>
                <a:cubicBezTo>
                  <a:pt x="449" y="266"/>
                  <a:pt x="446" y="261"/>
                  <a:pt x="441" y="260"/>
                </a:cubicBezTo>
                <a:cubicBezTo>
                  <a:pt x="435" y="256"/>
                  <a:pt x="435" y="256"/>
                  <a:pt x="435" y="256"/>
                </a:cubicBezTo>
                <a:cubicBezTo>
                  <a:pt x="446" y="244"/>
                  <a:pt x="446" y="244"/>
                  <a:pt x="446" y="244"/>
                </a:cubicBezTo>
                <a:cubicBezTo>
                  <a:pt x="448" y="242"/>
                  <a:pt x="449" y="239"/>
                  <a:pt x="449" y="235"/>
                </a:cubicBezTo>
                <a:cubicBezTo>
                  <a:pt x="449" y="231"/>
                  <a:pt x="446" y="226"/>
                  <a:pt x="441" y="225"/>
                </a:cubicBezTo>
                <a:cubicBezTo>
                  <a:pt x="435" y="221"/>
                  <a:pt x="435" y="221"/>
                  <a:pt x="435" y="221"/>
                </a:cubicBezTo>
                <a:cubicBezTo>
                  <a:pt x="446" y="208"/>
                  <a:pt x="446" y="208"/>
                  <a:pt x="446" y="208"/>
                </a:cubicBezTo>
                <a:cubicBezTo>
                  <a:pt x="448" y="206"/>
                  <a:pt x="449" y="203"/>
                  <a:pt x="449" y="200"/>
                </a:cubicBezTo>
                <a:cubicBezTo>
                  <a:pt x="449" y="195"/>
                  <a:pt x="445" y="191"/>
                  <a:pt x="441" y="189"/>
                </a:cubicBezTo>
                <a:cubicBezTo>
                  <a:pt x="340" y="151"/>
                  <a:pt x="340" y="151"/>
                  <a:pt x="340" y="151"/>
                </a:cubicBezTo>
                <a:cubicBezTo>
                  <a:pt x="338" y="150"/>
                  <a:pt x="336" y="150"/>
                  <a:pt x="334" y="150"/>
                </a:cubicBezTo>
                <a:cubicBezTo>
                  <a:pt x="330" y="150"/>
                  <a:pt x="325" y="152"/>
                  <a:pt x="322" y="156"/>
                </a:cubicBezTo>
                <a:cubicBezTo>
                  <a:pt x="290" y="192"/>
                  <a:pt x="290" y="192"/>
                  <a:pt x="290" y="192"/>
                </a:cubicBezTo>
                <a:cubicBezTo>
                  <a:pt x="288" y="195"/>
                  <a:pt x="287" y="197"/>
                  <a:pt x="287" y="201"/>
                </a:cubicBezTo>
                <a:cubicBezTo>
                  <a:pt x="287" y="206"/>
                  <a:pt x="291" y="210"/>
                  <a:pt x="295" y="212"/>
                </a:cubicBezTo>
                <a:cubicBezTo>
                  <a:pt x="303" y="215"/>
                  <a:pt x="303" y="215"/>
                  <a:pt x="303" y="215"/>
                </a:cubicBezTo>
                <a:cubicBezTo>
                  <a:pt x="290" y="227"/>
                  <a:pt x="290" y="227"/>
                  <a:pt x="290" y="227"/>
                </a:cubicBezTo>
                <a:cubicBezTo>
                  <a:pt x="290" y="228"/>
                  <a:pt x="290" y="228"/>
                  <a:pt x="290" y="228"/>
                </a:cubicBezTo>
                <a:cubicBezTo>
                  <a:pt x="288" y="230"/>
                  <a:pt x="287" y="233"/>
                  <a:pt x="287" y="236"/>
                </a:cubicBezTo>
                <a:cubicBezTo>
                  <a:pt x="287" y="241"/>
                  <a:pt x="291" y="246"/>
                  <a:pt x="295" y="247"/>
                </a:cubicBezTo>
                <a:cubicBezTo>
                  <a:pt x="303" y="250"/>
                  <a:pt x="303" y="250"/>
                  <a:pt x="303" y="250"/>
                </a:cubicBezTo>
                <a:cubicBezTo>
                  <a:pt x="290" y="263"/>
                  <a:pt x="290" y="263"/>
                  <a:pt x="290" y="263"/>
                </a:cubicBezTo>
                <a:cubicBezTo>
                  <a:pt x="290" y="263"/>
                  <a:pt x="290" y="263"/>
                  <a:pt x="290" y="263"/>
                </a:cubicBezTo>
                <a:cubicBezTo>
                  <a:pt x="288" y="265"/>
                  <a:pt x="287" y="268"/>
                  <a:pt x="287" y="271"/>
                </a:cubicBezTo>
                <a:cubicBezTo>
                  <a:pt x="287" y="276"/>
                  <a:pt x="291" y="281"/>
                  <a:pt x="295" y="282"/>
                </a:cubicBezTo>
                <a:cubicBezTo>
                  <a:pt x="303" y="285"/>
                  <a:pt x="303" y="285"/>
                  <a:pt x="303" y="285"/>
                </a:cubicBezTo>
                <a:cubicBezTo>
                  <a:pt x="290" y="298"/>
                  <a:pt x="290" y="298"/>
                  <a:pt x="290" y="298"/>
                </a:cubicBezTo>
                <a:cubicBezTo>
                  <a:pt x="290" y="298"/>
                  <a:pt x="290" y="298"/>
                  <a:pt x="290" y="298"/>
                </a:cubicBezTo>
                <a:cubicBezTo>
                  <a:pt x="288" y="300"/>
                  <a:pt x="287" y="303"/>
                  <a:pt x="287" y="306"/>
                </a:cubicBezTo>
                <a:cubicBezTo>
                  <a:pt x="287" y="311"/>
                  <a:pt x="291" y="316"/>
                  <a:pt x="295" y="317"/>
                </a:cubicBezTo>
                <a:cubicBezTo>
                  <a:pt x="396" y="356"/>
                  <a:pt x="396" y="356"/>
                  <a:pt x="396" y="356"/>
                </a:cubicBezTo>
                <a:cubicBezTo>
                  <a:pt x="398" y="356"/>
                  <a:pt x="400" y="357"/>
                  <a:pt x="401" y="357"/>
                </a:cubicBezTo>
                <a:cubicBezTo>
                  <a:pt x="406" y="357"/>
                  <a:pt x="411" y="355"/>
                  <a:pt x="414" y="351"/>
                </a:cubicBezTo>
                <a:lnTo>
                  <a:pt x="446" y="314"/>
                </a:lnTo>
                <a:close/>
                <a:moveTo>
                  <a:pt x="402" y="305"/>
                </a:moveTo>
                <a:cubicBezTo>
                  <a:pt x="306" y="269"/>
                  <a:pt x="306" y="269"/>
                  <a:pt x="306" y="269"/>
                </a:cubicBezTo>
                <a:cubicBezTo>
                  <a:pt x="319" y="256"/>
                  <a:pt x="319" y="256"/>
                  <a:pt x="319" y="256"/>
                </a:cubicBezTo>
                <a:cubicBezTo>
                  <a:pt x="396" y="285"/>
                  <a:pt x="396" y="285"/>
                  <a:pt x="396" y="285"/>
                </a:cubicBezTo>
                <a:cubicBezTo>
                  <a:pt x="398" y="286"/>
                  <a:pt x="400" y="286"/>
                  <a:pt x="401" y="286"/>
                </a:cubicBezTo>
                <a:cubicBezTo>
                  <a:pt x="406" y="286"/>
                  <a:pt x="411" y="284"/>
                  <a:pt x="414" y="280"/>
                </a:cubicBezTo>
                <a:cubicBezTo>
                  <a:pt x="424" y="269"/>
                  <a:pt x="424" y="269"/>
                  <a:pt x="424" y="269"/>
                </a:cubicBezTo>
                <a:cubicBezTo>
                  <a:pt x="430" y="272"/>
                  <a:pt x="430" y="272"/>
                  <a:pt x="430" y="272"/>
                </a:cubicBezTo>
                <a:cubicBezTo>
                  <a:pt x="402" y="305"/>
                  <a:pt x="402" y="305"/>
                  <a:pt x="402" y="305"/>
                </a:cubicBezTo>
                <a:cubicBezTo>
                  <a:pt x="402" y="305"/>
                  <a:pt x="402" y="305"/>
                  <a:pt x="402" y="305"/>
                </a:cubicBezTo>
                <a:cubicBezTo>
                  <a:pt x="402" y="305"/>
                  <a:pt x="402" y="305"/>
                  <a:pt x="402" y="305"/>
                </a:cubicBezTo>
                <a:close/>
                <a:moveTo>
                  <a:pt x="402" y="270"/>
                </a:moveTo>
                <a:cubicBezTo>
                  <a:pt x="402" y="270"/>
                  <a:pt x="402" y="270"/>
                  <a:pt x="402" y="270"/>
                </a:cubicBezTo>
                <a:cubicBezTo>
                  <a:pt x="306" y="234"/>
                  <a:pt x="306" y="234"/>
                  <a:pt x="306" y="234"/>
                </a:cubicBezTo>
                <a:cubicBezTo>
                  <a:pt x="319" y="221"/>
                  <a:pt x="319" y="221"/>
                  <a:pt x="319" y="221"/>
                </a:cubicBezTo>
                <a:cubicBezTo>
                  <a:pt x="396" y="250"/>
                  <a:pt x="396" y="250"/>
                  <a:pt x="396" y="250"/>
                </a:cubicBezTo>
                <a:cubicBezTo>
                  <a:pt x="398" y="251"/>
                  <a:pt x="400" y="251"/>
                  <a:pt x="401" y="251"/>
                </a:cubicBezTo>
                <a:cubicBezTo>
                  <a:pt x="406" y="251"/>
                  <a:pt x="411" y="249"/>
                  <a:pt x="414" y="245"/>
                </a:cubicBezTo>
                <a:cubicBezTo>
                  <a:pt x="408" y="240"/>
                  <a:pt x="408" y="240"/>
                  <a:pt x="408" y="240"/>
                </a:cubicBezTo>
                <a:cubicBezTo>
                  <a:pt x="414" y="245"/>
                  <a:pt x="414" y="245"/>
                  <a:pt x="414" y="245"/>
                </a:cubicBezTo>
                <a:cubicBezTo>
                  <a:pt x="424" y="234"/>
                  <a:pt x="424" y="234"/>
                  <a:pt x="424" y="234"/>
                </a:cubicBezTo>
                <a:cubicBezTo>
                  <a:pt x="430" y="237"/>
                  <a:pt x="430" y="237"/>
                  <a:pt x="430" y="237"/>
                </a:cubicBezTo>
                <a:lnTo>
                  <a:pt x="402" y="270"/>
                </a:lnTo>
                <a:close/>
                <a:moveTo>
                  <a:pt x="334" y="166"/>
                </a:moveTo>
                <a:cubicBezTo>
                  <a:pt x="334" y="166"/>
                  <a:pt x="334" y="166"/>
                  <a:pt x="334" y="166"/>
                </a:cubicBezTo>
                <a:cubicBezTo>
                  <a:pt x="430" y="202"/>
                  <a:pt x="430" y="202"/>
                  <a:pt x="430" y="202"/>
                </a:cubicBezTo>
                <a:cubicBezTo>
                  <a:pt x="402" y="235"/>
                  <a:pt x="402" y="235"/>
                  <a:pt x="402" y="235"/>
                </a:cubicBezTo>
                <a:cubicBezTo>
                  <a:pt x="402" y="235"/>
                  <a:pt x="402" y="235"/>
                  <a:pt x="402" y="235"/>
                </a:cubicBezTo>
                <a:cubicBezTo>
                  <a:pt x="402" y="235"/>
                  <a:pt x="402" y="235"/>
                  <a:pt x="402" y="235"/>
                </a:cubicBezTo>
                <a:cubicBezTo>
                  <a:pt x="306" y="199"/>
                  <a:pt x="306" y="199"/>
                  <a:pt x="306" y="199"/>
                </a:cubicBezTo>
                <a:lnTo>
                  <a:pt x="334" y="166"/>
                </a:lnTo>
                <a:close/>
                <a:moveTo>
                  <a:pt x="402" y="341"/>
                </a:moveTo>
                <a:cubicBezTo>
                  <a:pt x="306" y="305"/>
                  <a:pt x="306" y="305"/>
                  <a:pt x="306" y="305"/>
                </a:cubicBezTo>
                <a:cubicBezTo>
                  <a:pt x="319" y="291"/>
                  <a:pt x="319" y="291"/>
                  <a:pt x="319" y="291"/>
                </a:cubicBezTo>
                <a:cubicBezTo>
                  <a:pt x="396" y="320"/>
                  <a:pt x="396" y="320"/>
                  <a:pt x="396" y="320"/>
                </a:cubicBezTo>
                <a:cubicBezTo>
                  <a:pt x="398" y="321"/>
                  <a:pt x="400" y="321"/>
                  <a:pt x="401" y="321"/>
                </a:cubicBezTo>
                <a:cubicBezTo>
                  <a:pt x="406" y="321"/>
                  <a:pt x="411" y="320"/>
                  <a:pt x="414" y="316"/>
                </a:cubicBezTo>
                <a:cubicBezTo>
                  <a:pt x="424" y="304"/>
                  <a:pt x="424" y="304"/>
                  <a:pt x="424" y="304"/>
                </a:cubicBezTo>
                <a:cubicBezTo>
                  <a:pt x="430" y="307"/>
                  <a:pt x="430" y="307"/>
                  <a:pt x="430" y="307"/>
                </a:cubicBezTo>
                <a:cubicBezTo>
                  <a:pt x="402" y="340"/>
                  <a:pt x="402" y="340"/>
                  <a:pt x="402" y="340"/>
                </a:cubicBezTo>
                <a:cubicBezTo>
                  <a:pt x="402" y="340"/>
                  <a:pt x="402" y="341"/>
                  <a:pt x="402" y="341"/>
                </a:cubicBezTo>
                <a:close/>
                <a:moveTo>
                  <a:pt x="379" y="196"/>
                </a:moveTo>
                <a:cubicBezTo>
                  <a:pt x="379" y="195"/>
                  <a:pt x="379" y="194"/>
                  <a:pt x="377" y="193"/>
                </a:cubicBezTo>
                <a:cubicBezTo>
                  <a:pt x="378" y="192"/>
                  <a:pt x="378" y="191"/>
                  <a:pt x="377" y="190"/>
                </a:cubicBezTo>
                <a:cubicBezTo>
                  <a:pt x="376" y="189"/>
                  <a:pt x="375" y="189"/>
                  <a:pt x="374" y="190"/>
                </a:cubicBezTo>
                <a:cubicBezTo>
                  <a:pt x="373" y="191"/>
                  <a:pt x="373" y="191"/>
                  <a:pt x="373" y="191"/>
                </a:cubicBezTo>
                <a:cubicBezTo>
                  <a:pt x="372" y="191"/>
                  <a:pt x="371" y="191"/>
                  <a:pt x="370" y="191"/>
                </a:cubicBezTo>
                <a:cubicBezTo>
                  <a:pt x="369" y="191"/>
                  <a:pt x="366" y="191"/>
                  <a:pt x="364" y="193"/>
                </a:cubicBezTo>
                <a:cubicBezTo>
                  <a:pt x="363" y="194"/>
                  <a:pt x="363" y="196"/>
                  <a:pt x="363" y="197"/>
                </a:cubicBezTo>
                <a:cubicBezTo>
                  <a:pt x="363" y="199"/>
                  <a:pt x="364" y="200"/>
                  <a:pt x="365" y="201"/>
                </a:cubicBezTo>
                <a:cubicBezTo>
                  <a:pt x="365" y="202"/>
                  <a:pt x="366" y="202"/>
                  <a:pt x="367" y="202"/>
                </a:cubicBezTo>
                <a:cubicBezTo>
                  <a:pt x="367" y="203"/>
                  <a:pt x="368" y="203"/>
                  <a:pt x="368" y="203"/>
                </a:cubicBezTo>
                <a:cubicBezTo>
                  <a:pt x="369" y="204"/>
                  <a:pt x="369" y="204"/>
                  <a:pt x="369" y="204"/>
                </a:cubicBezTo>
                <a:cubicBezTo>
                  <a:pt x="369" y="204"/>
                  <a:pt x="369" y="204"/>
                  <a:pt x="369" y="204"/>
                </a:cubicBezTo>
                <a:cubicBezTo>
                  <a:pt x="369" y="204"/>
                  <a:pt x="369" y="204"/>
                  <a:pt x="369" y="204"/>
                </a:cubicBezTo>
                <a:cubicBezTo>
                  <a:pt x="369" y="204"/>
                  <a:pt x="369" y="204"/>
                  <a:pt x="368" y="204"/>
                </a:cubicBezTo>
                <a:cubicBezTo>
                  <a:pt x="368" y="205"/>
                  <a:pt x="367" y="205"/>
                  <a:pt x="366" y="205"/>
                </a:cubicBezTo>
                <a:cubicBezTo>
                  <a:pt x="365" y="205"/>
                  <a:pt x="364" y="205"/>
                  <a:pt x="364" y="205"/>
                </a:cubicBezTo>
                <a:cubicBezTo>
                  <a:pt x="363" y="205"/>
                  <a:pt x="363" y="205"/>
                  <a:pt x="363" y="205"/>
                </a:cubicBezTo>
                <a:cubicBezTo>
                  <a:pt x="363" y="205"/>
                  <a:pt x="363" y="205"/>
                  <a:pt x="363" y="205"/>
                </a:cubicBezTo>
                <a:cubicBezTo>
                  <a:pt x="363" y="205"/>
                  <a:pt x="363" y="205"/>
                  <a:pt x="363" y="205"/>
                </a:cubicBezTo>
                <a:cubicBezTo>
                  <a:pt x="362" y="205"/>
                  <a:pt x="362" y="204"/>
                  <a:pt x="361" y="203"/>
                </a:cubicBezTo>
                <a:cubicBezTo>
                  <a:pt x="361" y="203"/>
                  <a:pt x="361" y="203"/>
                  <a:pt x="361" y="203"/>
                </a:cubicBezTo>
                <a:cubicBezTo>
                  <a:pt x="361" y="203"/>
                  <a:pt x="361" y="203"/>
                  <a:pt x="361" y="203"/>
                </a:cubicBezTo>
                <a:cubicBezTo>
                  <a:pt x="361" y="203"/>
                  <a:pt x="361" y="203"/>
                  <a:pt x="361" y="203"/>
                </a:cubicBezTo>
                <a:cubicBezTo>
                  <a:pt x="360" y="201"/>
                  <a:pt x="359" y="201"/>
                  <a:pt x="357" y="201"/>
                </a:cubicBezTo>
                <a:cubicBezTo>
                  <a:pt x="356" y="202"/>
                  <a:pt x="356" y="203"/>
                  <a:pt x="356" y="204"/>
                </a:cubicBezTo>
                <a:cubicBezTo>
                  <a:pt x="356" y="204"/>
                  <a:pt x="357" y="206"/>
                  <a:pt x="358" y="208"/>
                </a:cubicBezTo>
                <a:cubicBezTo>
                  <a:pt x="358" y="208"/>
                  <a:pt x="358" y="208"/>
                  <a:pt x="358" y="208"/>
                </a:cubicBezTo>
                <a:cubicBezTo>
                  <a:pt x="357" y="209"/>
                  <a:pt x="358" y="210"/>
                  <a:pt x="359" y="211"/>
                </a:cubicBezTo>
                <a:cubicBezTo>
                  <a:pt x="359" y="212"/>
                  <a:pt x="360" y="212"/>
                  <a:pt x="360" y="212"/>
                </a:cubicBezTo>
                <a:cubicBezTo>
                  <a:pt x="361" y="212"/>
                  <a:pt x="362" y="212"/>
                  <a:pt x="362" y="211"/>
                </a:cubicBezTo>
                <a:cubicBezTo>
                  <a:pt x="363" y="210"/>
                  <a:pt x="363" y="210"/>
                  <a:pt x="363" y="210"/>
                </a:cubicBezTo>
                <a:cubicBezTo>
                  <a:pt x="364" y="210"/>
                  <a:pt x="365" y="210"/>
                  <a:pt x="366" y="210"/>
                </a:cubicBezTo>
                <a:cubicBezTo>
                  <a:pt x="366" y="210"/>
                  <a:pt x="366" y="210"/>
                  <a:pt x="366" y="210"/>
                </a:cubicBezTo>
                <a:cubicBezTo>
                  <a:pt x="368" y="210"/>
                  <a:pt x="370" y="210"/>
                  <a:pt x="372" y="208"/>
                </a:cubicBezTo>
                <a:cubicBezTo>
                  <a:pt x="373" y="207"/>
                  <a:pt x="373" y="206"/>
                  <a:pt x="373" y="205"/>
                </a:cubicBezTo>
                <a:cubicBezTo>
                  <a:pt x="373" y="205"/>
                  <a:pt x="374" y="204"/>
                  <a:pt x="374" y="204"/>
                </a:cubicBezTo>
                <a:cubicBezTo>
                  <a:pt x="374" y="202"/>
                  <a:pt x="373" y="201"/>
                  <a:pt x="372" y="200"/>
                </a:cubicBezTo>
                <a:cubicBezTo>
                  <a:pt x="371" y="199"/>
                  <a:pt x="370" y="199"/>
                  <a:pt x="370" y="198"/>
                </a:cubicBezTo>
                <a:cubicBezTo>
                  <a:pt x="369" y="198"/>
                  <a:pt x="368" y="197"/>
                  <a:pt x="368" y="197"/>
                </a:cubicBezTo>
                <a:cubicBezTo>
                  <a:pt x="368" y="197"/>
                  <a:pt x="368" y="197"/>
                  <a:pt x="368" y="197"/>
                </a:cubicBezTo>
                <a:cubicBezTo>
                  <a:pt x="368" y="197"/>
                  <a:pt x="368" y="197"/>
                  <a:pt x="368" y="196"/>
                </a:cubicBezTo>
                <a:cubicBezTo>
                  <a:pt x="368" y="196"/>
                  <a:pt x="369" y="196"/>
                  <a:pt x="370" y="196"/>
                </a:cubicBezTo>
                <a:cubicBezTo>
                  <a:pt x="371" y="196"/>
                  <a:pt x="372" y="196"/>
                  <a:pt x="372" y="196"/>
                </a:cubicBezTo>
                <a:cubicBezTo>
                  <a:pt x="372" y="196"/>
                  <a:pt x="372" y="196"/>
                  <a:pt x="373" y="196"/>
                </a:cubicBezTo>
                <a:cubicBezTo>
                  <a:pt x="373" y="196"/>
                  <a:pt x="373" y="196"/>
                  <a:pt x="373" y="196"/>
                </a:cubicBezTo>
                <a:cubicBezTo>
                  <a:pt x="373" y="196"/>
                  <a:pt x="373" y="196"/>
                  <a:pt x="373" y="196"/>
                </a:cubicBezTo>
                <a:cubicBezTo>
                  <a:pt x="374" y="196"/>
                  <a:pt x="374" y="197"/>
                  <a:pt x="375" y="197"/>
                </a:cubicBezTo>
                <a:cubicBezTo>
                  <a:pt x="375" y="197"/>
                  <a:pt x="375" y="197"/>
                  <a:pt x="375" y="197"/>
                </a:cubicBezTo>
                <a:cubicBezTo>
                  <a:pt x="375" y="198"/>
                  <a:pt x="376" y="199"/>
                  <a:pt x="378" y="199"/>
                </a:cubicBezTo>
                <a:cubicBezTo>
                  <a:pt x="379" y="198"/>
                  <a:pt x="380" y="197"/>
                  <a:pt x="379" y="196"/>
                </a:cubicBezTo>
                <a:close/>
                <a:moveTo>
                  <a:pt x="386" y="388"/>
                </a:moveTo>
                <a:cubicBezTo>
                  <a:pt x="37" y="388"/>
                  <a:pt x="37" y="388"/>
                  <a:pt x="37" y="388"/>
                </a:cubicBezTo>
                <a:cubicBezTo>
                  <a:pt x="35" y="388"/>
                  <a:pt x="34" y="387"/>
                  <a:pt x="34" y="385"/>
                </a:cubicBezTo>
                <a:cubicBezTo>
                  <a:pt x="34" y="65"/>
                  <a:pt x="34" y="65"/>
                  <a:pt x="34" y="65"/>
                </a:cubicBezTo>
                <a:cubicBezTo>
                  <a:pt x="43" y="65"/>
                  <a:pt x="43" y="65"/>
                  <a:pt x="43" y="65"/>
                </a:cubicBezTo>
                <a:cubicBezTo>
                  <a:pt x="46" y="65"/>
                  <a:pt x="48" y="64"/>
                  <a:pt x="50" y="62"/>
                </a:cubicBezTo>
                <a:cubicBezTo>
                  <a:pt x="51" y="60"/>
                  <a:pt x="52" y="57"/>
                  <a:pt x="51" y="54"/>
                </a:cubicBezTo>
                <a:cubicBezTo>
                  <a:pt x="33" y="5"/>
                  <a:pt x="33" y="5"/>
                  <a:pt x="33" y="5"/>
                </a:cubicBezTo>
                <a:cubicBezTo>
                  <a:pt x="32" y="2"/>
                  <a:pt x="29" y="0"/>
                  <a:pt x="26" y="0"/>
                </a:cubicBezTo>
                <a:cubicBezTo>
                  <a:pt x="22" y="0"/>
                  <a:pt x="19" y="2"/>
                  <a:pt x="18" y="5"/>
                </a:cubicBezTo>
                <a:cubicBezTo>
                  <a:pt x="1" y="55"/>
                  <a:pt x="1" y="55"/>
                  <a:pt x="1" y="55"/>
                </a:cubicBezTo>
                <a:cubicBezTo>
                  <a:pt x="0" y="57"/>
                  <a:pt x="0" y="60"/>
                  <a:pt x="2" y="62"/>
                </a:cubicBezTo>
                <a:cubicBezTo>
                  <a:pt x="3" y="64"/>
                  <a:pt x="6" y="65"/>
                  <a:pt x="8" y="65"/>
                </a:cubicBezTo>
                <a:cubicBezTo>
                  <a:pt x="8" y="65"/>
                  <a:pt x="8" y="65"/>
                  <a:pt x="8" y="65"/>
                </a:cubicBezTo>
                <a:cubicBezTo>
                  <a:pt x="18" y="65"/>
                  <a:pt x="18" y="65"/>
                  <a:pt x="18" y="65"/>
                </a:cubicBezTo>
                <a:cubicBezTo>
                  <a:pt x="18" y="385"/>
                  <a:pt x="18" y="385"/>
                  <a:pt x="18" y="385"/>
                </a:cubicBezTo>
                <a:cubicBezTo>
                  <a:pt x="18" y="396"/>
                  <a:pt x="26" y="404"/>
                  <a:pt x="37" y="404"/>
                </a:cubicBezTo>
                <a:cubicBezTo>
                  <a:pt x="37" y="404"/>
                  <a:pt x="37" y="404"/>
                  <a:pt x="37" y="404"/>
                </a:cubicBezTo>
                <a:cubicBezTo>
                  <a:pt x="386" y="404"/>
                  <a:pt x="386" y="404"/>
                  <a:pt x="386" y="404"/>
                </a:cubicBezTo>
                <a:cubicBezTo>
                  <a:pt x="390" y="404"/>
                  <a:pt x="394" y="401"/>
                  <a:pt x="394" y="396"/>
                </a:cubicBezTo>
                <a:cubicBezTo>
                  <a:pt x="394" y="392"/>
                  <a:pt x="390" y="388"/>
                  <a:pt x="386" y="388"/>
                </a:cubicBezTo>
                <a:close/>
                <a:moveTo>
                  <a:pt x="255" y="130"/>
                </a:moveTo>
                <a:cubicBezTo>
                  <a:pt x="255" y="125"/>
                  <a:pt x="251" y="120"/>
                  <a:pt x="247" y="119"/>
                </a:cubicBezTo>
                <a:cubicBezTo>
                  <a:pt x="145" y="80"/>
                  <a:pt x="145" y="80"/>
                  <a:pt x="145" y="80"/>
                </a:cubicBezTo>
                <a:cubicBezTo>
                  <a:pt x="144" y="80"/>
                  <a:pt x="142" y="79"/>
                  <a:pt x="140" y="79"/>
                </a:cubicBezTo>
                <a:cubicBezTo>
                  <a:pt x="135" y="80"/>
                  <a:pt x="131" y="81"/>
                  <a:pt x="127" y="85"/>
                </a:cubicBezTo>
                <a:cubicBezTo>
                  <a:pt x="96" y="122"/>
                  <a:pt x="96" y="122"/>
                  <a:pt x="96" y="122"/>
                </a:cubicBezTo>
                <a:cubicBezTo>
                  <a:pt x="94" y="124"/>
                  <a:pt x="93" y="127"/>
                  <a:pt x="93" y="130"/>
                </a:cubicBezTo>
                <a:cubicBezTo>
                  <a:pt x="93" y="135"/>
                  <a:pt x="96" y="140"/>
                  <a:pt x="101" y="141"/>
                </a:cubicBezTo>
                <a:cubicBezTo>
                  <a:pt x="108" y="144"/>
                  <a:pt x="108" y="144"/>
                  <a:pt x="108" y="144"/>
                </a:cubicBezTo>
                <a:cubicBezTo>
                  <a:pt x="96" y="157"/>
                  <a:pt x="96" y="157"/>
                  <a:pt x="96" y="157"/>
                </a:cubicBezTo>
                <a:cubicBezTo>
                  <a:pt x="96" y="157"/>
                  <a:pt x="96" y="157"/>
                  <a:pt x="96" y="157"/>
                </a:cubicBezTo>
                <a:cubicBezTo>
                  <a:pt x="94" y="159"/>
                  <a:pt x="93" y="162"/>
                  <a:pt x="93" y="165"/>
                </a:cubicBezTo>
                <a:cubicBezTo>
                  <a:pt x="93" y="170"/>
                  <a:pt x="96" y="175"/>
                  <a:pt x="100" y="176"/>
                </a:cubicBezTo>
                <a:cubicBezTo>
                  <a:pt x="108" y="179"/>
                  <a:pt x="108" y="179"/>
                  <a:pt x="108" y="179"/>
                </a:cubicBezTo>
                <a:cubicBezTo>
                  <a:pt x="96" y="192"/>
                  <a:pt x="96" y="192"/>
                  <a:pt x="96" y="192"/>
                </a:cubicBezTo>
                <a:cubicBezTo>
                  <a:pt x="96" y="192"/>
                  <a:pt x="96" y="192"/>
                  <a:pt x="96" y="192"/>
                </a:cubicBezTo>
                <a:cubicBezTo>
                  <a:pt x="94" y="195"/>
                  <a:pt x="93" y="197"/>
                  <a:pt x="93" y="201"/>
                </a:cubicBezTo>
                <a:cubicBezTo>
                  <a:pt x="93" y="206"/>
                  <a:pt x="96" y="210"/>
                  <a:pt x="100" y="212"/>
                </a:cubicBezTo>
                <a:cubicBezTo>
                  <a:pt x="108" y="215"/>
                  <a:pt x="108" y="215"/>
                  <a:pt x="108" y="215"/>
                </a:cubicBezTo>
                <a:cubicBezTo>
                  <a:pt x="96" y="227"/>
                  <a:pt x="96" y="227"/>
                  <a:pt x="96" y="227"/>
                </a:cubicBezTo>
                <a:cubicBezTo>
                  <a:pt x="96" y="228"/>
                  <a:pt x="96" y="228"/>
                  <a:pt x="96" y="228"/>
                </a:cubicBezTo>
                <a:cubicBezTo>
                  <a:pt x="94" y="230"/>
                  <a:pt x="93" y="233"/>
                  <a:pt x="93" y="236"/>
                </a:cubicBezTo>
                <a:cubicBezTo>
                  <a:pt x="93" y="241"/>
                  <a:pt x="96" y="246"/>
                  <a:pt x="100" y="247"/>
                </a:cubicBezTo>
                <a:cubicBezTo>
                  <a:pt x="108" y="250"/>
                  <a:pt x="108" y="250"/>
                  <a:pt x="108" y="250"/>
                </a:cubicBezTo>
                <a:cubicBezTo>
                  <a:pt x="96" y="263"/>
                  <a:pt x="96" y="263"/>
                  <a:pt x="96" y="263"/>
                </a:cubicBezTo>
                <a:cubicBezTo>
                  <a:pt x="96" y="263"/>
                  <a:pt x="96" y="263"/>
                  <a:pt x="96" y="263"/>
                </a:cubicBezTo>
                <a:cubicBezTo>
                  <a:pt x="94" y="265"/>
                  <a:pt x="93" y="268"/>
                  <a:pt x="93" y="271"/>
                </a:cubicBezTo>
                <a:cubicBezTo>
                  <a:pt x="93" y="276"/>
                  <a:pt x="96" y="281"/>
                  <a:pt x="100" y="282"/>
                </a:cubicBezTo>
                <a:cubicBezTo>
                  <a:pt x="108" y="285"/>
                  <a:pt x="108" y="285"/>
                  <a:pt x="108" y="285"/>
                </a:cubicBezTo>
                <a:cubicBezTo>
                  <a:pt x="96" y="298"/>
                  <a:pt x="96" y="298"/>
                  <a:pt x="96" y="298"/>
                </a:cubicBezTo>
                <a:cubicBezTo>
                  <a:pt x="96" y="298"/>
                  <a:pt x="96" y="298"/>
                  <a:pt x="96" y="298"/>
                </a:cubicBezTo>
                <a:cubicBezTo>
                  <a:pt x="94" y="300"/>
                  <a:pt x="93" y="303"/>
                  <a:pt x="93" y="306"/>
                </a:cubicBezTo>
                <a:cubicBezTo>
                  <a:pt x="93" y="311"/>
                  <a:pt x="96" y="316"/>
                  <a:pt x="100" y="317"/>
                </a:cubicBezTo>
                <a:cubicBezTo>
                  <a:pt x="202" y="356"/>
                  <a:pt x="202" y="356"/>
                  <a:pt x="202" y="356"/>
                </a:cubicBezTo>
                <a:cubicBezTo>
                  <a:pt x="204" y="356"/>
                  <a:pt x="205" y="357"/>
                  <a:pt x="207" y="357"/>
                </a:cubicBezTo>
                <a:cubicBezTo>
                  <a:pt x="212" y="357"/>
                  <a:pt x="216" y="355"/>
                  <a:pt x="220" y="351"/>
                </a:cubicBezTo>
                <a:cubicBezTo>
                  <a:pt x="252" y="314"/>
                  <a:pt x="252" y="314"/>
                  <a:pt x="252" y="314"/>
                </a:cubicBezTo>
                <a:cubicBezTo>
                  <a:pt x="253" y="312"/>
                  <a:pt x="255" y="309"/>
                  <a:pt x="255" y="306"/>
                </a:cubicBezTo>
                <a:cubicBezTo>
                  <a:pt x="255" y="301"/>
                  <a:pt x="251" y="297"/>
                  <a:pt x="247" y="295"/>
                </a:cubicBezTo>
                <a:cubicBezTo>
                  <a:pt x="241" y="292"/>
                  <a:pt x="241" y="292"/>
                  <a:pt x="241" y="292"/>
                </a:cubicBezTo>
                <a:cubicBezTo>
                  <a:pt x="252" y="279"/>
                  <a:pt x="252" y="279"/>
                  <a:pt x="252" y="279"/>
                </a:cubicBezTo>
                <a:cubicBezTo>
                  <a:pt x="253" y="277"/>
                  <a:pt x="255" y="274"/>
                  <a:pt x="255" y="271"/>
                </a:cubicBezTo>
                <a:cubicBezTo>
                  <a:pt x="255" y="266"/>
                  <a:pt x="251" y="261"/>
                  <a:pt x="247" y="260"/>
                </a:cubicBezTo>
                <a:cubicBezTo>
                  <a:pt x="241" y="256"/>
                  <a:pt x="241" y="256"/>
                  <a:pt x="241" y="256"/>
                </a:cubicBezTo>
                <a:cubicBezTo>
                  <a:pt x="252" y="244"/>
                  <a:pt x="252" y="244"/>
                  <a:pt x="252" y="244"/>
                </a:cubicBezTo>
                <a:cubicBezTo>
                  <a:pt x="253" y="242"/>
                  <a:pt x="255" y="239"/>
                  <a:pt x="255" y="235"/>
                </a:cubicBezTo>
                <a:cubicBezTo>
                  <a:pt x="255" y="231"/>
                  <a:pt x="251" y="226"/>
                  <a:pt x="247" y="225"/>
                </a:cubicBezTo>
                <a:cubicBezTo>
                  <a:pt x="241" y="221"/>
                  <a:pt x="241" y="221"/>
                  <a:pt x="241" y="221"/>
                </a:cubicBezTo>
                <a:cubicBezTo>
                  <a:pt x="252" y="208"/>
                  <a:pt x="252" y="208"/>
                  <a:pt x="252" y="208"/>
                </a:cubicBezTo>
                <a:cubicBezTo>
                  <a:pt x="253" y="206"/>
                  <a:pt x="255" y="203"/>
                  <a:pt x="255" y="200"/>
                </a:cubicBezTo>
                <a:cubicBezTo>
                  <a:pt x="255" y="195"/>
                  <a:pt x="251" y="191"/>
                  <a:pt x="247" y="189"/>
                </a:cubicBezTo>
                <a:cubicBezTo>
                  <a:pt x="241" y="186"/>
                  <a:pt x="241" y="186"/>
                  <a:pt x="241" y="186"/>
                </a:cubicBezTo>
                <a:cubicBezTo>
                  <a:pt x="252" y="173"/>
                  <a:pt x="252" y="173"/>
                  <a:pt x="252" y="173"/>
                </a:cubicBezTo>
                <a:cubicBezTo>
                  <a:pt x="253" y="171"/>
                  <a:pt x="255" y="168"/>
                  <a:pt x="255" y="165"/>
                </a:cubicBezTo>
                <a:cubicBezTo>
                  <a:pt x="255" y="160"/>
                  <a:pt x="251" y="156"/>
                  <a:pt x="247" y="154"/>
                </a:cubicBezTo>
                <a:cubicBezTo>
                  <a:pt x="241" y="151"/>
                  <a:pt x="241" y="151"/>
                  <a:pt x="241" y="151"/>
                </a:cubicBezTo>
                <a:cubicBezTo>
                  <a:pt x="252" y="138"/>
                  <a:pt x="252" y="138"/>
                  <a:pt x="252" y="138"/>
                </a:cubicBezTo>
                <a:cubicBezTo>
                  <a:pt x="253" y="136"/>
                  <a:pt x="255" y="133"/>
                  <a:pt x="255" y="130"/>
                </a:cubicBezTo>
                <a:close/>
                <a:moveTo>
                  <a:pt x="139" y="96"/>
                </a:moveTo>
                <a:cubicBezTo>
                  <a:pt x="140" y="96"/>
                  <a:pt x="140" y="96"/>
                  <a:pt x="140" y="95"/>
                </a:cubicBezTo>
                <a:cubicBezTo>
                  <a:pt x="236" y="132"/>
                  <a:pt x="236" y="132"/>
                  <a:pt x="236" y="132"/>
                </a:cubicBezTo>
                <a:cubicBezTo>
                  <a:pt x="208" y="164"/>
                  <a:pt x="208" y="164"/>
                  <a:pt x="208" y="164"/>
                </a:cubicBezTo>
                <a:cubicBezTo>
                  <a:pt x="208" y="164"/>
                  <a:pt x="207" y="164"/>
                  <a:pt x="207" y="164"/>
                </a:cubicBezTo>
                <a:cubicBezTo>
                  <a:pt x="112" y="128"/>
                  <a:pt x="112" y="128"/>
                  <a:pt x="112" y="128"/>
                </a:cubicBezTo>
                <a:lnTo>
                  <a:pt x="139" y="96"/>
                </a:lnTo>
                <a:close/>
                <a:moveTo>
                  <a:pt x="207" y="235"/>
                </a:moveTo>
                <a:cubicBezTo>
                  <a:pt x="112" y="199"/>
                  <a:pt x="112" y="199"/>
                  <a:pt x="112" y="199"/>
                </a:cubicBezTo>
                <a:cubicBezTo>
                  <a:pt x="125" y="186"/>
                  <a:pt x="125" y="186"/>
                  <a:pt x="125" y="186"/>
                </a:cubicBezTo>
                <a:cubicBezTo>
                  <a:pt x="202" y="215"/>
                  <a:pt x="202" y="215"/>
                  <a:pt x="202" y="215"/>
                </a:cubicBezTo>
                <a:cubicBezTo>
                  <a:pt x="204" y="215"/>
                  <a:pt x="205" y="216"/>
                  <a:pt x="207" y="216"/>
                </a:cubicBezTo>
                <a:cubicBezTo>
                  <a:pt x="212" y="216"/>
                  <a:pt x="216" y="214"/>
                  <a:pt x="220" y="210"/>
                </a:cubicBezTo>
                <a:cubicBezTo>
                  <a:pt x="230" y="198"/>
                  <a:pt x="230" y="198"/>
                  <a:pt x="230" y="198"/>
                </a:cubicBezTo>
                <a:cubicBezTo>
                  <a:pt x="236" y="202"/>
                  <a:pt x="236" y="202"/>
                  <a:pt x="236" y="202"/>
                </a:cubicBezTo>
                <a:cubicBezTo>
                  <a:pt x="208" y="235"/>
                  <a:pt x="208" y="235"/>
                  <a:pt x="208" y="235"/>
                </a:cubicBezTo>
                <a:cubicBezTo>
                  <a:pt x="208" y="235"/>
                  <a:pt x="208" y="235"/>
                  <a:pt x="208" y="235"/>
                </a:cubicBezTo>
                <a:cubicBezTo>
                  <a:pt x="208" y="235"/>
                  <a:pt x="208" y="235"/>
                  <a:pt x="208" y="235"/>
                </a:cubicBezTo>
                <a:cubicBezTo>
                  <a:pt x="208" y="235"/>
                  <a:pt x="207" y="235"/>
                  <a:pt x="207" y="235"/>
                </a:cubicBezTo>
                <a:close/>
                <a:moveTo>
                  <a:pt x="208" y="340"/>
                </a:moveTo>
                <a:cubicBezTo>
                  <a:pt x="208" y="340"/>
                  <a:pt x="208" y="340"/>
                  <a:pt x="208" y="340"/>
                </a:cubicBezTo>
                <a:cubicBezTo>
                  <a:pt x="208" y="340"/>
                  <a:pt x="207" y="341"/>
                  <a:pt x="207" y="341"/>
                </a:cubicBezTo>
                <a:cubicBezTo>
                  <a:pt x="112" y="305"/>
                  <a:pt x="112" y="305"/>
                  <a:pt x="112" y="305"/>
                </a:cubicBezTo>
                <a:cubicBezTo>
                  <a:pt x="125" y="291"/>
                  <a:pt x="125" y="291"/>
                  <a:pt x="125" y="291"/>
                </a:cubicBezTo>
                <a:cubicBezTo>
                  <a:pt x="202" y="320"/>
                  <a:pt x="202" y="320"/>
                  <a:pt x="202" y="320"/>
                </a:cubicBezTo>
                <a:cubicBezTo>
                  <a:pt x="204" y="321"/>
                  <a:pt x="205" y="321"/>
                  <a:pt x="207" y="321"/>
                </a:cubicBezTo>
                <a:cubicBezTo>
                  <a:pt x="212" y="321"/>
                  <a:pt x="216" y="320"/>
                  <a:pt x="220" y="316"/>
                </a:cubicBezTo>
                <a:cubicBezTo>
                  <a:pt x="230" y="304"/>
                  <a:pt x="230" y="304"/>
                  <a:pt x="230" y="304"/>
                </a:cubicBezTo>
                <a:cubicBezTo>
                  <a:pt x="236" y="307"/>
                  <a:pt x="236" y="307"/>
                  <a:pt x="236" y="307"/>
                </a:cubicBezTo>
                <a:lnTo>
                  <a:pt x="208" y="340"/>
                </a:lnTo>
                <a:close/>
                <a:moveTo>
                  <a:pt x="208" y="305"/>
                </a:moveTo>
                <a:cubicBezTo>
                  <a:pt x="208" y="305"/>
                  <a:pt x="208" y="305"/>
                  <a:pt x="208" y="305"/>
                </a:cubicBezTo>
                <a:cubicBezTo>
                  <a:pt x="208" y="305"/>
                  <a:pt x="207" y="305"/>
                  <a:pt x="207" y="305"/>
                </a:cubicBezTo>
                <a:cubicBezTo>
                  <a:pt x="112" y="269"/>
                  <a:pt x="112" y="269"/>
                  <a:pt x="112" y="269"/>
                </a:cubicBezTo>
                <a:cubicBezTo>
                  <a:pt x="125" y="256"/>
                  <a:pt x="125" y="256"/>
                  <a:pt x="125" y="256"/>
                </a:cubicBezTo>
                <a:cubicBezTo>
                  <a:pt x="202" y="285"/>
                  <a:pt x="202" y="285"/>
                  <a:pt x="202" y="285"/>
                </a:cubicBezTo>
                <a:cubicBezTo>
                  <a:pt x="204" y="286"/>
                  <a:pt x="205" y="286"/>
                  <a:pt x="207" y="286"/>
                </a:cubicBezTo>
                <a:cubicBezTo>
                  <a:pt x="212" y="286"/>
                  <a:pt x="216" y="284"/>
                  <a:pt x="220" y="280"/>
                </a:cubicBezTo>
                <a:cubicBezTo>
                  <a:pt x="230" y="269"/>
                  <a:pt x="230" y="269"/>
                  <a:pt x="230" y="269"/>
                </a:cubicBezTo>
                <a:cubicBezTo>
                  <a:pt x="236" y="272"/>
                  <a:pt x="236" y="272"/>
                  <a:pt x="236" y="272"/>
                </a:cubicBezTo>
                <a:lnTo>
                  <a:pt x="208" y="305"/>
                </a:lnTo>
                <a:close/>
                <a:moveTo>
                  <a:pt x="208" y="270"/>
                </a:moveTo>
                <a:cubicBezTo>
                  <a:pt x="208" y="270"/>
                  <a:pt x="208" y="270"/>
                  <a:pt x="208" y="270"/>
                </a:cubicBezTo>
                <a:cubicBezTo>
                  <a:pt x="208" y="270"/>
                  <a:pt x="208" y="270"/>
                  <a:pt x="208" y="270"/>
                </a:cubicBezTo>
                <a:cubicBezTo>
                  <a:pt x="208" y="270"/>
                  <a:pt x="207" y="270"/>
                  <a:pt x="207" y="270"/>
                </a:cubicBezTo>
                <a:cubicBezTo>
                  <a:pt x="112" y="234"/>
                  <a:pt x="112" y="234"/>
                  <a:pt x="112" y="234"/>
                </a:cubicBezTo>
                <a:cubicBezTo>
                  <a:pt x="125" y="221"/>
                  <a:pt x="125" y="221"/>
                  <a:pt x="125" y="221"/>
                </a:cubicBezTo>
                <a:cubicBezTo>
                  <a:pt x="202" y="250"/>
                  <a:pt x="202" y="250"/>
                  <a:pt x="202" y="250"/>
                </a:cubicBezTo>
                <a:cubicBezTo>
                  <a:pt x="204" y="251"/>
                  <a:pt x="205" y="251"/>
                  <a:pt x="207" y="251"/>
                </a:cubicBezTo>
                <a:cubicBezTo>
                  <a:pt x="212" y="251"/>
                  <a:pt x="216" y="249"/>
                  <a:pt x="220" y="245"/>
                </a:cubicBezTo>
                <a:cubicBezTo>
                  <a:pt x="230" y="234"/>
                  <a:pt x="230" y="234"/>
                  <a:pt x="230" y="234"/>
                </a:cubicBezTo>
                <a:cubicBezTo>
                  <a:pt x="236" y="237"/>
                  <a:pt x="236" y="237"/>
                  <a:pt x="236" y="237"/>
                </a:cubicBezTo>
                <a:lnTo>
                  <a:pt x="208" y="270"/>
                </a:lnTo>
                <a:close/>
                <a:moveTo>
                  <a:pt x="208" y="199"/>
                </a:moveTo>
                <a:cubicBezTo>
                  <a:pt x="208" y="199"/>
                  <a:pt x="208" y="199"/>
                  <a:pt x="208" y="199"/>
                </a:cubicBezTo>
                <a:cubicBezTo>
                  <a:pt x="208" y="199"/>
                  <a:pt x="208" y="199"/>
                  <a:pt x="208" y="199"/>
                </a:cubicBezTo>
                <a:cubicBezTo>
                  <a:pt x="208" y="199"/>
                  <a:pt x="207" y="200"/>
                  <a:pt x="207" y="200"/>
                </a:cubicBezTo>
                <a:cubicBezTo>
                  <a:pt x="112" y="164"/>
                  <a:pt x="112" y="164"/>
                  <a:pt x="112" y="164"/>
                </a:cubicBezTo>
                <a:cubicBezTo>
                  <a:pt x="125" y="150"/>
                  <a:pt x="125" y="150"/>
                  <a:pt x="125" y="150"/>
                </a:cubicBezTo>
                <a:cubicBezTo>
                  <a:pt x="202" y="179"/>
                  <a:pt x="202" y="179"/>
                  <a:pt x="202" y="179"/>
                </a:cubicBezTo>
                <a:cubicBezTo>
                  <a:pt x="204" y="180"/>
                  <a:pt x="205" y="180"/>
                  <a:pt x="207" y="180"/>
                </a:cubicBezTo>
                <a:cubicBezTo>
                  <a:pt x="212" y="180"/>
                  <a:pt x="216" y="179"/>
                  <a:pt x="220" y="175"/>
                </a:cubicBezTo>
                <a:cubicBezTo>
                  <a:pt x="230" y="163"/>
                  <a:pt x="230" y="163"/>
                  <a:pt x="230" y="163"/>
                </a:cubicBezTo>
                <a:cubicBezTo>
                  <a:pt x="236" y="166"/>
                  <a:pt x="236" y="166"/>
                  <a:pt x="236" y="166"/>
                </a:cubicBezTo>
                <a:lnTo>
                  <a:pt x="208" y="199"/>
                </a:lnTo>
                <a:close/>
              </a:path>
            </a:pathLst>
          </a:custGeom>
          <a:solidFill>
            <a:schemeClr val="bg1"/>
          </a:solidFill>
          <a:ln>
            <a:noFill/>
          </a:ln>
        </p:spPr>
        <p:txBody>
          <a:bodyPr/>
          <a:lstStyle/>
          <a:p>
            <a:endParaRPr lang="sv-SE" dirty="0"/>
          </a:p>
        </p:txBody>
      </p:sp>
      <p:pic>
        <p:nvPicPr>
          <p:cNvPr id="221" name="Econ2011"/>
          <p:cNvPicPr>
            <a:picLocks noChangeAspect="1"/>
          </p:cNvPicPr>
          <p:nvPr>
            <p:custDataLst>
              <p:tags r:id="rId1"/>
            </p:custDataLst>
          </p:nvPr>
        </p:nvPicPr>
        <p:blipFill>
          <a:blip r:embed="rId5">
            <a:extLst>
              <a:ext uri="{28A0092B-C50C-407E-A947-70E740481C1C}">
                <a14:useLocalDpi xmlns:a14="http://schemas.microsoft.com/office/drawing/2010/main" val="0"/>
              </a:ext>
            </a:extLst>
          </a:blip>
          <a:srcRect/>
          <a:stretch>
            <a:fillRect/>
          </a:stretch>
        </p:blipFill>
        <p:spPr bwMode="auto">
          <a:xfrm>
            <a:off x="11209338" y="360363"/>
            <a:ext cx="444500" cy="587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 name="Grupp 3"/>
          <p:cNvGrpSpPr/>
          <p:nvPr/>
        </p:nvGrpSpPr>
        <p:grpSpPr>
          <a:xfrm>
            <a:off x="546100" y="1892300"/>
            <a:ext cx="3530600" cy="3530600"/>
            <a:chOff x="4229100" y="2120900"/>
            <a:chExt cx="2794000" cy="2794000"/>
          </a:xfrm>
        </p:grpSpPr>
        <p:sp>
          <p:nvSpPr>
            <p:cNvPr id="223" name="Ellips 222"/>
            <p:cNvSpPr/>
            <p:nvPr/>
          </p:nvSpPr>
          <p:spPr bwMode="auto">
            <a:xfrm>
              <a:off x="4229100" y="2120900"/>
              <a:ext cx="2794000" cy="2794000"/>
            </a:xfrm>
            <a:prstGeom prst="ellipse">
              <a:avLst/>
            </a:prstGeom>
            <a:solidFill>
              <a:schemeClr val="bg1">
                <a:alpha val="19000"/>
              </a:schemeClr>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sv-SE" sz="2000" b="0" i="0" u="none" strike="noStrike" cap="none" normalizeH="0" baseline="0" dirty="0">
                <a:ln>
                  <a:noFill/>
                </a:ln>
                <a:solidFill>
                  <a:schemeClr val="tx1"/>
                </a:solidFill>
                <a:effectLst/>
                <a:latin typeface="Arial" charset="0"/>
              </a:endParaRPr>
            </a:p>
          </p:txBody>
        </p:sp>
        <p:grpSp>
          <p:nvGrpSpPr>
            <p:cNvPr id="3" name="Grupp 2"/>
            <p:cNvGrpSpPr/>
            <p:nvPr/>
          </p:nvGrpSpPr>
          <p:grpSpPr>
            <a:xfrm>
              <a:off x="4276860" y="2276881"/>
              <a:ext cx="2675939" cy="2426740"/>
              <a:chOff x="4276860" y="2276881"/>
              <a:chExt cx="2675939" cy="2426740"/>
            </a:xfrm>
            <a:solidFill>
              <a:schemeClr val="bg1">
                <a:alpha val="34000"/>
              </a:schemeClr>
            </a:solidFill>
          </p:grpSpPr>
          <p:sp>
            <p:nvSpPr>
              <p:cNvPr id="224" name="Freeform 6"/>
              <p:cNvSpPr>
                <a:spLocks noEditPoints="1"/>
              </p:cNvSpPr>
              <p:nvPr/>
            </p:nvSpPr>
            <p:spPr bwMode="auto">
              <a:xfrm>
                <a:off x="5015324" y="3024914"/>
                <a:ext cx="99029" cy="159238"/>
              </a:xfrm>
              <a:custGeom>
                <a:avLst/>
                <a:gdLst>
                  <a:gd name="T0" fmla="*/ 2147483647 w 250"/>
                  <a:gd name="T1" fmla="*/ 2147483647 h 411"/>
                  <a:gd name="T2" fmla="*/ 2147483647 w 250"/>
                  <a:gd name="T3" fmla="*/ 2147483647 h 411"/>
                  <a:gd name="T4" fmla="*/ 2147483647 w 250"/>
                  <a:gd name="T5" fmla="*/ 2147483647 h 411"/>
                  <a:gd name="T6" fmla="*/ 2147483647 w 250"/>
                  <a:gd name="T7" fmla="*/ 2147483647 h 411"/>
                  <a:gd name="T8" fmla="*/ 2147483647 w 250"/>
                  <a:gd name="T9" fmla="*/ 2147483647 h 411"/>
                  <a:gd name="T10" fmla="*/ 2147483647 w 250"/>
                  <a:gd name="T11" fmla="*/ 2147483647 h 411"/>
                  <a:gd name="T12" fmla="*/ 2147483647 w 250"/>
                  <a:gd name="T13" fmla="*/ 2147483647 h 411"/>
                  <a:gd name="T14" fmla="*/ 2147483647 w 250"/>
                  <a:gd name="T15" fmla="*/ 2147483647 h 411"/>
                  <a:gd name="T16" fmla="*/ 2147483647 w 250"/>
                  <a:gd name="T17" fmla="*/ 2147483647 h 411"/>
                  <a:gd name="T18" fmla="*/ 2147483647 w 250"/>
                  <a:gd name="T19" fmla="*/ 2147483647 h 411"/>
                  <a:gd name="T20" fmla="*/ 2147483647 w 250"/>
                  <a:gd name="T21" fmla="*/ 2147483647 h 411"/>
                  <a:gd name="T22" fmla="*/ 2147483647 w 250"/>
                  <a:gd name="T23" fmla="*/ 2147483647 h 411"/>
                  <a:gd name="T24" fmla="*/ 2147483647 w 250"/>
                  <a:gd name="T25" fmla="*/ 2147483647 h 411"/>
                  <a:gd name="T26" fmla="*/ 2147483647 w 250"/>
                  <a:gd name="T27" fmla="*/ 2147483647 h 411"/>
                  <a:gd name="T28" fmla="*/ 2147483647 w 250"/>
                  <a:gd name="T29" fmla="*/ 2147483647 h 411"/>
                  <a:gd name="T30" fmla="*/ 2147483647 w 250"/>
                  <a:gd name="T31" fmla="*/ 2147483647 h 411"/>
                  <a:gd name="T32" fmla="*/ 2147483647 w 250"/>
                  <a:gd name="T33" fmla="*/ 2147483647 h 411"/>
                  <a:gd name="T34" fmla="*/ 2147483647 w 250"/>
                  <a:gd name="T35" fmla="*/ 2147483647 h 411"/>
                  <a:gd name="T36" fmla="*/ 2147483647 w 250"/>
                  <a:gd name="T37" fmla="*/ 2147483647 h 411"/>
                  <a:gd name="T38" fmla="*/ 2147483647 w 250"/>
                  <a:gd name="T39" fmla="*/ 0 h 411"/>
                  <a:gd name="T40" fmla="*/ 2147483647 w 250"/>
                  <a:gd name="T41" fmla="*/ 0 h 411"/>
                  <a:gd name="T42" fmla="*/ 0 w 250"/>
                  <a:gd name="T43" fmla="*/ 2147483647 h 411"/>
                  <a:gd name="T44" fmla="*/ 0 w 250"/>
                  <a:gd name="T45" fmla="*/ 2147483647 h 411"/>
                  <a:gd name="T46" fmla="*/ 2147483647 w 250"/>
                  <a:gd name="T47" fmla="*/ 2147483647 h 411"/>
                  <a:gd name="T48" fmla="*/ 2147483647 w 250"/>
                  <a:gd name="T49" fmla="*/ 2147483647 h 411"/>
                  <a:gd name="T50" fmla="*/ 2147483647 w 250"/>
                  <a:gd name="T51" fmla="*/ 2147483647 h 411"/>
                  <a:gd name="T52" fmla="*/ 2147483647 w 250"/>
                  <a:gd name="T53" fmla="*/ 2147483647 h 411"/>
                  <a:gd name="T54" fmla="*/ 2147483647 w 250"/>
                  <a:gd name="T55" fmla="*/ 2147483647 h 411"/>
                  <a:gd name="T56" fmla="*/ 2147483647 w 250"/>
                  <a:gd name="T57" fmla="*/ 2147483647 h 411"/>
                  <a:gd name="T58" fmla="*/ 2147483647 w 250"/>
                  <a:gd name="T59" fmla="*/ 2147483647 h 411"/>
                  <a:gd name="T60" fmla="*/ 2147483647 w 250"/>
                  <a:gd name="T61" fmla="*/ 2147483647 h 411"/>
                  <a:gd name="T62" fmla="*/ 2147483647 w 250"/>
                  <a:gd name="T63" fmla="*/ 2147483647 h 411"/>
                  <a:gd name="T64" fmla="*/ 2147483647 w 250"/>
                  <a:gd name="T65" fmla="*/ 2147483647 h 411"/>
                  <a:gd name="T66" fmla="*/ 2147483647 w 250"/>
                  <a:gd name="T67" fmla="*/ 2147483647 h 411"/>
                  <a:gd name="T68" fmla="*/ 2147483647 w 250"/>
                  <a:gd name="T69" fmla="*/ 2147483647 h 411"/>
                  <a:gd name="T70" fmla="*/ 2147483647 w 250"/>
                  <a:gd name="T71" fmla="*/ 2147483647 h 411"/>
                  <a:gd name="T72" fmla="*/ 2147483647 w 250"/>
                  <a:gd name="T73" fmla="*/ 2147483647 h 411"/>
                  <a:gd name="T74" fmla="*/ 2147483647 w 250"/>
                  <a:gd name="T75" fmla="*/ 2147483647 h 411"/>
                  <a:gd name="T76" fmla="*/ 2147483647 w 250"/>
                  <a:gd name="T77" fmla="*/ 2147483647 h 411"/>
                  <a:gd name="T78" fmla="*/ 2147483647 w 250"/>
                  <a:gd name="T79" fmla="*/ 2147483647 h 411"/>
                  <a:gd name="T80" fmla="*/ 2147483647 w 250"/>
                  <a:gd name="T81" fmla="*/ 2147483647 h 411"/>
                  <a:gd name="T82" fmla="*/ 2147483647 w 250"/>
                  <a:gd name="T83" fmla="*/ 2147483647 h 41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50" h="411">
                    <a:moveTo>
                      <a:pt x="43" y="279"/>
                    </a:moveTo>
                    <a:cubicBezTo>
                      <a:pt x="47" y="279"/>
                      <a:pt x="51" y="276"/>
                      <a:pt x="51" y="271"/>
                    </a:cubicBezTo>
                    <a:cubicBezTo>
                      <a:pt x="51" y="235"/>
                      <a:pt x="51" y="235"/>
                      <a:pt x="51" y="235"/>
                    </a:cubicBezTo>
                    <a:cubicBezTo>
                      <a:pt x="51" y="231"/>
                      <a:pt x="47" y="227"/>
                      <a:pt x="43" y="227"/>
                    </a:cubicBezTo>
                    <a:cubicBezTo>
                      <a:pt x="39" y="227"/>
                      <a:pt x="35" y="231"/>
                      <a:pt x="35" y="235"/>
                    </a:cubicBezTo>
                    <a:cubicBezTo>
                      <a:pt x="35" y="271"/>
                      <a:pt x="35" y="271"/>
                      <a:pt x="35" y="271"/>
                    </a:cubicBezTo>
                    <a:cubicBezTo>
                      <a:pt x="35" y="276"/>
                      <a:pt x="39" y="279"/>
                      <a:pt x="43" y="279"/>
                    </a:cubicBezTo>
                    <a:close/>
                    <a:moveTo>
                      <a:pt x="242" y="74"/>
                    </a:moveTo>
                    <a:cubicBezTo>
                      <a:pt x="238" y="74"/>
                      <a:pt x="234" y="78"/>
                      <a:pt x="234" y="82"/>
                    </a:cubicBezTo>
                    <a:cubicBezTo>
                      <a:pt x="234" y="198"/>
                      <a:pt x="234" y="198"/>
                      <a:pt x="234" y="198"/>
                    </a:cubicBezTo>
                    <a:cubicBezTo>
                      <a:pt x="16" y="198"/>
                      <a:pt x="16" y="198"/>
                      <a:pt x="16" y="198"/>
                    </a:cubicBezTo>
                    <a:cubicBezTo>
                      <a:pt x="16" y="30"/>
                      <a:pt x="16" y="30"/>
                      <a:pt x="16" y="30"/>
                    </a:cubicBezTo>
                    <a:cubicBezTo>
                      <a:pt x="16" y="22"/>
                      <a:pt x="23" y="16"/>
                      <a:pt x="31" y="16"/>
                    </a:cubicBezTo>
                    <a:cubicBezTo>
                      <a:pt x="219" y="16"/>
                      <a:pt x="219" y="16"/>
                      <a:pt x="219" y="16"/>
                    </a:cubicBezTo>
                    <a:cubicBezTo>
                      <a:pt x="227" y="16"/>
                      <a:pt x="234" y="22"/>
                      <a:pt x="234" y="30"/>
                    </a:cubicBezTo>
                    <a:cubicBezTo>
                      <a:pt x="234" y="50"/>
                      <a:pt x="234" y="50"/>
                      <a:pt x="234" y="50"/>
                    </a:cubicBezTo>
                    <a:cubicBezTo>
                      <a:pt x="234" y="55"/>
                      <a:pt x="238" y="58"/>
                      <a:pt x="242" y="58"/>
                    </a:cubicBezTo>
                    <a:cubicBezTo>
                      <a:pt x="246" y="58"/>
                      <a:pt x="250" y="55"/>
                      <a:pt x="250" y="50"/>
                    </a:cubicBezTo>
                    <a:cubicBezTo>
                      <a:pt x="250" y="30"/>
                      <a:pt x="250" y="30"/>
                      <a:pt x="250" y="30"/>
                    </a:cubicBezTo>
                    <a:cubicBezTo>
                      <a:pt x="250" y="14"/>
                      <a:pt x="236" y="0"/>
                      <a:pt x="219" y="0"/>
                    </a:cubicBezTo>
                    <a:cubicBezTo>
                      <a:pt x="31" y="0"/>
                      <a:pt x="31" y="0"/>
                      <a:pt x="31" y="0"/>
                    </a:cubicBezTo>
                    <a:cubicBezTo>
                      <a:pt x="14" y="0"/>
                      <a:pt x="0" y="14"/>
                      <a:pt x="0" y="30"/>
                    </a:cubicBezTo>
                    <a:cubicBezTo>
                      <a:pt x="0" y="381"/>
                      <a:pt x="0" y="381"/>
                      <a:pt x="0" y="381"/>
                    </a:cubicBezTo>
                    <a:cubicBezTo>
                      <a:pt x="0" y="398"/>
                      <a:pt x="14" y="411"/>
                      <a:pt x="31" y="411"/>
                    </a:cubicBezTo>
                    <a:cubicBezTo>
                      <a:pt x="219" y="411"/>
                      <a:pt x="219" y="411"/>
                      <a:pt x="219" y="411"/>
                    </a:cubicBezTo>
                    <a:cubicBezTo>
                      <a:pt x="236" y="411"/>
                      <a:pt x="250" y="398"/>
                      <a:pt x="250" y="381"/>
                    </a:cubicBezTo>
                    <a:cubicBezTo>
                      <a:pt x="250" y="82"/>
                      <a:pt x="250" y="82"/>
                      <a:pt x="250" y="82"/>
                    </a:cubicBezTo>
                    <a:cubicBezTo>
                      <a:pt x="250" y="78"/>
                      <a:pt x="246" y="74"/>
                      <a:pt x="242" y="74"/>
                    </a:cubicBezTo>
                    <a:close/>
                    <a:moveTo>
                      <a:pt x="234" y="381"/>
                    </a:moveTo>
                    <a:cubicBezTo>
                      <a:pt x="234" y="389"/>
                      <a:pt x="227" y="395"/>
                      <a:pt x="219" y="395"/>
                    </a:cubicBezTo>
                    <a:cubicBezTo>
                      <a:pt x="31" y="395"/>
                      <a:pt x="31" y="395"/>
                      <a:pt x="31" y="395"/>
                    </a:cubicBezTo>
                    <a:cubicBezTo>
                      <a:pt x="23" y="395"/>
                      <a:pt x="16" y="389"/>
                      <a:pt x="16" y="381"/>
                    </a:cubicBezTo>
                    <a:cubicBezTo>
                      <a:pt x="16" y="214"/>
                      <a:pt x="16" y="214"/>
                      <a:pt x="16" y="214"/>
                    </a:cubicBezTo>
                    <a:cubicBezTo>
                      <a:pt x="234" y="214"/>
                      <a:pt x="234" y="214"/>
                      <a:pt x="234" y="214"/>
                    </a:cubicBezTo>
                    <a:lnTo>
                      <a:pt x="234" y="381"/>
                    </a:lnTo>
                    <a:close/>
                    <a:moveTo>
                      <a:pt x="35" y="138"/>
                    </a:moveTo>
                    <a:cubicBezTo>
                      <a:pt x="35" y="174"/>
                      <a:pt x="35" y="174"/>
                      <a:pt x="35" y="174"/>
                    </a:cubicBezTo>
                    <a:cubicBezTo>
                      <a:pt x="35" y="179"/>
                      <a:pt x="39" y="182"/>
                      <a:pt x="43" y="182"/>
                    </a:cubicBezTo>
                    <a:cubicBezTo>
                      <a:pt x="47" y="182"/>
                      <a:pt x="51" y="179"/>
                      <a:pt x="51" y="174"/>
                    </a:cubicBezTo>
                    <a:cubicBezTo>
                      <a:pt x="51" y="138"/>
                      <a:pt x="51" y="138"/>
                      <a:pt x="51" y="138"/>
                    </a:cubicBezTo>
                    <a:cubicBezTo>
                      <a:pt x="51" y="134"/>
                      <a:pt x="47" y="130"/>
                      <a:pt x="43" y="130"/>
                    </a:cubicBezTo>
                    <a:cubicBezTo>
                      <a:pt x="39" y="130"/>
                      <a:pt x="35" y="134"/>
                      <a:pt x="35" y="1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25" name="Freeform 6"/>
              <p:cNvSpPr>
                <a:spLocks noEditPoints="1"/>
              </p:cNvSpPr>
              <p:nvPr/>
            </p:nvSpPr>
            <p:spPr bwMode="auto">
              <a:xfrm>
                <a:off x="5596827" y="2294598"/>
                <a:ext cx="171919" cy="119060"/>
              </a:xfrm>
              <a:custGeom>
                <a:avLst/>
                <a:gdLst>
                  <a:gd name="T0" fmla="*/ 2147483647 w 434"/>
                  <a:gd name="T1" fmla="*/ 2147483647 h 307"/>
                  <a:gd name="T2" fmla="*/ 2147483647 w 434"/>
                  <a:gd name="T3" fmla="*/ 2147483647 h 307"/>
                  <a:gd name="T4" fmla="*/ 2147483647 w 434"/>
                  <a:gd name="T5" fmla="*/ 2147483647 h 307"/>
                  <a:gd name="T6" fmla="*/ 2147483647 w 434"/>
                  <a:gd name="T7" fmla="*/ 2147483647 h 307"/>
                  <a:gd name="T8" fmla="*/ 2147483647 w 434"/>
                  <a:gd name="T9" fmla="*/ 2147483647 h 307"/>
                  <a:gd name="T10" fmla="*/ 2147483647 w 434"/>
                  <a:gd name="T11" fmla="*/ 2147483647 h 307"/>
                  <a:gd name="T12" fmla="*/ 2147483647 w 434"/>
                  <a:gd name="T13" fmla="*/ 2147483647 h 307"/>
                  <a:gd name="T14" fmla="*/ 2147483647 w 434"/>
                  <a:gd name="T15" fmla="*/ 2147483647 h 307"/>
                  <a:gd name="T16" fmla="*/ 2147483647 w 434"/>
                  <a:gd name="T17" fmla="*/ 2147483647 h 307"/>
                  <a:gd name="T18" fmla="*/ 2147483647 w 434"/>
                  <a:gd name="T19" fmla="*/ 2147483647 h 307"/>
                  <a:gd name="T20" fmla="*/ 2147483647 w 434"/>
                  <a:gd name="T21" fmla="*/ 2147483647 h 307"/>
                  <a:gd name="T22" fmla="*/ 2147483647 w 434"/>
                  <a:gd name="T23" fmla="*/ 2147483647 h 307"/>
                  <a:gd name="T24" fmla="*/ 2147483647 w 434"/>
                  <a:gd name="T25" fmla="*/ 2147483647 h 307"/>
                  <a:gd name="T26" fmla="*/ 2147483647 w 434"/>
                  <a:gd name="T27" fmla="*/ 0 h 307"/>
                  <a:gd name="T28" fmla="*/ 2147483647 w 434"/>
                  <a:gd name="T29" fmla="*/ 2147483647 h 307"/>
                  <a:gd name="T30" fmla="*/ 2147483647 w 434"/>
                  <a:gd name="T31" fmla="*/ 2147483647 h 307"/>
                  <a:gd name="T32" fmla="*/ 2147483647 w 434"/>
                  <a:gd name="T33" fmla="*/ 2147483647 h 307"/>
                  <a:gd name="T34" fmla="*/ 2147483647 w 434"/>
                  <a:gd name="T35" fmla="*/ 2147483647 h 307"/>
                  <a:gd name="T36" fmla="*/ 0 w 434"/>
                  <a:gd name="T37" fmla="*/ 2147483647 h 307"/>
                  <a:gd name="T38" fmla="*/ 0 w 434"/>
                  <a:gd name="T39" fmla="*/ 2147483647 h 307"/>
                  <a:gd name="T40" fmla="*/ 2147483647 w 434"/>
                  <a:gd name="T41" fmla="*/ 2147483647 h 307"/>
                  <a:gd name="T42" fmla="*/ 2147483647 w 434"/>
                  <a:gd name="T43" fmla="*/ 2147483647 h 307"/>
                  <a:gd name="T44" fmla="*/ 2147483647 w 434"/>
                  <a:gd name="T45" fmla="*/ 2147483647 h 307"/>
                  <a:gd name="T46" fmla="*/ 2147483647 w 434"/>
                  <a:gd name="T47" fmla="*/ 2147483647 h 307"/>
                  <a:gd name="T48" fmla="*/ 2147483647 w 434"/>
                  <a:gd name="T49" fmla="*/ 2147483647 h 307"/>
                  <a:gd name="T50" fmla="*/ 2147483647 w 434"/>
                  <a:gd name="T51" fmla="*/ 2147483647 h 307"/>
                  <a:gd name="T52" fmla="*/ 2147483647 w 434"/>
                  <a:gd name="T53" fmla="*/ 2147483647 h 307"/>
                  <a:gd name="T54" fmla="*/ 2147483647 w 434"/>
                  <a:gd name="T55" fmla="*/ 2147483647 h 307"/>
                  <a:gd name="T56" fmla="*/ 2147483647 w 434"/>
                  <a:gd name="T57" fmla="*/ 2147483647 h 307"/>
                  <a:gd name="T58" fmla="*/ 2147483647 w 434"/>
                  <a:gd name="T59" fmla="*/ 2147483647 h 307"/>
                  <a:gd name="T60" fmla="*/ 2147483647 w 434"/>
                  <a:gd name="T61" fmla="*/ 2147483647 h 307"/>
                  <a:gd name="T62" fmla="*/ 2147483647 w 434"/>
                  <a:gd name="T63" fmla="*/ 2147483647 h 307"/>
                  <a:gd name="T64" fmla="*/ 2147483647 w 434"/>
                  <a:gd name="T65" fmla="*/ 2147483647 h 307"/>
                  <a:gd name="T66" fmla="*/ 2147483647 w 434"/>
                  <a:gd name="T67" fmla="*/ 2147483647 h 307"/>
                  <a:gd name="T68" fmla="*/ 2147483647 w 434"/>
                  <a:gd name="T69" fmla="*/ 2147483647 h 307"/>
                  <a:gd name="T70" fmla="*/ 2147483647 w 434"/>
                  <a:gd name="T71" fmla="*/ 2147483647 h 307"/>
                  <a:gd name="T72" fmla="*/ 2147483647 w 434"/>
                  <a:gd name="T73" fmla="*/ 2147483647 h 307"/>
                  <a:gd name="T74" fmla="*/ 2147483647 w 434"/>
                  <a:gd name="T75" fmla="*/ 2147483647 h 307"/>
                  <a:gd name="T76" fmla="*/ 2147483647 w 434"/>
                  <a:gd name="T77" fmla="*/ 2147483647 h 307"/>
                  <a:gd name="T78" fmla="*/ 2147483647 w 434"/>
                  <a:gd name="T79" fmla="*/ 2147483647 h 307"/>
                  <a:gd name="T80" fmla="*/ 2147483647 w 434"/>
                  <a:gd name="T81" fmla="*/ 2147483647 h 307"/>
                  <a:gd name="T82" fmla="*/ 2147483647 w 434"/>
                  <a:gd name="T83" fmla="*/ 2147483647 h 307"/>
                  <a:gd name="T84" fmla="*/ 2147483647 w 434"/>
                  <a:gd name="T85" fmla="*/ 2147483647 h 307"/>
                  <a:gd name="T86" fmla="*/ 2147483647 w 434"/>
                  <a:gd name="T87" fmla="*/ 2147483647 h 307"/>
                  <a:gd name="T88" fmla="*/ 2147483647 w 434"/>
                  <a:gd name="T89" fmla="*/ 2147483647 h 307"/>
                  <a:gd name="T90" fmla="*/ 2147483647 w 434"/>
                  <a:gd name="T91" fmla="*/ 2147483647 h 307"/>
                  <a:gd name="T92" fmla="*/ 2147483647 w 434"/>
                  <a:gd name="T93" fmla="*/ 2147483647 h 307"/>
                  <a:gd name="T94" fmla="*/ 2147483647 w 434"/>
                  <a:gd name="T95" fmla="*/ 2147483647 h 307"/>
                  <a:gd name="T96" fmla="*/ 2147483647 w 434"/>
                  <a:gd name="T97" fmla="*/ 2147483647 h 307"/>
                  <a:gd name="T98" fmla="*/ 2147483647 w 434"/>
                  <a:gd name="T99" fmla="*/ 2147483647 h 307"/>
                  <a:gd name="T100" fmla="*/ 2147483647 w 434"/>
                  <a:gd name="T101" fmla="*/ 2147483647 h 307"/>
                  <a:gd name="T102" fmla="*/ 2147483647 w 434"/>
                  <a:gd name="T103" fmla="*/ 2147483647 h 307"/>
                  <a:gd name="T104" fmla="*/ 2147483647 w 434"/>
                  <a:gd name="T105" fmla="*/ 2147483647 h 307"/>
                  <a:gd name="T106" fmla="*/ 2147483647 w 434"/>
                  <a:gd name="T107" fmla="*/ 2147483647 h 307"/>
                  <a:gd name="T108" fmla="*/ 2147483647 w 434"/>
                  <a:gd name="T109" fmla="*/ 2147483647 h 307"/>
                  <a:gd name="T110" fmla="*/ 2147483647 w 434"/>
                  <a:gd name="T111" fmla="*/ 2147483647 h 307"/>
                  <a:gd name="T112" fmla="*/ 2147483647 w 434"/>
                  <a:gd name="T113" fmla="*/ 2147483647 h 307"/>
                  <a:gd name="T114" fmla="*/ 2147483647 w 434"/>
                  <a:gd name="T115" fmla="*/ 2147483647 h 307"/>
                  <a:gd name="T116" fmla="*/ 2147483647 w 434"/>
                  <a:gd name="T117" fmla="*/ 2147483647 h 307"/>
                  <a:gd name="T118" fmla="*/ 2147483647 w 434"/>
                  <a:gd name="T119" fmla="*/ 2147483647 h 307"/>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434" h="307">
                    <a:moveTo>
                      <a:pt x="97" y="107"/>
                    </a:moveTo>
                    <a:cubicBezTo>
                      <a:pt x="113" y="123"/>
                      <a:pt x="113" y="123"/>
                      <a:pt x="113" y="123"/>
                    </a:cubicBezTo>
                    <a:cubicBezTo>
                      <a:pt x="132" y="123"/>
                      <a:pt x="132" y="123"/>
                      <a:pt x="132" y="123"/>
                    </a:cubicBezTo>
                    <a:cubicBezTo>
                      <a:pt x="133" y="123"/>
                      <a:pt x="134" y="123"/>
                      <a:pt x="134" y="122"/>
                    </a:cubicBezTo>
                    <a:cubicBezTo>
                      <a:pt x="134" y="92"/>
                      <a:pt x="134" y="92"/>
                      <a:pt x="134" y="92"/>
                    </a:cubicBezTo>
                    <a:cubicBezTo>
                      <a:pt x="134" y="91"/>
                      <a:pt x="133" y="91"/>
                      <a:pt x="132" y="91"/>
                    </a:cubicBezTo>
                    <a:cubicBezTo>
                      <a:pt x="113" y="91"/>
                      <a:pt x="113" y="91"/>
                      <a:pt x="113" y="91"/>
                    </a:cubicBezTo>
                    <a:lnTo>
                      <a:pt x="97" y="107"/>
                    </a:lnTo>
                    <a:close/>
                    <a:moveTo>
                      <a:pt x="317" y="91"/>
                    </a:moveTo>
                    <a:cubicBezTo>
                      <a:pt x="308" y="91"/>
                      <a:pt x="301" y="98"/>
                      <a:pt x="301" y="107"/>
                    </a:cubicBezTo>
                    <a:cubicBezTo>
                      <a:pt x="301" y="116"/>
                      <a:pt x="308" y="123"/>
                      <a:pt x="317" y="123"/>
                    </a:cubicBezTo>
                    <a:cubicBezTo>
                      <a:pt x="326" y="123"/>
                      <a:pt x="333" y="116"/>
                      <a:pt x="333" y="107"/>
                    </a:cubicBezTo>
                    <a:cubicBezTo>
                      <a:pt x="333" y="98"/>
                      <a:pt x="326" y="91"/>
                      <a:pt x="317" y="91"/>
                    </a:cubicBezTo>
                    <a:close/>
                    <a:moveTo>
                      <a:pt x="67" y="137"/>
                    </a:moveTo>
                    <a:cubicBezTo>
                      <a:pt x="67" y="156"/>
                      <a:pt x="67" y="156"/>
                      <a:pt x="67" y="156"/>
                    </a:cubicBezTo>
                    <a:cubicBezTo>
                      <a:pt x="67" y="157"/>
                      <a:pt x="68" y="157"/>
                      <a:pt x="68" y="157"/>
                    </a:cubicBezTo>
                    <a:cubicBezTo>
                      <a:pt x="98" y="157"/>
                      <a:pt x="98" y="157"/>
                      <a:pt x="98" y="157"/>
                    </a:cubicBezTo>
                    <a:cubicBezTo>
                      <a:pt x="99" y="157"/>
                      <a:pt x="99" y="157"/>
                      <a:pt x="99" y="156"/>
                    </a:cubicBezTo>
                    <a:cubicBezTo>
                      <a:pt x="99" y="137"/>
                      <a:pt x="99" y="137"/>
                      <a:pt x="99" y="137"/>
                    </a:cubicBezTo>
                    <a:cubicBezTo>
                      <a:pt x="83" y="121"/>
                      <a:pt x="83" y="121"/>
                      <a:pt x="83" y="121"/>
                    </a:cubicBezTo>
                    <a:lnTo>
                      <a:pt x="67" y="137"/>
                    </a:lnTo>
                    <a:close/>
                    <a:moveTo>
                      <a:pt x="99" y="77"/>
                    </a:moveTo>
                    <a:cubicBezTo>
                      <a:pt x="99" y="58"/>
                      <a:pt x="99" y="58"/>
                      <a:pt x="99" y="58"/>
                    </a:cubicBezTo>
                    <a:cubicBezTo>
                      <a:pt x="99" y="57"/>
                      <a:pt x="99" y="57"/>
                      <a:pt x="98" y="57"/>
                    </a:cubicBezTo>
                    <a:cubicBezTo>
                      <a:pt x="68" y="57"/>
                      <a:pt x="68" y="57"/>
                      <a:pt x="68" y="57"/>
                    </a:cubicBezTo>
                    <a:cubicBezTo>
                      <a:pt x="68" y="57"/>
                      <a:pt x="67" y="57"/>
                      <a:pt x="67" y="58"/>
                    </a:cubicBezTo>
                    <a:cubicBezTo>
                      <a:pt x="67" y="77"/>
                      <a:pt x="67" y="77"/>
                      <a:pt x="67" y="77"/>
                    </a:cubicBezTo>
                    <a:cubicBezTo>
                      <a:pt x="83" y="93"/>
                      <a:pt x="83" y="93"/>
                      <a:pt x="83" y="93"/>
                    </a:cubicBezTo>
                    <a:lnTo>
                      <a:pt x="99" y="77"/>
                    </a:lnTo>
                    <a:close/>
                    <a:moveTo>
                      <a:pt x="53" y="91"/>
                    </a:moveTo>
                    <a:cubicBezTo>
                      <a:pt x="34" y="91"/>
                      <a:pt x="34" y="91"/>
                      <a:pt x="34" y="91"/>
                    </a:cubicBezTo>
                    <a:cubicBezTo>
                      <a:pt x="33" y="91"/>
                      <a:pt x="33" y="91"/>
                      <a:pt x="33" y="92"/>
                    </a:cubicBezTo>
                    <a:cubicBezTo>
                      <a:pt x="33" y="122"/>
                      <a:pt x="33" y="122"/>
                      <a:pt x="33" y="122"/>
                    </a:cubicBezTo>
                    <a:cubicBezTo>
                      <a:pt x="33" y="123"/>
                      <a:pt x="33" y="123"/>
                      <a:pt x="34" y="123"/>
                    </a:cubicBezTo>
                    <a:cubicBezTo>
                      <a:pt x="53" y="123"/>
                      <a:pt x="53" y="123"/>
                      <a:pt x="53" y="123"/>
                    </a:cubicBezTo>
                    <a:cubicBezTo>
                      <a:pt x="69" y="107"/>
                      <a:pt x="69" y="107"/>
                      <a:pt x="69" y="107"/>
                    </a:cubicBezTo>
                    <a:lnTo>
                      <a:pt x="53" y="91"/>
                    </a:lnTo>
                    <a:close/>
                    <a:moveTo>
                      <a:pt x="434" y="107"/>
                    </a:moveTo>
                    <a:cubicBezTo>
                      <a:pt x="434" y="77"/>
                      <a:pt x="418" y="50"/>
                      <a:pt x="394" y="36"/>
                    </a:cubicBezTo>
                    <a:cubicBezTo>
                      <a:pt x="394" y="31"/>
                      <a:pt x="394" y="24"/>
                      <a:pt x="392" y="17"/>
                    </a:cubicBezTo>
                    <a:cubicBezTo>
                      <a:pt x="391" y="13"/>
                      <a:pt x="389" y="9"/>
                      <a:pt x="386" y="6"/>
                    </a:cubicBezTo>
                    <a:cubicBezTo>
                      <a:pt x="384" y="3"/>
                      <a:pt x="379" y="0"/>
                      <a:pt x="373" y="0"/>
                    </a:cubicBezTo>
                    <a:cubicBezTo>
                      <a:pt x="330" y="0"/>
                      <a:pt x="330" y="0"/>
                      <a:pt x="330" y="0"/>
                    </a:cubicBezTo>
                    <a:cubicBezTo>
                      <a:pt x="324" y="0"/>
                      <a:pt x="318" y="4"/>
                      <a:pt x="316" y="8"/>
                    </a:cubicBezTo>
                    <a:cubicBezTo>
                      <a:pt x="312" y="14"/>
                      <a:pt x="310" y="21"/>
                      <a:pt x="309" y="27"/>
                    </a:cubicBezTo>
                    <a:cubicBezTo>
                      <a:pt x="309" y="30"/>
                      <a:pt x="309" y="33"/>
                      <a:pt x="309" y="35"/>
                    </a:cubicBezTo>
                    <a:cubicBezTo>
                      <a:pt x="305" y="38"/>
                      <a:pt x="301" y="40"/>
                      <a:pt x="298" y="43"/>
                    </a:cubicBezTo>
                    <a:cubicBezTo>
                      <a:pt x="137" y="43"/>
                      <a:pt x="137" y="43"/>
                      <a:pt x="137" y="43"/>
                    </a:cubicBezTo>
                    <a:cubicBezTo>
                      <a:pt x="133" y="40"/>
                      <a:pt x="130" y="38"/>
                      <a:pt x="126" y="36"/>
                    </a:cubicBezTo>
                    <a:cubicBezTo>
                      <a:pt x="126" y="31"/>
                      <a:pt x="126" y="24"/>
                      <a:pt x="124" y="17"/>
                    </a:cubicBezTo>
                    <a:cubicBezTo>
                      <a:pt x="123" y="13"/>
                      <a:pt x="121" y="9"/>
                      <a:pt x="118" y="6"/>
                    </a:cubicBezTo>
                    <a:cubicBezTo>
                      <a:pt x="116" y="3"/>
                      <a:pt x="111" y="0"/>
                      <a:pt x="105" y="0"/>
                    </a:cubicBezTo>
                    <a:cubicBezTo>
                      <a:pt x="62" y="0"/>
                      <a:pt x="62" y="0"/>
                      <a:pt x="62" y="0"/>
                    </a:cubicBezTo>
                    <a:cubicBezTo>
                      <a:pt x="55" y="0"/>
                      <a:pt x="50" y="4"/>
                      <a:pt x="48" y="8"/>
                    </a:cubicBezTo>
                    <a:cubicBezTo>
                      <a:pt x="44" y="14"/>
                      <a:pt x="42" y="21"/>
                      <a:pt x="41" y="27"/>
                    </a:cubicBezTo>
                    <a:cubicBezTo>
                      <a:pt x="41" y="30"/>
                      <a:pt x="41" y="33"/>
                      <a:pt x="41" y="35"/>
                    </a:cubicBezTo>
                    <a:cubicBezTo>
                      <a:pt x="16" y="50"/>
                      <a:pt x="0" y="76"/>
                      <a:pt x="0" y="107"/>
                    </a:cubicBezTo>
                    <a:cubicBezTo>
                      <a:pt x="0" y="107"/>
                      <a:pt x="0" y="107"/>
                      <a:pt x="0" y="107"/>
                    </a:cubicBezTo>
                    <a:cubicBezTo>
                      <a:pt x="0" y="107"/>
                      <a:pt x="0" y="107"/>
                      <a:pt x="0" y="107"/>
                    </a:cubicBezTo>
                    <a:cubicBezTo>
                      <a:pt x="0" y="107"/>
                      <a:pt x="0" y="108"/>
                      <a:pt x="0" y="108"/>
                    </a:cubicBezTo>
                    <a:cubicBezTo>
                      <a:pt x="0" y="111"/>
                      <a:pt x="0" y="114"/>
                      <a:pt x="1" y="117"/>
                    </a:cubicBezTo>
                    <a:cubicBezTo>
                      <a:pt x="3" y="148"/>
                      <a:pt x="9" y="253"/>
                      <a:pt x="11" y="264"/>
                    </a:cubicBezTo>
                    <a:cubicBezTo>
                      <a:pt x="11" y="270"/>
                      <a:pt x="13" y="281"/>
                      <a:pt x="20" y="290"/>
                    </a:cubicBezTo>
                    <a:cubicBezTo>
                      <a:pt x="27" y="300"/>
                      <a:pt x="39" y="307"/>
                      <a:pt x="58" y="307"/>
                    </a:cubicBezTo>
                    <a:cubicBezTo>
                      <a:pt x="76" y="307"/>
                      <a:pt x="90" y="299"/>
                      <a:pt x="99" y="289"/>
                    </a:cubicBezTo>
                    <a:cubicBezTo>
                      <a:pt x="108" y="280"/>
                      <a:pt x="113" y="270"/>
                      <a:pt x="115" y="266"/>
                    </a:cubicBezTo>
                    <a:cubicBezTo>
                      <a:pt x="117" y="262"/>
                      <a:pt x="122" y="252"/>
                      <a:pt x="127" y="240"/>
                    </a:cubicBezTo>
                    <a:cubicBezTo>
                      <a:pt x="132" y="229"/>
                      <a:pt x="137" y="217"/>
                      <a:pt x="141" y="208"/>
                    </a:cubicBezTo>
                    <a:cubicBezTo>
                      <a:pt x="145" y="200"/>
                      <a:pt x="148" y="197"/>
                      <a:pt x="150" y="196"/>
                    </a:cubicBezTo>
                    <a:cubicBezTo>
                      <a:pt x="152" y="195"/>
                      <a:pt x="156" y="194"/>
                      <a:pt x="164" y="194"/>
                    </a:cubicBezTo>
                    <a:cubicBezTo>
                      <a:pt x="270" y="194"/>
                      <a:pt x="270" y="194"/>
                      <a:pt x="270" y="194"/>
                    </a:cubicBezTo>
                    <a:cubicBezTo>
                      <a:pt x="278" y="194"/>
                      <a:pt x="282" y="195"/>
                      <a:pt x="284" y="196"/>
                    </a:cubicBezTo>
                    <a:cubicBezTo>
                      <a:pt x="286" y="197"/>
                      <a:pt x="289" y="200"/>
                      <a:pt x="293" y="208"/>
                    </a:cubicBezTo>
                    <a:cubicBezTo>
                      <a:pt x="297" y="217"/>
                      <a:pt x="303" y="229"/>
                      <a:pt x="308" y="240"/>
                    </a:cubicBezTo>
                    <a:cubicBezTo>
                      <a:pt x="313" y="252"/>
                      <a:pt x="317" y="262"/>
                      <a:pt x="319" y="266"/>
                    </a:cubicBezTo>
                    <a:cubicBezTo>
                      <a:pt x="321" y="270"/>
                      <a:pt x="326" y="280"/>
                      <a:pt x="335" y="289"/>
                    </a:cubicBezTo>
                    <a:cubicBezTo>
                      <a:pt x="344" y="299"/>
                      <a:pt x="358" y="307"/>
                      <a:pt x="377" y="307"/>
                    </a:cubicBezTo>
                    <a:cubicBezTo>
                      <a:pt x="377" y="307"/>
                      <a:pt x="377" y="307"/>
                      <a:pt x="377" y="307"/>
                    </a:cubicBezTo>
                    <a:cubicBezTo>
                      <a:pt x="395" y="307"/>
                      <a:pt x="408" y="300"/>
                      <a:pt x="414" y="290"/>
                    </a:cubicBezTo>
                    <a:cubicBezTo>
                      <a:pt x="421" y="281"/>
                      <a:pt x="423" y="270"/>
                      <a:pt x="424" y="264"/>
                    </a:cubicBezTo>
                    <a:cubicBezTo>
                      <a:pt x="424" y="263"/>
                      <a:pt x="425" y="256"/>
                      <a:pt x="425" y="252"/>
                    </a:cubicBezTo>
                    <a:cubicBezTo>
                      <a:pt x="425" y="248"/>
                      <a:pt x="422" y="244"/>
                      <a:pt x="418" y="243"/>
                    </a:cubicBezTo>
                    <a:cubicBezTo>
                      <a:pt x="413" y="243"/>
                      <a:pt x="410" y="246"/>
                      <a:pt x="409" y="251"/>
                    </a:cubicBezTo>
                    <a:cubicBezTo>
                      <a:pt x="409" y="254"/>
                      <a:pt x="408" y="260"/>
                      <a:pt x="408" y="262"/>
                    </a:cubicBezTo>
                    <a:cubicBezTo>
                      <a:pt x="407" y="267"/>
                      <a:pt x="406" y="275"/>
                      <a:pt x="401" y="281"/>
                    </a:cubicBezTo>
                    <a:cubicBezTo>
                      <a:pt x="397" y="286"/>
                      <a:pt x="391" y="291"/>
                      <a:pt x="377" y="291"/>
                    </a:cubicBezTo>
                    <a:cubicBezTo>
                      <a:pt x="363" y="291"/>
                      <a:pt x="354" y="285"/>
                      <a:pt x="347" y="278"/>
                    </a:cubicBezTo>
                    <a:cubicBezTo>
                      <a:pt x="340" y="271"/>
                      <a:pt x="336" y="263"/>
                      <a:pt x="334" y="259"/>
                    </a:cubicBezTo>
                    <a:cubicBezTo>
                      <a:pt x="332" y="256"/>
                      <a:pt x="327" y="245"/>
                      <a:pt x="322" y="234"/>
                    </a:cubicBezTo>
                    <a:cubicBezTo>
                      <a:pt x="317" y="222"/>
                      <a:pt x="312" y="210"/>
                      <a:pt x="307" y="201"/>
                    </a:cubicBezTo>
                    <a:cubicBezTo>
                      <a:pt x="303" y="193"/>
                      <a:pt x="299" y="186"/>
                      <a:pt x="292" y="182"/>
                    </a:cubicBezTo>
                    <a:cubicBezTo>
                      <a:pt x="286" y="178"/>
                      <a:pt x="279" y="178"/>
                      <a:pt x="270" y="178"/>
                    </a:cubicBezTo>
                    <a:cubicBezTo>
                      <a:pt x="164" y="178"/>
                      <a:pt x="164" y="178"/>
                      <a:pt x="164" y="178"/>
                    </a:cubicBezTo>
                    <a:cubicBezTo>
                      <a:pt x="156" y="178"/>
                      <a:pt x="149" y="178"/>
                      <a:pt x="142" y="182"/>
                    </a:cubicBezTo>
                    <a:cubicBezTo>
                      <a:pt x="135" y="186"/>
                      <a:pt x="132" y="193"/>
                      <a:pt x="127" y="201"/>
                    </a:cubicBezTo>
                    <a:cubicBezTo>
                      <a:pt x="123" y="210"/>
                      <a:pt x="117" y="222"/>
                      <a:pt x="112" y="234"/>
                    </a:cubicBezTo>
                    <a:cubicBezTo>
                      <a:pt x="107" y="245"/>
                      <a:pt x="103" y="256"/>
                      <a:pt x="101" y="259"/>
                    </a:cubicBezTo>
                    <a:cubicBezTo>
                      <a:pt x="99" y="263"/>
                      <a:pt x="95" y="271"/>
                      <a:pt x="88" y="278"/>
                    </a:cubicBezTo>
                    <a:cubicBezTo>
                      <a:pt x="81" y="285"/>
                      <a:pt x="71" y="291"/>
                      <a:pt x="58" y="291"/>
                    </a:cubicBezTo>
                    <a:cubicBezTo>
                      <a:pt x="43" y="291"/>
                      <a:pt x="37" y="286"/>
                      <a:pt x="33" y="281"/>
                    </a:cubicBezTo>
                    <a:cubicBezTo>
                      <a:pt x="29" y="275"/>
                      <a:pt x="27" y="267"/>
                      <a:pt x="27" y="262"/>
                    </a:cubicBezTo>
                    <a:cubicBezTo>
                      <a:pt x="26" y="256"/>
                      <a:pt x="23" y="217"/>
                      <a:pt x="21" y="180"/>
                    </a:cubicBezTo>
                    <a:cubicBezTo>
                      <a:pt x="20" y="173"/>
                      <a:pt x="20" y="167"/>
                      <a:pt x="19" y="160"/>
                    </a:cubicBezTo>
                    <a:cubicBezTo>
                      <a:pt x="35" y="179"/>
                      <a:pt x="58" y="190"/>
                      <a:pt x="83" y="190"/>
                    </a:cubicBezTo>
                    <a:cubicBezTo>
                      <a:pt x="129" y="190"/>
                      <a:pt x="166" y="153"/>
                      <a:pt x="166" y="107"/>
                    </a:cubicBezTo>
                    <a:cubicBezTo>
                      <a:pt x="166" y="89"/>
                      <a:pt x="161" y="73"/>
                      <a:pt x="151" y="59"/>
                    </a:cubicBezTo>
                    <a:cubicBezTo>
                      <a:pt x="283" y="59"/>
                      <a:pt x="283" y="59"/>
                      <a:pt x="283" y="59"/>
                    </a:cubicBezTo>
                    <a:cubicBezTo>
                      <a:pt x="283" y="59"/>
                      <a:pt x="283" y="59"/>
                      <a:pt x="283" y="59"/>
                    </a:cubicBezTo>
                    <a:cubicBezTo>
                      <a:pt x="274" y="73"/>
                      <a:pt x="268" y="89"/>
                      <a:pt x="268" y="107"/>
                    </a:cubicBezTo>
                    <a:cubicBezTo>
                      <a:pt x="268" y="153"/>
                      <a:pt x="305" y="190"/>
                      <a:pt x="351" y="190"/>
                    </a:cubicBezTo>
                    <a:cubicBezTo>
                      <a:pt x="377" y="190"/>
                      <a:pt x="399" y="179"/>
                      <a:pt x="415" y="161"/>
                    </a:cubicBezTo>
                    <a:cubicBezTo>
                      <a:pt x="413" y="178"/>
                      <a:pt x="413" y="190"/>
                      <a:pt x="411" y="219"/>
                    </a:cubicBezTo>
                    <a:cubicBezTo>
                      <a:pt x="410" y="223"/>
                      <a:pt x="414" y="227"/>
                      <a:pt x="418" y="227"/>
                    </a:cubicBezTo>
                    <a:cubicBezTo>
                      <a:pt x="422" y="227"/>
                      <a:pt x="426" y="224"/>
                      <a:pt x="427" y="220"/>
                    </a:cubicBezTo>
                    <a:cubicBezTo>
                      <a:pt x="430" y="174"/>
                      <a:pt x="430" y="171"/>
                      <a:pt x="434" y="117"/>
                    </a:cubicBezTo>
                    <a:cubicBezTo>
                      <a:pt x="434" y="117"/>
                      <a:pt x="434" y="117"/>
                      <a:pt x="434" y="117"/>
                    </a:cubicBezTo>
                    <a:cubicBezTo>
                      <a:pt x="434" y="114"/>
                      <a:pt x="434" y="111"/>
                      <a:pt x="434" y="107"/>
                    </a:cubicBezTo>
                    <a:cubicBezTo>
                      <a:pt x="434" y="107"/>
                      <a:pt x="434" y="107"/>
                      <a:pt x="434" y="107"/>
                    </a:cubicBezTo>
                    <a:cubicBezTo>
                      <a:pt x="434" y="107"/>
                      <a:pt x="434" y="107"/>
                      <a:pt x="434" y="107"/>
                    </a:cubicBezTo>
                    <a:cubicBezTo>
                      <a:pt x="434" y="107"/>
                      <a:pt x="434" y="107"/>
                      <a:pt x="434" y="107"/>
                    </a:cubicBezTo>
                    <a:close/>
                    <a:moveTo>
                      <a:pt x="83" y="174"/>
                    </a:moveTo>
                    <a:cubicBezTo>
                      <a:pt x="46" y="174"/>
                      <a:pt x="16" y="144"/>
                      <a:pt x="16" y="107"/>
                    </a:cubicBezTo>
                    <a:cubicBezTo>
                      <a:pt x="16" y="81"/>
                      <a:pt x="31" y="58"/>
                      <a:pt x="52" y="47"/>
                    </a:cubicBezTo>
                    <a:cubicBezTo>
                      <a:pt x="55" y="46"/>
                      <a:pt x="56" y="44"/>
                      <a:pt x="56" y="41"/>
                    </a:cubicBezTo>
                    <a:cubicBezTo>
                      <a:pt x="57" y="41"/>
                      <a:pt x="57" y="40"/>
                      <a:pt x="57" y="40"/>
                    </a:cubicBezTo>
                    <a:cubicBezTo>
                      <a:pt x="57" y="38"/>
                      <a:pt x="57" y="31"/>
                      <a:pt x="58" y="24"/>
                    </a:cubicBezTo>
                    <a:cubicBezTo>
                      <a:pt x="59" y="21"/>
                      <a:pt x="60" y="18"/>
                      <a:pt x="61" y="17"/>
                    </a:cubicBezTo>
                    <a:cubicBezTo>
                      <a:pt x="61" y="16"/>
                      <a:pt x="62" y="16"/>
                      <a:pt x="62" y="16"/>
                    </a:cubicBezTo>
                    <a:cubicBezTo>
                      <a:pt x="62" y="16"/>
                      <a:pt x="62" y="16"/>
                      <a:pt x="62" y="16"/>
                    </a:cubicBezTo>
                    <a:cubicBezTo>
                      <a:pt x="105" y="16"/>
                      <a:pt x="105" y="16"/>
                      <a:pt x="105" y="16"/>
                    </a:cubicBezTo>
                    <a:cubicBezTo>
                      <a:pt x="106" y="16"/>
                      <a:pt x="106" y="16"/>
                      <a:pt x="106" y="16"/>
                    </a:cubicBezTo>
                    <a:cubicBezTo>
                      <a:pt x="106" y="16"/>
                      <a:pt x="106" y="16"/>
                      <a:pt x="106" y="16"/>
                    </a:cubicBezTo>
                    <a:cubicBezTo>
                      <a:pt x="107" y="17"/>
                      <a:pt x="109" y="21"/>
                      <a:pt x="109" y="25"/>
                    </a:cubicBezTo>
                    <a:cubicBezTo>
                      <a:pt x="110" y="29"/>
                      <a:pt x="110" y="34"/>
                      <a:pt x="110" y="37"/>
                    </a:cubicBezTo>
                    <a:cubicBezTo>
                      <a:pt x="110" y="38"/>
                      <a:pt x="110" y="39"/>
                      <a:pt x="110" y="39"/>
                    </a:cubicBezTo>
                    <a:cubicBezTo>
                      <a:pt x="110" y="43"/>
                      <a:pt x="111" y="46"/>
                      <a:pt x="114" y="47"/>
                    </a:cubicBezTo>
                    <a:cubicBezTo>
                      <a:pt x="136" y="59"/>
                      <a:pt x="150" y="81"/>
                      <a:pt x="150" y="107"/>
                    </a:cubicBezTo>
                    <a:cubicBezTo>
                      <a:pt x="150" y="144"/>
                      <a:pt x="120" y="174"/>
                      <a:pt x="83" y="174"/>
                    </a:cubicBezTo>
                    <a:close/>
                    <a:moveTo>
                      <a:pt x="351" y="174"/>
                    </a:moveTo>
                    <a:cubicBezTo>
                      <a:pt x="314" y="174"/>
                      <a:pt x="284" y="144"/>
                      <a:pt x="284" y="107"/>
                    </a:cubicBezTo>
                    <a:cubicBezTo>
                      <a:pt x="284" y="81"/>
                      <a:pt x="299" y="58"/>
                      <a:pt x="320" y="47"/>
                    </a:cubicBezTo>
                    <a:cubicBezTo>
                      <a:pt x="322" y="46"/>
                      <a:pt x="324" y="44"/>
                      <a:pt x="324" y="42"/>
                    </a:cubicBezTo>
                    <a:cubicBezTo>
                      <a:pt x="325" y="41"/>
                      <a:pt x="325" y="40"/>
                      <a:pt x="325" y="40"/>
                    </a:cubicBezTo>
                    <a:cubicBezTo>
                      <a:pt x="325" y="38"/>
                      <a:pt x="325" y="31"/>
                      <a:pt x="326" y="24"/>
                    </a:cubicBezTo>
                    <a:cubicBezTo>
                      <a:pt x="327" y="21"/>
                      <a:pt x="328" y="18"/>
                      <a:pt x="329" y="17"/>
                    </a:cubicBezTo>
                    <a:cubicBezTo>
                      <a:pt x="329" y="16"/>
                      <a:pt x="330" y="16"/>
                      <a:pt x="330" y="16"/>
                    </a:cubicBezTo>
                    <a:cubicBezTo>
                      <a:pt x="373" y="16"/>
                      <a:pt x="373" y="16"/>
                      <a:pt x="373" y="16"/>
                    </a:cubicBezTo>
                    <a:cubicBezTo>
                      <a:pt x="374" y="16"/>
                      <a:pt x="374" y="16"/>
                      <a:pt x="374" y="16"/>
                    </a:cubicBezTo>
                    <a:cubicBezTo>
                      <a:pt x="374" y="16"/>
                      <a:pt x="374" y="16"/>
                      <a:pt x="374" y="16"/>
                    </a:cubicBezTo>
                    <a:cubicBezTo>
                      <a:pt x="375" y="17"/>
                      <a:pt x="377" y="21"/>
                      <a:pt x="377" y="25"/>
                    </a:cubicBezTo>
                    <a:cubicBezTo>
                      <a:pt x="378" y="29"/>
                      <a:pt x="378" y="34"/>
                      <a:pt x="378" y="37"/>
                    </a:cubicBezTo>
                    <a:cubicBezTo>
                      <a:pt x="378" y="38"/>
                      <a:pt x="378" y="39"/>
                      <a:pt x="378" y="39"/>
                    </a:cubicBezTo>
                    <a:cubicBezTo>
                      <a:pt x="378" y="40"/>
                      <a:pt x="378" y="41"/>
                      <a:pt x="378" y="42"/>
                    </a:cubicBezTo>
                    <a:cubicBezTo>
                      <a:pt x="379" y="44"/>
                      <a:pt x="380" y="46"/>
                      <a:pt x="382" y="47"/>
                    </a:cubicBezTo>
                    <a:cubicBezTo>
                      <a:pt x="404" y="59"/>
                      <a:pt x="418" y="81"/>
                      <a:pt x="418" y="107"/>
                    </a:cubicBezTo>
                    <a:cubicBezTo>
                      <a:pt x="418" y="144"/>
                      <a:pt x="388" y="174"/>
                      <a:pt x="351" y="174"/>
                    </a:cubicBezTo>
                    <a:close/>
                    <a:moveTo>
                      <a:pt x="225" y="147"/>
                    </a:moveTo>
                    <a:cubicBezTo>
                      <a:pt x="225" y="154"/>
                      <a:pt x="231" y="160"/>
                      <a:pt x="238" y="160"/>
                    </a:cubicBezTo>
                    <a:cubicBezTo>
                      <a:pt x="245" y="160"/>
                      <a:pt x="250" y="154"/>
                      <a:pt x="250" y="147"/>
                    </a:cubicBezTo>
                    <a:cubicBezTo>
                      <a:pt x="250" y="141"/>
                      <a:pt x="245" y="135"/>
                      <a:pt x="238" y="135"/>
                    </a:cubicBezTo>
                    <a:cubicBezTo>
                      <a:pt x="231" y="135"/>
                      <a:pt x="225" y="141"/>
                      <a:pt x="225" y="147"/>
                    </a:cubicBezTo>
                    <a:close/>
                    <a:moveTo>
                      <a:pt x="351" y="125"/>
                    </a:moveTo>
                    <a:cubicBezTo>
                      <a:pt x="342" y="125"/>
                      <a:pt x="335" y="132"/>
                      <a:pt x="335" y="141"/>
                    </a:cubicBezTo>
                    <a:cubicBezTo>
                      <a:pt x="335" y="150"/>
                      <a:pt x="342" y="157"/>
                      <a:pt x="351" y="157"/>
                    </a:cubicBezTo>
                    <a:cubicBezTo>
                      <a:pt x="360" y="157"/>
                      <a:pt x="367" y="150"/>
                      <a:pt x="367" y="141"/>
                    </a:cubicBezTo>
                    <a:cubicBezTo>
                      <a:pt x="367" y="132"/>
                      <a:pt x="360" y="125"/>
                      <a:pt x="351" y="125"/>
                    </a:cubicBezTo>
                    <a:close/>
                    <a:moveTo>
                      <a:pt x="182" y="147"/>
                    </a:moveTo>
                    <a:cubicBezTo>
                      <a:pt x="182" y="154"/>
                      <a:pt x="187" y="160"/>
                      <a:pt x="194" y="160"/>
                    </a:cubicBezTo>
                    <a:cubicBezTo>
                      <a:pt x="201" y="160"/>
                      <a:pt x="207" y="154"/>
                      <a:pt x="207" y="147"/>
                    </a:cubicBezTo>
                    <a:cubicBezTo>
                      <a:pt x="207" y="141"/>
                      <a:pt x="201" y="135"/>
                      <a:pt x="194" y="135"/>
                    </a:cubicBezTo>
                    <a:cubicBezTo>
                      <a:pt x="187" y="135"/>
                      <a:pt x="182" y="141"/>
                      <a:pt x="182" y="147"/>
                    </a:cubicBezTo>
                    <a:close/>
                    <a:moveTo>
                      <a:pt x="351" y="57"/>
                    </a:moveTo>
                    <a:cubicBezTo>
                      <a:pt x="342" y="57"/>
                      <a:pt x="335" y="64"/>
                      <a:pt x="335" y="73"/>
                    </a:cubicBezTo>
                    <a:cubicBezTo>
                      <a:pt x="335" y="82"/>
                      <a:pt x="342" y="89"/>
                      <a:pt x="351" y="89"/>
                    </a:cubicBezTo>
                    <a:cubicBezTo>
                      <a:pt x="360" y="89"/>
                      <a:pt x="367" y="82"/>
                      <a:pt x="367" y="73"/>
                    </a:cubicBezTo>
                    <a:cubicBezTo>
                      <a:pt x="367" y="64"/>
                      <a:pt x="360" y="57"/>
                      <a:pt x="351" y="57"/>
                    </a:cubicBezTo>
                    <a:close/>
                    <a:moveTo>
                      <a:pt x="385" y="91"/>
                    </a:moveTo>
                    <a:cubicBezTo>
                      <a:pt x="377" y="91"/>
                      <a:pt x="369" y="98"/>
                      <a:pt x="369" y="107"/>
                    </a:cubicBezTo>
                    <a:cubicBezTo>
                      <a:pt x="369" y="116"/>
                      <a:pt x="377" y="123"/>
                      <a:pt x="385" y="123"/>
                    </a:cubicBezTo>
                    <a:cubicBezTo>
                      <a:pt x="394" y="123"/>
                      <a:pt x="402" y="116"/>
                      <a:pt x="402" y="107"/>
                    </a:cubicBezTo>
                    <a:cubicBezTo>
                      <a:pt x="402" y="98"/>
                      <a:pt x="394" y="91"/>
                      <a:pt x="385" y="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26" name="Freeform 6"/>
              <p:cNvSpPr>
                <a:spLocks noEditPoints="1"/>
              </p:cNvSpPr>
              <p:nvPr/>
            </p:nvSpPr>
            <p:spPr bwMode="auto">
              <a:xfrm>
                <a:off x="5932640" y="2872764"/>
                <a:ext cx="118802" cy="111515"/>
              </a:xfrm>
              <a:custGeom>
                <a:avLst/>
                <a:gdLst>
                  <a:gd name="T0" fmla="*/ 2147483647 w 300"/>
                  <a:gd name="T1" fmla="*/ 2147483647 h 288"/>
                  <a:gd name="T2" fmla="*/ 2147483647 w 300"/>
                  <a:gd name="T3" fmla="*/ 2147483647 h 288"/>
                  <a:gd name="T4" fmla="*/ 2147483647 w 300"/>
                  <a:gd name="T5" fmla="*/ 0 h 288"/>
                  <a:gd name="T6" fmla="*/ 2147483647 w 300"/>
                  <a:gd name="T7" fmla="*/ 2147483647 h 288"/>
                  <a:gd name="T8" fmla="*/ 2147483647 w 300"/>
                  <a:gd name="T9" fmla="*/ 2147483647 h 288"/>
                  <a:gd name="T10" fmla="*/ 2147483647 w 300"/>
                  <a:gd name="T11" fmla="*/ 2147483647 h 288"/>
                  <a:gd name="T12" fmla="*/ 2147483647 w 300"/>
                  <a:gd name="T13" fmla="*/ 2147483647 h 288"/>
                  <a:gd name="T14" fmla="*/ 2147483647 w 300"/>
                  <a:gd name="T15" fmla="*/ 2147483647 h 288"/>
                  <a:gd name="T16" fmla="*/ 2147483647 w 300"/>
                  <a:gd name="T17" fmla="*/ 2147483647 h 288"/>
                  <a:gd name="T18" fmla="*/ 2147483647 w 300"/>
                  <a:gd name="T19" fmla="*/ 2147483647 h 288"/>
                  <a:gd name="T20" fmla="*/ 2147483647 w 300"/>
                  <a:gd name="T21" fmla="*/ 2147483647 h 288"/>
                  <a:gd name="T22" fmla="*/ 2147483647 w 300"/>
                  <a:gd name="T23" fmla="*/ 2147483647 h 288"/>
                  <a:gd name="T24" fmla="*/ 2147483647 w 300"/>
                  <a:gd name="T25" fmla="*/ 2147483647 h 288"/>
                  <a:gd name="T26" fmla="*/ 0 w 300"/>
                  <a:gd name="T27" fmla="*/ 2147483647 h 288"/>
                  <a:gd name="T28" fmla="*/ 0 w 300"/>
                  <a:gd name="T29" fmla="*/ 2147483647 h 288"/>
                  <a:gd name="T30" fmla="*/ 2147483647 w 300"/>
                  <a:gd name="T31" fmla="*/ 2147483647 h 288"/>
                  <a:gd name="T32" fmla="*/ 2147483647 w 300"/>
                  <a:gd name="T33" fmla="*/ 2147483647 h 288"/>
                  <a:gd name="T34" fmla="*/ 2147483647 w 300"/>
                  <a:gd name="T35" fmla="*/ 2147483647 h 288"/>
                  <a:gd name="T36" fmla="*/ 2147483647 w 300"/>
                  <a:gd name="T37" fmla="*/ 2147483647 h 288"/>
                  <a:gd name="T38" fmla="*/ 2147483647 w 300"/>
                  <a:gd name="T39" fmla="*/ 2147483647 h 288"/>
                  <a:gd name="T40" fmla="*/ 2147483647 w 300"/>
                  <a:gd name="T41" fmla="*/ 2147483647 h 288"/>
                  <a:gd name="T42" fmla="*/ 2147483647 w 300"/>
                  <a:gd name="T43" fmla="*/ 2147483647 h 288"/>
                  <a:gd name="T44" fmla="*/ 2147483647 w 300"/>
                  <a:gd name="T45" fmla="*/ 2147483647 h 288"/>
                  <a:gd name="T46" fmla="*/ 2147483647 w 300"/>
                  <a:gd name="T47" fmla="*/ 2147483647 h 288"/>
                  <a:gd name="T48" fmla="*/ 2147483647 w 300"/>
                  <a:gd name="T49" fmla="*/ 2147483647 h 288"/>
                  <a:gd name="T50" fmla="*/ 2147483647 w 300"/>
                  <a:gd name="T51" fmla="*/ 2147483647 h 288"/>
                  <a:gd name="T52" fmla="*/ 2147483647 w 300"/>
                  <a:gd name="T53" fmla="*/ 2147483647 h 288"/>
                  <a:gd name="T54" fmla="*/ 2147483647 w 300"/>
                  <a:gd name="T55" fmla="*/ 2147483647 h 288"/>
                  <a:gd name="T56" fmla="*/ 2147483647 w 300"/>
                  <a:gd name="T57" fmla="*/ 2147483647 h 288"/>
                  <a:gd name="T58" fmla="*/ 2147483647 w 300"/>
                  <a:gd name="T59" fmla="*/ 2147483647 h 288"/>
                  <a:gd name="T60" fmla="*/ 2147483647 w 300"/>
                  <a:gd name="T61" fmla="*/ 2147483647 h 288"/>
                  <a:gd name="T62" fmla="*/ 2147483647 w 300"/>
                  <a:gd name="T63" fmla="*/ 2147483647 h 288"/>
                  <a:gd name="T64" fmla="*/ 2147483647 w 300"/>
                  <a:gd name="T65" fmla="*/ 2147483647 h 288"/>
                  <a:gd name="T66" fmla="*/ 2147483647 w 300"/>
                  <a:gd name="T67" fmla="*/ 2147483647 h 288"/>
                  <a:gd name="T68" fmla="*/ 2147483647 w 300"/>
                  <a:gd name="T69" fmla="*/ 2147483647 h 288"/>
                  <a:gd name="T70" fmla="*/ 2147483647 w 300"/>
                  <a:gd name="T71" fmla="*/ 2147483647 h 288"/>
                  <a:gd name="T72" fmla="*/ 2147483647 w 300"/>
                  <a:gd name="T73" fmla="*/ 2147483647 h 288"/>
                  <a:gd name="T74" fmla="*/ 2147483647 w 300"/>
                  <a:gd name="T75" fmla="*/ 2147483647 h 288"/>
                  <a:gd name="T76" fmla="*/ 2147483647 w 300"/>
                  <a:gd name="T77" fmla="*/ 2147483647 h 288"/>
                  <a:gd name="T78" fmla="*/ 0 w 300"/>
                  <a:gd name="T79" fmla="*/ 2147483647 h 288"/>
                  <a:gd name="T80" fmla="*/ 0 w 300"/>
                  <a:gd name="T81" fmla="*/ 2147483647 h 288"/>
                  <a:gd name="T82" fmla="*/ 2147483647 w 300"/>
                  <a:gd name="T83" fmla="*/ 2147483647 h 288"/>
                  <a:gd name="T84" fmla="*/ 2147483647 w 300"/>
                  <a:gd name="T85" fmla="*/ 2147483647 h 288"/>
                  <a:gd name="T86" fmla="*/ 2147483647 w 300"/>
                  <a:gd name="T87" fmla="*/ 2147483647 h 288"/>
                  <a:gd name="T88" fmla="*/ 2147483647 w 300"/>
                  <a:gd name="T89" fmla="*/ 2147483647 h 288"/>
                  <a:gd name="T90" fmla="*/ 2147483647 w 300"/>
                  <a:gd name="T91" fmla="*/ 2147483647 h 288"/>
                  <a:gd name="T92" fmla="*/ 2147483647 w 300"/>
                  <a:gd name="T93" fmla="*/ 2147483647 h 288"/>
                  <a:gd name="T94" fmla="*/ 2147483647 w 300"/>
                  <a:gd name="T95" fmla="*/ 2147483647 h 288"/>
                  <a:gd name="T96" fmla="*/ 2147483647 w 300"/>
                  <a:gd name="T97" fmla="*/ 2147483647 h 288"/>
                  <a:gd name="T98" fmla="*/ 2147483647 w 300"/>
                  <a:gd name="T99" fmla="*/ 2147483647 h 288"/>
                  <a:gd name="T100" fmla="*/ 2147483647 w 300"/>
                  <a:gd name="T101" fmla="*/ 2147483647 h 288"/>
                  <a:gd name="T102" fmla="*/ 2147483647 w 300"/>
                  <a:gd name="T103" fmla="*/ 2147483647 h 288"/>
                  <a:gd name="T104" fmla="*/ 2147483647 w 300"/>
                  <a:gd name="T105" fmla="*/ 0 h 288"/>
                  <a:gd name="T106" fmla="*/ 2147483647 w 300"/>
                  <a:gd name="T107" fmla="*/ 2147483647 h 288"/>
                  <a:gd name="T108" fmla="*/ 2147483647 w 300"/>
                  <a:gd name="T109" fmla="*/ 2147483647 h 28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300" h="288">
                    <a:moveTo>
                      <a:pt x="171" y="83"/>
                    </a:moveTo>
                    <a:cubicBezTo>
                      <a:pt x="194" y="83"/>
                      <a:pt x="213" y="64"/>
                      <a:pt x="213" y="41"/>
                    </a:cubicBezTo>
                    <a:cubicBezTo>
                      <a:pt x="213" y="19"/>
                      <a:pt x="194" y="0"/>
                      <a:pt x="171" y="0"/>
                    </a:cubicBezTo>
                    <a:cubicBezTo>
                      <a:pt x="149" y="0"/>
                      <a:pt x="130" y="19"/>
                      <a:pt x="130" y="41"/>
                    </a:cubicBezTo>
                    <a:cubicBezTo>
                      <a:pt x="130" y="64"/>
                      <a:pt x="149" y="83"/>
                      <a:pt x="171" y="83"/>
                    </a:cubicBezTo>
                    <a:close/>
                    <a:moveTo>
                      <a:pt x="300" y="142"/>
                    </a:moveTo>
                    <a:cubicBezTo>
                      <a:pt x="300" y="137"/>
                      <a:pt x="299" y="132"/>
                      <a:pt x="296" y="128"/>
                    </a:cubicBezTo>
                    <a:cubicBezTo>
                      <a:pt x="294" y="124"/>
                      <a:pt x="289" y="122"/>
                      <a:pt x="284" y="122"/>
                    </a:cubicBezTo>
                    <a:cubicBezTo>
                      <a:pt x="279" y="122"/>
                      <a:pt x="275" y="124"/>
                      <a:pt x="271" y="127"/>
                    </a:cubicBezTo>
                    <a:cubicBezTo>
                      <a:pt x="271" y="127"/>
                      <a:pt x="247" y="146"/>
                      <a:pt x="229" y="161"/>
                    </a:cubicBezTo>
                    <a:cubicBezTo>
                      <a:pt x="229" y="139"/>
                      <a:pt x="229" y="139"/>
                      <a:pt x="229" y="139"/>
                    </a:cubicBezTo>
                    <a:cubicBezTo>
                      <a:pt x="229" y="116"/>
                      <a:pt x="210" y="97"/>
                      <a:pt x="187" y="97"/>
                    </a:cubicBezTo>
                    <a:cubicBezTo>
                      <a:pt x="42" y="97"/>
                      <a:pt x="42" y="97"/>
                      <a:pt x="42" y="97"/>
                    </a:cubicBezTo>
                    <a:cubicBezTo>
                      <a:pt x="19" y="97"/>
                      <a:pt x="0" y="116"/>
                      <a:pt x="0" y="139"/>
                    </a:cubicBezTo>
                    <a:cubicBezTo>
                      <a:pt x="0" y="197"/>
                      <a:pt x="0" y="197"/>
                      <a:pt x="0" y="197"/>
                    </a:cubicBezTo>
                    <a:cubicBezTo>
                      <a:pt x="0" y="201"/>
                      <a:pt x="4" y="205"/>
                      <a:pt x="8" y="205"/>
                    </a:cubicBezTo>
                    <a:cubicBezTo>
                      <a:pt x="12" y="205"/>
                      <a:pt x="16" y="201"/>
                      <a:pt x="16" y="197"/>
                    </a:cubicBezTo>
                    <a:cubicBezTo>
                      <a:pt x="16" y="139"/>
                      <a:pt x="16" y="139"/>
                      <a:pt x="16" y="139"/>
                    </a:cubicBezTo>
                    <a:cubicBezTo>
                      <a:pt x="16" y="125"/>
                      <a:pt x="28" y="113"/>
                      <a:pt x="42" y="113"/>
                    </a:cubicBezTo>
                    <a:cubicBezTo>
                      <a:pt x="187" y="113"/>
                      <a:pt x="187" y="113"/>
                      <a:pt x="187" y="113"/>
                    </a:cubicBezTo>
                    <a:cubicBezTo>
                      <a:pt x="201" y="113"/>
                      <a:pt x="213" y="125"/>
                      <a:pt x="213" y="139"/>
                    </a:cubicBezTo>
                    <a:cubicBezTo>
                      <a:pt x="213" y="177"/>
                      <a:pt x="213" y="177"/>
                      <a:pt x="213" y="177"/>
                    </a:cubicBezTo>
                    <a:cubicBezTo>
                      <a:pt x="213" y="180"/>
                      <a:pt x="215" y="183"/>
                      <a:pt x="217" y="184"/>
                    </a:cubicBezTo>
                    <a:cubicBezTo>
                      <a:pt x="220" y="186"/>
                      <a:pt x="223" y="185"/>
                      <a:pt x="226" y="183"/>
                    </a:cubicBezTo>
                    <a:cubicBezTo>
                      <a:pt x="235" y="176"/>
                      <a:pt x="280" y="140"/>
                      <a:pt x="281" y="140"/>
                    </a:cubicBezTo>
                    <a:cubicBezTo>
                      <a:pt x="282" y="139"/>
                      <a:pt x="283" y="138"/>
                      <a:pt x="283" y="138"/>
                    </a:cubicBezTo>
                    <a:cubicBezTo>
                      <a:pt x="284" y="139"/>
                      <a:pt x="284" y="140"/>
                      <a:pt x="284" y="142"/>
                    </a:cubicBezTo>
                    <a:cubicBezTo>
                      <a:pt x="284" y="143"/>
                      <a:pt x="284" y="250"/>
                      <a:pt x="284" y="252"/>
                    </a:cubicBezTo>
                    <a:cubicBezTo>
                      <a:pt x="284" y="253"/>
                      <a:pt x="284" y="255"/>
                      <a:pt x="283" y="255"/>
                    </a:cubicBezTo>
                    <a:cubicBezTo>
                      <a:pt x="283" y="255"/>
                      <a:pt x="282" y="255"/>
                      <a:pt x="281" y="254"/>
                    </a:cubicBezTo>
                    <a:cubicBezTo>
                      <a:pt x="275" y="249"/>
                      <a:pt x="244" y="224"/>
                      <a:pt x="226" y="210"/>
                    </a:cubicBezTo>
                    <a:cubicBezTo>
                      <a:pt x="223" y="208"/>
                      <a:pt x="220" y="208"/>
                      <a:pt x="217" y="209"/>
                    </a:cubicBezTo>
                    <a:cubicBezTo>
                      <a:pt x="215" y="211"/>
                      <a:pt x="213" y="213"/>
                      <a:pt x="213" y="216"/>
                    </a:cubicBezTo>
                    <a:cubicBezTo>
                      <a:pt x="213" y="246"/>
                      <a:pt x="213" y="246"/>
                      <a:pt x="213" y="246"/>
                    </a:cubicBezTo>
                    <a:cubicBezTo>
                      <a:pt x="213" y="260"/>
                      <a:pt x="201" y="272"/>
                      <a:pt x="187" y="272"/>
                    </a:cubicBezTo>
                    <a:cubicBezTo>
                      <a:pt x="42" y="272"/>
                      <a:pt x="42" y="272"/>
                      <a:pt x="42" y="272"/>
                    </a:cubicBezTo>
                    <a:cubicBezTo>
                      <a:pt x="28" y="272"/>
                      <a:pt x="16" y="260"/>
                      <a:pt x="16" y="246"/>
                    </a:cubicBezTo>
                    <a:cubicBezTo>
                      <a:pt x="16" y="229"/>
                      <a:pt x="16" y="229"/>
                      <a:pt x="16" y="229"/>
                    </a:cubicBezTo>
                    <a:cubicBezTo>
                      <a:pt x="16" y="224"/>
                      <a:pt x="12" y="221"/>
                      <a:pt x="8" y="221"/>
                    </a:cubicBezTo>
                    <a:cubicBezTo>
                      <a:pt x="4" y="221"/>
                      <a:pt x="0" y="224"/>
                      <a:pt x="0" y="229"/>
                    </a:cubicBezTo>
                    <a:cubicBezTo>
                      <a:pt x="0" y="246"/>
                      <a:pt x="0" y="246"/>
                      <a:pt x="0" y="246"/>
                    </a:cubicBezTo>
                    <a:cubicBezTo>
                      <a:pt x="0" y="269"/>
                      <a:pt x="19" y="288"/>
                      <a:pt x="42" y="288"/>
                    </a:cubicBezTo>
                    <a:cubicBezTo>
                      <a:pt x="187" y="288"/>
                      <a:pt x="187" y="288"/>
                      <a:pt x="187" y="288"/>
                    </a:cubicBezTo>
                    <a:cubicBezTo>
                      <a:pt x="210" y="288"/>
                      <a:pt x="229" y="269"/>
                      <a:pt x="229" y="246"/>
                    </a:cubicBezTo>
                    <a:cubicBezTo>
                      <a:pt x="229" y="233"/>
                      <a:pt x="229" y="233"/>
                      <a:pt x="229" y="233"/>
                    </a:cubicBezTo>
                    <a:cubicBezTo>
                      <a:pt x="246" y="246"/>
                      <a:pt x="266" y="262"/>
                      <a:pt x="271" y="266"/>
                    </a:cubicBezTo>
                    <a:cubicBezTo>
                      <a:pt x="275" y="269"/>
                      <a:pt x="279" y="271"/>
                      <a:pt x="284" y="271"/>
                    </a:cubicBezTo>
                    <a:cubicBezTo>
                      <a:pt x="288" y="272"/>
                      <a:pt x="293" y="269"/>
                      <a:pt x="296" y="265"/>
                    </a:cubicBezTo>
                    <a:cubicBezTo>
                      <a:pt x="299" y="261"/>
                      <a:pt x="300" y="257"/>
                      <a:pt x="300" y="252"/>
                    </a:cubicBezTo>
                    <a:cubicBezTo>
                      <a:pt x="300" y="250"/>
                      <a:pt x="300" y="143"/>
                      <a:pt x="300" y="142"/>
                    </a:cubicBezTo>
                    <a:close/>
                    <a:moveTo>
                      <a:pt x="66" y="83"/>
                    </a:moveTo>
                    <a:cubicBezTo>
                      <a:pt x="89" y="83"/>
                      <a:pt x="107" y="64"/>
                      <a:pt x="107" y="41"/>
                    </a:cubicBezTo>
                    <a:cubicBezTo>
                      <a:pt x="107" y="19"/>
                      <a:pt x="89" y="0"/>
                      <a:pt x="66" y="0"/>
                    </a:cubicBezTo>
                    <a:cubicBezTo>
                      <a:pt x="43" y="0"/>
                      <a:pt x="25" y="19"/>
                      <a:pt x="25" y="41"/>
                    </a:cubicBezTo>
                    <a:cubicBezTo>
                      <a:pt x="25" y="64"/>
                      <a:pt x="43" y="83"/>
                      <a:pt x="66" y="8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27" name="Freeform 7"/>
              <p:cNvSpPr>
                <a:spLocks noChangeAspect="1" noEditPoints="1"/>
              </p:cNvSpPr>
              <p:nvPr/>
            </p:nvSpPr>
            <p:spPr bwMode="auto">
              <a:xfrm>
                <a:off x="5728088" y="3080108"/>
                <a:ext cx="127347" cy="103480"/>
              </a:xfrm>
              <a:custGeom>
                <a:avLst/>
                <a:gdLst>
                  <a:gd name="T0" fmla="*/ 2147483647 w 322"/>
                  <a:gd name="T1" fmla="*/ 2147483647 h 267"/>
                  <a:gd name="T2" fmla="*/ 2147483647 w 322"/>
                  <a:gd name="T3" fmla="*/ 2147483647 h 267"/>
                  <a:gd name="T4" fmla="*/ 2147483647 w 322"/>
                  <a:gd name="T5" fmla="*/ 2147483647 h 267"/>
                  <a:gd name="T6" fmla="*/ 2147483647 w 322"/>
                  <a:gd name="T7" fmla="*/ 2147483647 h 267"/>
                  <a:gd name="T8" fmla="*/ 2147483647 w 322"/>
                  <a:gd name="T9" fmla="*/ 2147483647 h 267"/>
                  <a:gd name="T10" fmla="*/ 2147483647 w 322"/>
                  <a:gd name="T11" fmla="*/ 2147483647 h 267"/>
                  <a:gd name="T12" fmla="*/ 2147483647 w 322"/>
                  <a:gd name="T13" fmla="*/ 2147483647 h 267"/>
                  <a:gd name="T14" fmla="*/ 2147483647 w 322"/>
                  <a:gd name="T15" fmla="*/ 2147483647 h 267"/>
                  <a:gd name="T16" fmla="*/ 2147483647 w 322"/>
                  <a:gd name="T17" fmla="*/ 2147483647 h 267"/>
                  <a:gd name="T18" fmla="*/ 2147483647 w 322"/>
                  <a:gd name="T19" fmla="*/ 2147483647 h 267"/>
                  <a:gd name="T20" fmla="*/ 2147483647 w 322"/>
                  <a:gd name="T21" fmla="*/ 2147483647 h 267"/>
                  <a:gd name="T22" fmla="*/ 2147483647 w 322"/>
                  <a:gd name="T23" fmla="*/ 2147483647 h 267"/>
                  <a:gd name="T24" fmla="*/ 2147483647 w 322"/>
                  <a:gd name="T25" fmla="*/ 2147483647 h 267"/>
                  <a:gd name="T26" fmla="*/ 2147483647 w 322"/>
                  <a:gd name="T27" fmla="*/ 2147483647 h 267"/>
                  <a:gd name="T28" fmla="*/ 2147483647 w 322"/>
                  <a:gd name="T29" fmla="*/ 2147483647 h 267"/>
                  <a:gd name="T30" fmla="*/ 0 w 322"/>
                  <a:gd name="T31" fmla="*/ 2147483647 h 267"/>
                  <a:gd name="T32" fmla="*/ 2147483647 w 322"/>
                  <a:gd name="T33" fmla="*/ 2147483647 h 267"/>
                  <a:gd name="T34" fmla="*/ 2147483647 w 322"/>
                  <a:gd name="T35" fmla="*/ 2147483647 h 267"/>
                  <a:gd name="T36" fmla="*/ 2147483647 w 322"/>
                  <a:gd name="T37" fmla="*/ 2147483647 h 267"/>
                  <a:gd name="T38" fmla="*/ 2147483647 w 322"/>
                  <a:gd name="T39" fmla="*/ 2147483647 h 267"/>
                  <a:gd name="T40" fmla="*/ 2147483647 w 322"/>
                  <a:gd name="T41" fmla="*/ 2147483647 h 267"/>
                  <a:gd name="T42" fmla="*/ 2147483647 w 322"/>
                  <a:gd name="T43" fmla="*/ 2147483647 h 267"/>
                  <a:gd name="T44" fmla="*/ 2147483647 w 322"/>
                  <a:gd name="T45" fmla="*/ 2147483647 h 267"/>
                  <a:gd name="T46" fmla="*/ 2147483647 w 322"/>
                  <a:gd name="T47" fmla="*/ 2147483647 h 267"/>
                  <a:gd name="T48" fmla="*/ 2147483647 w 322"/>
                  <a:gd name="T49" fmla="*/ 2147483647 h 267"/>
                  <a:gd name="T50" fmla="*/ 2147483647 w 322"/>
                  <a:gd name="T51" fmla="*/ 2147483647 h 267"/>
                  <a:gd name="T52" fmla="*/ 2147483647 w 322"/>
                  <a:gd name="T53" fmla="*/ 2147483647 h 267"/>
                  <a:gd name="T54" fmla="*/ 2147483647 w 322"/>
                  <a:gd name="T55" fmla="*/ 2147483647 h 267"/>
                  <a:gd name="T56" fmla="*/ 2147483647 w 322"/>
                  <a:gd name="T57" fmla="*/ 2147483647 h 267"/>
                  <a:gd name="T58" fmla="*/ 2147483647 w 322"/>
                  <a:gd name="T59" fmla="*/ 2147483647 h 267"/>
                  <a:gd name="T60" fmla="*/ 2147483647 w 322"/>
                  <a:gd name="T61" fmla="*/ 2147483647 h 267"/>
                  <a:gd name="T62" fmla="*/ 2147483647 w 322"/>
                  <a:gd name="T63" fmla="*/ 2147483647 h 267"/>
                  <a:gd name="T64" fmla="*/ 2147483647 w 322"/>
                  <a:gd name="T65" fmla="*/ 2147483647 h 267"/>
                  <a:gd name="T66" fmla="*/ 2147483647 w 322"/>
                  <a:gd name="T67" fmla="*/ 2147483647 h 267"/>
                  <a:gd name="T68" fmla="*/ 2147483647 w 322"/>
                  <a:gd name="T69" fmla="*/ 2147483647 h 267"/>
                  <a:gd name="T70" fmla="*/ 2147483647 w 322"/>
                  <a:gd name="T71" fmla="*/ 2147483647 h 267"/>
                  <a:gd name="T72" fmla="*/ 2147483647 w 322"/>
                  <a:gd name="T73" fmla="*/ 2147483647 h 267"/>
                  <a:gd name="T74" fmla="*/ 2147483647 w 322"/>
                  <a:gd name="T75" fmla="*/ 2147483647 h 267"/>
                  <a:gd name="T76" fmla="*/ 2147483647 w 322"/>
                  <a:gd name="T77" fmla="*/ 2147483647 h 267"/>
                  <a:gd name="T78" fmla="*/ 2147483647 w 322"/>
                  <a:gd name="T79" fmla="*/ 2147483647 h 267"/>
                  <a:gd name="T80" fmla="*/ 2147483647 w 322"/>
                  <a:gd name="T81" fmla="*/ 2147483647 h 267"/>
                  <a:gd name="T82" fmla="*/ 2147483647 w 322"/>
                  <a:gd name="T83" fmla="*/ 2147483647 h 267"/>
                  <a:gd name="T84" fmla="*/ 2147483647 w 322"/>
                  <a:gd name="T85" fmla="*/ 2147483647 h 267"/>
                  <a:gd name="T86" fmla="*/ 2147483647 w 322"/>
                  <a:gd name="T87" fmla="*/ 2147483647 h 267"/>
                  <a:gd name="T88" fmla="*/ 2147483647 w 322"/>
                  <a:gd name="T89" fmla="*/ 2147483647 h 267"/>
                  <a:gd name="T90" fmla="*/ 2147483647 w 322"/>
                  <a:gd name="T91" fmla="*/ 2147483647 h 267"/>
                  <a:gd name="T92" fmla="*/ 2147483647 w 322"/>
                  <a:gd name="T93" fmla="*/ 2147483647 h 267"/>
                  <a:gd name="T94" fmla="*/ 2147483647 w 322"/>
                  <a:gd name="T95" fmla="*/ 2147483647 h 26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22" h="267">
                    <a:moveTo>
                      <a:pt x="140" y="181"/>
                    </a:moveTo>
                    <a:cubicBezTo>
                      <a:pt x="140" y="224"/>
                      <a:pt x="140" y="224"/>
                      <a:pt x="140" y="224"/>
                    </a:cubicBezTo>
                    <a:cubicBezTo>
                      <a:pt x="140" y="228"/>
                      <a:pt x="144" y="232"/>
                      <a:pt x="148" y="232"/>
                    </a:cubicBezTo>
                    <a:cubicBezTo>
                      <a:pt x="153" y="232"/>
                      <a:pt x="156" y="228"/>
                      <a:pt x="156" y="224"/>
                    </a:cubicBezTo>
                    <a:cubicBezTo>
                      <a:pt x="156" y="181"/>
                      <a:pt x="156" y="181"/>
                      <a:pt x="156" y="181"/>
                    </a:cubicBezTo>
                    <a:cubicBezTo>
                      <a:pt x="156" y="176"/>
                      <a:pt x="153" y="173"/>
                      <a:pt x="148" y="173"/>
                    </a:cubicBezTo>
                    <a:cubicBezTo>
                      <a:pt x="144" y="173"/>
                      <a:pt x="140" y="176"/>
                      <a:pt x="140" y="181"/>
                    </a:cubicBezTo>
                    <a:close/>
                    <a:moveTo>
                      <a:pt x="182" y="173"/>
                    </a:moveTo>
                    <a:cubicBezTo>
                      <a:pt x="178" y="173"/>
                      <a:pt x="174" y="176"/>
                      <a:pt x="174" y="181"/>
                    </a:cubicBezTo>
                    <a:cubicBezTo>
                      <a:pt x="174" y="223"/>
                      <a:pt x="174" y="223"/>
                      <a:pt x="174" y="223"/>
                    </a:cubicBezTo>
                    <a:cubicBezTo>
                      <a:pt x="174" y="227"/>
                      <a:pt x="178" y="231"/>
                      <a:pt x="182" y="231"/>
                    </a:cubicBezTo>
                    <a:cubicBezTo>
                      <a:pt x="212" y="231"/>
                      <a:pt x="212" y="231"/>
                      <a:pt x="212" y="231"/>
                    </a:cubicBezTo>
                    <a:cubicBezTo>
                      <a:pt x="217" y="231"/>
                      <a:pt x="220" y="227"/>
                      <a:pt x="220" y="223"/>
                    </a:cubicBezTo>
                    <a:cubicBezTo>
                      <a:pt x="220" y="181"/>
                      <a:pt x="220" y="181"/>
                      <a:pt x="220" y="181"/>
                    </a:cubicBezTo>
                    <a:cubicBezTo>
                      <a:pt x="220" y="176"/>
                      <a:pt x="217" y="173"/>
                      <a:pt x="212" y="173"/>
                    </a:cubicBezTo>
                    <a:lnTo>
                      <a:pt x="182" y="173"/>
                    </a:lnTo>
                    <a:close/>
                    <a:moveTo>
                      <a:pt x="247" y="173"/>
                    </a:moveTo>
                    <a:cubicBezTo>
                      <a:pt x="242" y="173"/>
                      <a:pt x="239" y="176"/>
                      <a:pt x="239" y="181"/>
                    </a:cubicBezTo>
                    <a:cubicBezTo>
                      <a:pt x="239" y="223"/>
                      <a:pt x="239" y="223"/>
                      <a:pt x="239" y="223"/>
                    </a:cubicBezTo>
                    <a:cubicBezTo>
                      <a:pt x="239" y="227"/>
                      <a:pt x="242" y="231"/>
                      <a:pt x="247" y="231"/>
                    </a:cubicBezTo>
                    <a:cubicBezTo>
                      <a:pt x="277" y="231"/>
                      <a:pt x="277" y="231"/>
                      <a:pt x="277" y="231"/>
                    </a:cubicBezTo>
                    <a:cubicBezTo>
                      <a:pt x="281" y="231"/>
                      <a:pt x="285" y="227"/>
                      <a:pt x="285" y="223"/>
                    </a:cubicBezTo>
                    <a:cubicBezTo>
                      <a:pt x="285" y="181"/>
                      <a:pt x="285" y="181"/>
                      <a:pt x="285" y="181"/>
                    </a:cubicBezTo>
                    <a:cubicBezTo>
                      <a:pt x="285" y="176"/>
                      <a:pt x="281" y="173"/>
                      <a:pt x="277" y="173"/>
                    </a:cubicBezTo>
                    <a:lnTo>
                      <a:pt x="247" y="173"/>
                    </a:lnTo>
                    <a:close/>
                    <a:moveTo>
                      <a:pt x="314" y="173"/>
                    </a:moveTo>
                    <a:cubicBezTo>
                      <a:pt x="318" y="173"/>
                      <a:pt x="322" y="169"/>
                      <a:pt x="322" y="165"/>
                    </a:cubicBezTo>
                    <a:cubicBezTo>
                      <a:pt x="322" y="150"/>
                      <a:pt x="322" y="150"/>
                      <a:pt x="322" y="150"/>
                    </a:cubicBezTo>
                    <a:cubicBezTo>
                      <a:pt x="322" y="142"/>
                      <a:pt x="315" y="135"/>
                      <a:pt x="307" y="135"/>
                    </a:cubicBezTo>
                    <a:cubicBezTo>
                      <a:pt x="15" y="135"/>
                      <a:pt x="15" y="135"/>
                      <a:pt x="15" y="135"/>
                    </a:cubicBezTo>
                    <a:cubicBezTo>
                      <a:pt x="7" y="135"/>
                      <a:pt x="0" y="142"/>
                      <a:pt x="0" y="150"/>
                    </a:cubicBezTo>
                    <a:cubicBezTo>
                      <a:pt x="0" y="252"/>
                      <a:pt x="0" y="252"/>
                      <a:pt x="0" y="252"/>
                    </a:cubicBezTo>
                    <a:cubicBezTo>
                      <a:pt x="0" y="261"/>
                      <a:pt x="7" y="267"/>
                      <a:pt x="15" y="267"/>
                    </a:cubicBezTo>
                    <a:cubicBezTo>
                      <a:pt x="307" y="267"/>
                      <a:pt x="307" y="267"/>
                      <a:pt x="307" y="267"/>
                    </a:cubicBezTo>
                    <a:cubicBezTo>
                      <a:pt x="315" y="267"/>
                      <a:pt x="322" y="261"/>
                      <a:pt x="322" y="252"/>
                    </a:cubicBezTo>
                    <a:cubicBezTo>
                      <a:pt x="322" y="196"/>
                      <a:pt x="322" y="196"/>
                      <a:pt x="322" y="196"/>
                    </a:cubicBezTo>
                    <a:cubicBezTo>
                      <a:pt x="322" y="192"/>
                      <a:pt x="318" y="188"/>
                      <a:pt x="314" y="188"/>
                    </a:cubicBezTo>
                    <a:cubicBezTo>
                      <a:pt x="310" y="188"/>
                      <a:pt x="306" y="192"/>
                      <a:pt x="306" y="196"/>
                    </a:cubicBezTo>
                    <a:cubicBezTo>
                      <a:pt x="306" y="251"/>
                      <a:pt x="306" y="251"/>
                      <a:pt x="306" y="251"/>
                    </a:cubicBezTo>
                    <a:cubicBezTo>
                      <a:pt x="16" y="251"/>
                      <a:pt x="16" y="251"/>
                      <a:pt x="16" y="251"/>
                    </a:cubicBezTo>
                    <a:cubicBezTo>
                      <a:pt x="16" y="151"/>
                      <a:pt x="16" y="151"/>
                      <a:pt x="16" y="151"/>
                    </a:cubicBezTo>
                    <a:cubicBezTo>
                      <a:pt x="306" y="151"/>
                      <a:pt x="306" y="151"/>
                      <a:pt x="306" y="151"/>
                    </a:cubicBezTo>
                    <a:cubicBezTo>
                      <a:pt x="306" y="165"/>
                      <a:pt x="306" y="165"/>
                      <a:pt x="306" y="165"/>
                    </a:cubicBezTo>
                    <a:cubicBezTo>
                      <a:pt x="306" y="169"/>
                      <a:pt x="310" y="173"/>
                      <a:pt x="314" y="173"/>
                    </a:cubicBezTo>
                    <a:close/>
                    <a:moveTo>
                      <a:pt x="37" y="181"/>
                    </a:moveTo>
                    <a:cubicBezTo>
                      <a:pt x="37" y="224"/>
                      <a:pt x="37" y="224"/>
                      <a:pt x="37" y="224"/>
                    </a:cubicBezTo>
                    <a:cubicBezTo>
                      <a:pt x="37" y="228"/>
                      <a:pt x="41" y="232"/>
                      <a:pt x="45" y="232"/>
                    </a:cubicBezTo>
                    <a:cubicBezTo>
                      <a:pt x="50" y="232"/>
                      <a:pt x="53" y="228"/>
                      <a:pt x="53" y="224"/>
                    </a:cubicBezTo>
                    <a:cubicBezTo>
                      <a:pt x="53" y="181"/>
                      <a:pt x="53" y="181"/>
                      <a:pt x="53" y="181"/>
                    </a:cubicBezTo>
                    <a:cubicBezTo>
                      <a:pt x="53" y="176"/>
                      <a:pt x="50" y="173"/>
                      <a:pt x="45" y="173"/>
                    </a:cubicBezTo>
                    <a:cubicBezTo>
                      <a:pt x="41" y="173"/>
                      <a:pt x="37" y="176"/>
                      <a:pt x="37" y="181"/>
                    </a:cubicBezTo>
                    <a:close/>
                    <a:moveTo>
                      <a:pt x="106" y="181"/>
                    </a:moveTo>
                    <a:cubicBezTo>
                      <a:pt x="106" y="224"/>
                      <a:pt x="106" y="224"/>
                      <a:pt x="106" y="224"/>
                    </a:cubicBezTo>
                    <a:cubicBezTo>
                      <a:pt x="106" y="228"/>
                      <a:pt x="109" y="232"/>
                      <a:pt x="114" y="232"/>
                    </a:cubicBezTo>
                    <a:cubicBezTo>
                      <a:pt x="118" y="232"/>
                      <a:pt x="122" y="228"/>
                      <a:pt x="122" y="224"/>
                    </a:cubicBezTo>
                    <a:cubicBezTo>
                      <a:pt x="122" y="181"/>
                      <a:pt x="122" y="181"/>
                      <a:pt x="122" y="181"/>
                    </a:cubicBezTo>
                    <a:cubicBezTo>
                      <a:pt x="122" y="176"/>
                      <a:pt x="118" y="173"/>
                      <a:pt x="114" y="173"/>
                    </a:cubicBezTo>
                    <a:cubicBezTo>
                      <a:pt x="109" y="173"/>
                      <a:pt x="106" y="176"/>
                      <a:pt x="106" y="181"/>
                    </a:cubicBezTo>
                    <a:close/>
                    <a:moveTo>
                      <a:pt x="71" y="181"/>
                    </a:moveTo>
                    <a:cubicBezTo>
                      <a:pt x="71" y="224"/>
                      <a:pt x="71" y="224"/>
                      <a:pt x="71" y="224"/>
                    </a:cubicBezTo>
                    <a:cubicBezTo>
                      <a:pt x="71" y="228"/>
                      <a:pt x="75" y="232"/>
                      <a:pt x="79" y="232"/>
                    </a:cubicBezTo>
                    <a:cubicBezTo>
                      <a:pt x="84" y="232"/>
                      <a:pt x="87" y="228"/>
                      <a:pt x="87" y="224"/>
                    </a:cubicBezTo>
                    <a:cubicBezTo>
                      <a:pt x="87" y="181"/>
                      <a:pt x="87" y="181"/>
                      <a:pt x="87" y="181"/>
                    </a:cubicBezTo>
                    <a:cubicBezTo>
                      <a:pt x="87" y="176"/>
                      <a:pt x="84" y="173"/>
                      <a:pt x="79" y="173"/>
                    </a:cubicBezTo>
                    <a:cubicBezTo>
                      <a:pt x="75" y="173"/>
                      <a:pt x="71" y="176"/>
                      <a:pt x="71" y="181"/>
                    </a:cubicBezTo>
                    <a:close/>
                    <a:moveTo>
                      <a:pt x="76" y="51"/>
                    </a:moveTo>
                    <a:cubicBezTo>
                      <a:pt x="76" y="51"/>
                      <a:pt x="76" y="51"/>
                      <a:pt x="76" y="51"/>
                    </a:cubicBezTo>
                    <a:cubicBezTo>
                      <a:pt x="100" y="28"/>
                      <a:pt x="130" y="16"/>
                      <a:pt x="161" y="16"/>
                    </a:cubicBezTo>
                    <a:cubicBezTo>
                      <a:pt x="192" y="16"/>
                      <a:pt x="223" y="28"/>
                      <a:pt x="246" y="51"/>
                    </a:cubicBezTo>
                    <a:cubicBezTo>
                      <a:pt x="250" y="55"/>
                      <a:pt x="255" y="55"/>
                      <a:pt x="258" y="51"/>
                    </a:cubicBezTo>
                    <a:cubicBezTo>
                      <a:pt x="259" y="50"/>
                      <a:pt x="260" y="48"/>
                      <a:pt x="260" y="46"/>
                    </a:cubicBezTo>
                    <a:cubicBezTo>
                      <a:pt x="260" y="44"/>
                      <a:pt x="259" y="42"/>
                      <a:pt x="258" y="40"/>
                    </a:cubicBezTo>
                    <a:cubicBezTo>
                      <a:pt x="231" y="13"/>
                      <a:pt x="196" y="0"/>
                      <a:pt x="161" y="0"/>
                    </a:cubicBezTo>
                    <a:cubicBezTo>
                      <a:pt x="126" y="0"/>
                      <a:pt x="91" y="13"/>
                      <a:pt x="65" y="40"/>
                    </a:cubicBezTo>
                    <a:cubicBezTo>
                      <a:pt x="62" y="43"/>
                      <a:pt x="62" y="48"/>
                      <a:pt x="65" y="51"/>
                    </a:cubicBezTo>
                    <a:cubicBezTo>
                      <a:pt x="68" y="55"/>
                      <a:pt x="73" y="55"/>
                      <a:pt x="76" y="51"/>
                    </a:cubicBezTo>
                    <a:close/>
                    <a:moveTo>
                      <a:pt x="119" y="95"/>
                    </a:moveTo>
                    <a:cubicBezTo>
                      <a:pt x="116" y="98"/>
                      <a:pt x="116" y="103"/>
                      <a:pt x="119" y="106"/>
                    </a:cubicBezTo>
                    <a:cubicBezTo>
                      <a:pt x="122" y="109"/>
                      <a:pt x="127" y="109"/>
                      <a:pt x="130" y="106"/>
                    </a:cubicBezTo>
                    <a:cubicBezTo>
                      <a:pt x="139" y="97"/>
                      <a:pt x="150" y="93"/>
                      <a:pt x="161" y="93"/>
                    </a:cubicBezTo>
                    <a:cubicBezTo>
                      <a:pt x="172" y="93"/>
                      <a:pt x="183" y="97"/>
                      <a:pt x="192" y="106"/>
                    </a:cubicBezTo>
                    <a:cubicBezTo>
                      <a:pt x="195" y="109"/>
                      <a:pt x="200" y="109"/>
                      <a:pt x="203" y="106"/>
                    </a:cubicBezTo>
                    <a:cubicBezTo>
                      <a:pt x="205" y="104"/>
                      <a:pt x="206" y="102"/>
                      <a:pt x="206" y="100"/>
                    </a:cubicBezTo>
                    <a:cubicBezTo>
                      <a:pt x="206" y="98"/>
                      <a:pt x="205" y="96"/>
                      <a:pt x="203" y="95"/>
                    </a:cubicBezTo>
                    <a:cubicBezTo>
                      <a:pt x="192" y="83"/>
                      <a:pt x="176" y="77"/>
                      <a:pt x="161" y="77"/>
                    </a:cubicBezTo>
                    <a:cubicBezTo>
                      <a:pt x="146" y="77"/>
                      <a:pt x="131" y="83"/>
                      <a:pt x="119" y="95"/>
                    </a:cubicBezTo>
                    <a:close/>
                    <a:moveTo>
                      <a:pt x="231" y="79"/>
                    </a:moveTo>
                    <a:cubicBezTo>
                      <a:pt x="232" y="77"/>
                      <a:pt x="233" y="75"/>
                      <a:pt x="233" y="73"/>
                    </a:cubicBezTo>
                    <a:cubicBezTo>
                      <a:pt x="233" y="71"/>
                      <a:pt x="232" y="69"/>
                      <a:pt x="231" y="67"/>
                    </a:cubicBezTo>
                    <a:cubicBezTo>
                      <a:pt x="211" y="48"/>
                      <a:pt x="186" y="39"/>
                      <a:pt x="161" y="39"/>
                    </a:cubicBezTo>
                    <a:cubicBezTo>
                      <a:pt x="136" y="39"/>
                      <a:pt x="111" y="48"/>
                      <a:pt x="92" y="67"/>
                    </a:cubicBezTo>
                    <a:cubicBezTo>
                      <a:pt x="89" y="71"/>
                      <a:pt x="89" y="76"/>
                      <a:pt x="92" y="79"/>
                    </a:cubicBezTo>
                    <a:cubicBezTo>
                      <a:pt x="95" y="82"/>
                      <a:pt x="100" y="82"/>
                      <a:pt x="103" y="79"/>
                    </a:cubicBezTo>
                    <a:cubicBezTo>
                      <a:pt x="119" y="63"/>
                      <a:pt x="140" y="55"/>
                      <a:pt x="161" y="55"/>
                    </a:cubicBezTo>
                    <a:cubicBezTo>
                      <a:pt x="182" y="55"/>
                      <a:pt x="203" y="63"/>
                      <a:pt x="219" y="79"/>
                    </a:cubicBezTo>
                    <a:cubicBezTo>
                      <a:pt x="222" y="82"/>
                      <a:pt x="227" y="82"/>
                      <a:pt x="231"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28" name="Freeform 6"/>
              <p:cNvSpPr>
                <a:spLocks noEditPoints="1"/>
              </p:cNvSpPr>
              <p:nvPr/>
            </p:nvSpPr>
            <p:spPr bwMode="auto">
              <a:xfrm>
                <a:off x="5164870" y="2280563"/>
                <a:ext cx="155999" cy="152844"/>
              </a:xfrm>
              <a:custGeom>
                <a:avLst/>
                <a:gdLst>
                  <a:gd name="T0" fmla="*/ 2147483647 w 394"/>
                  <a:gd name="T1" fmla="*/ 2147483647 h 395"/>
                  <a:gd name="T2" fmla="*/ 2147483647 w 394"/>
                  <a:gd name="T3" fmla="*/ 2147483647 h 395"/>
                  <a:gd name="T4" fmla="*/ 2147483647 w 394"/>
                  <a:gd name="T5" fmla="*/ 2147483647 h 395"/>
                  <a:gd name="T6" fmla="*/ 2147483647 w 394"/>
                  <a:gd name="T7" fmla="*/ 2147483647 h 395"/>
                  <a:gd name="T8" fmla="*/ 2147483647 w 394"/>
                  <a:gd name="T9" fmla="*/ 0 h 395"/>
                  <a:gd name="T10" fmla="*/ 2147483647 w 394"/>
                  <a:gd name="T11" fmla="*/ 2147483647 h 395"/>
                  <a:gd name="T12" fmla="*/ 2147483647 w 394"/>
                  <a:gd name="T13" fmla="*/ 2147483647 h 395"/>
                  <a:gd name="T14" fmla="*/ 2147483647 w 394"/>
                  <a:gd name="T15" fmla="*/ 2147483647 h 395"/>
                  <a:gd name="T16" fmla="*/ 2147483647 w 394"/>
                  <a:gd name="T17" fmla="*/ 2147483647 h 395"/>
                  <a:gd name="T18" fmla="*/ 2147483647 w 394"/>
                  <a:gd name="T19" fmla="*/ 2147483647 h 395"/>
                  <a:gd name="T20" fmla="*/ 2147483647 w 394"/>
                  <a:gd name="T21" fmla="*/ 2147483647 h 395"/>
                  <a:gd name="T22" fmla="*/ 2147483647 w 394"/>
                  <a:gd name="T23" fmla="*/ 2147483647 h 395"/>
                  <a:gd name="T24" fmla="*/ 2147483647 w 394"/>
                  <a:gd name="T25" fmla="*/ 2147483647 h 395"/>
                  <a:gd name="T26" fmla="*/ 2147483647 w 394"/>
                  <a:gd name="T27" fmla="*/ 2147483647 h 395"/>
                  <a:gd name="T28" fmla="*/ 2147483647 w 394"/>
                  <a:gd name="T29" fmla="*/ 2147483647 h 395"/>
                  <a:gd name="T30" fmla="*/ 2147483647 w 394"/>
                  <a:gd name="T31" fmla="*/ 2147483647 h 395"/>
                  <a:gd name="T32" fmla="*/ 2147483647 w 394"/>
                  <a:gd name="T33" fmla="*/ 2147483647 h 395"/>
                  <a:gd name="T34" fmla="*/ 2147483647 w 394"/>
                  <a:gd name="T35" fmla="*/ 2147483647 h 395"/>
                  <a:gd name="T36" fmla="*/ 2147483647 w 394"/>
                  <a:gd name="T37" fmla="*/ 2147483647 h 395"/>
                  <a:gd name="T38" fmla="*/ 2147483647 w 394"/>
                  <a:gd name="T39" fmla="*/ 2147483647 h 395"/>
                  <a:gd name="T40" fmla="*/ 2147483647 w 394"/>
                  <a:gd name="T41" fmla="*/ 2147483647 h 395"/>
                  <a:gd name="T42" fmla="*/ 2147483647 w 394"/>
                  <a:gd name="T43" fmla="*/ 2147483647 h 395"/>
                  <a:gd name="T44" fmla="*/ 2147483647 w 394"/>
                  <a:gd name="T45" fmla="*/ 2147483647 h 395"/>
                  <a:gd name="T46" fmla="*/ 2147483647 w 394"/>
                  <a:gd name="T47" fmla="*/ 2147483647 h 395"/>
                  <a:gd name="T48" fmla="*/ 2147483647 w 394"/>
                  <a:gd name="T49" fmla="*/ 2147483647 h 395"/>
                  <a:gd name="T50" fmla="*/ 2147483647 w 394"/>
                  <a:gd name="T51" fmla="*/ 2147483647 h 395"/>
                  <a:gd name="T52" fmla="*/ 2147483647 w 394"/>
                  <a:gd name="T53" fmla="*/ 2147483647 h 395"/>
                  <a:gd name="T54" fmla="*/ 2147483647 w 394"/>
                  <a:gd name="T55" fmla="*/ 2147483647 h 395"/>
                  <a:gd name="T56" fmla="*/ 2147483647 w 394"/>
                  <a:gd name="T57" fmla="*/ 2147483647 h 395"/>
                  <a:gd name="T58" fmla="*/ 2147483647 w 394"/>
                  <a:gd name="T59" fmla="*/ 2147483647 h 395"/>
                  <a:gd name="T60" fmla="*/ 2147483647 w 394"/>
                  <a:gd name="T61" fmla="*/ 2147483647 h 395"/>
                  <a:gd name="T62" fmla="*/ 2147483647 w 394"/>
                  <a:gd name="T63" fmla="*/ 2147483647 h 395"/>
                  <a:gd name="T64" fmla="*/ 2147483647 w 394"/>
                  <a:gd name="T65" fmla="*/ 2147483647 h 395"/>
                  <a:gd name="T66" fmla="*/ 2147483647 w 394"/>
                  <a:gd name="T67" fmla="*/ 2147483647 h 395"/>
                  <a:gd name="T68" fmla="*/ 2147483647 w 394"/>
                  <a:gd name="T69" fmla="*/ 2147483647 h 395"/>
                  <a:gd name="T70" fmla="*/ 2147483647 w 394"/>
                  <a:gd name="T71" fmla="*/ 2147483647 h 395"/>
                  <a:gd name="T72" fmla="*/ 2147483647 w 394"/>
                  <a:gd name="T73" fmla="*/ 2147483647 h 395"/>
                  <a:gd name="T74" fmla="*/ 2147483647 w 394"/>
                  <a:gd name="T75" fmla="*/ 2147483647 h 395"/>
                  <a:gd name="T76" fmla="*/ 2147483647 w 394"/>
                  <a:gd name="T77" fmla="*/ 2147483647 h 395"/>
                  <a:gd name="T78" fmla="*/ 2147483647 w 394"/>
                  <a:gd name="T79" fmla="*/ 2147483647 h 395"/>
                  <a:gd name="T80" fmla="*/ 2147483647 w 394"/>
                  <a:gd name="T81" fmla="*/ 2147483647 h 395"/>
                  <a:gd name="T82" fmla="*/ 2147483647 w 394"/>
                  <a:gd name="T83" fmla="*/ 2147483647 h 395"/>
                  <a:gd name="T84" fmla="*/ 2147483647 w 394"/>
                  <a:gd name="T85" fmla="*/ 2147483647 h 395"/>
                  <a:gd name="T86" fmla="*/ 2147483647 w 394"/>
                  <a:gd name="T87" fmla="*/ 2147483647 h 395"/>
                  <a:gd name="T88" fmla="*/ 2147483647 w 394"/>
                  <a:gd name="T89" fmla="*/ 2147483647 h 395"/>
                  <a:gd name="T90" fmla="*/ 2147483647 w 394"/>
                  <a:gd name="T91" fmla="*/ 2147483647 h 395"/>
                  <a:gd name="T92" fmla="*/ 2147483647 w 394"/>
                  <a:gd name="T93" fmla="*/ 2147483647 h 395"/>
                  <a:gd name="T94" fmla="*/ 2147483647 w 394"/>
                  <a:gd name="T95" fmla="*/ 2147483647 h 395"/>
                  <a:gd name="T96" fmla="*/ 2147483647 w 394"/>
                  <a:gd name="T97" fmla="*/ 2147483647 h 395"/>
                  <a:gd name="T98" fmla="*/ 2147483647 w 394"/>
                  <a:gd name="T99" fmla="*/ 2147483647 h 395"/>
                  <a:gd name="T100" fmla="*/ 2147483647 w 394"/>
                  <a:gd name="T101" fmla="*/ 2147483647 h 395"/>
                  <a:gd name="T102" fmla="*/ 2147483647 w 394"/>
                  <a:gd name="T103" fmla="*/ 2147483647 h 395"/>
                  <a:gd name="T104" fmla="*/ 2147483647 w 394"/>
                  <a:gd name="T105" fmla="*/ 2147483647 h 395"/>
                  <a:gd name="T106" fmla="*/ 2147483647 w 394"/>
                  <a:gd name="T107" fmla="*/ 2147483647 h 395"/>
                  <a:gd name="T108" fmla="*/ 2147483647 w 394"/>
                  <a:gd name="T109" fmla="*/ 2147483647 h 395"/>
                  <a:gd name="T110" fmla="*/ 2147483647 w 394"/>
                  <a:gd name="T111" fmla="*/ 2147483647 h 395"/>
                  <a:gd name="T112" fmla="*/ 2147483647 w 394"/>
                  <a:gd name="T113" fmla="*/ 2147483647 h 395"/>
                  <a:gd name="T114" fmla="*/ 2147483647 w 394"/>
                  <a:gd name="T115" fmla="*/ 2147483647 h 395"/>
                  <a:gd name="T116" fmla="*/ 2147483647 w 394"/>
                  <a:gd name="T117" fmla="*/ 2147483647 h 39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94" h="395">
                    <a:moveTo>
                      <a:pt x="348" y="70"/>
                    </a:moveTo>
                    <a:cubicBezTo>
                      <a:pt x="345" y="67"/>
                      <a:pt x="340" y="66"/>
                      <a:pt x="337" y="69"/>
                    </a:cubicBezTo>
                    <a:cubicBezTo>
                      <a:pt x="333" y="72"/>
                      <a:pt x="333" y="77"/>
                      <a:pt x="336" y="81"/>
                    </a:cubicBezTo>
                    <a:cubicBezTo>
                      <a:pt x="362" y="112"/>
                      <a:pt x="378" y="153"/>
                      <a:pt x="378" y="198"/>
                    </a:cubicBezTo>
                    <a:cubicBezTo>
                      <a:pt x="378" y="248"/>
                      <a:pt x="358" y="293"/>
                      <a:pt x="325" y="326"/>
                    </a:cubicBezTo>
                    <a:cubicBezTo>
                      <a:pt x="292" y="359"/>
                      <a:pt x="247" y="379"/>
                      <a:pt x="197" y="379"/>
                    </a:cubicBezTo>
                    <a:cubicBezTo>
                      <a:pt x="147" y="379"/>
                      <a:pt x="102" y="359"/>
                      <a:pt x="69" y="326"/>
                    </a:cubicBezTo>
                    <a:cubicBezTo>
                      <a:pt x="36" y="293"/>
                      <a:pt x="16" y="248"/>
                      <a:pt x="16" y="198"/>
                    </a:cubicBezTo>
                    <a:cubicBezTo>
                      <a:pt x="16" y="147"/>
                      <a:pt x="36" y="102"/>
                      <a:pt x="69" y="69"/>
                    </a:cubicBezTo>
                    <a:cubicBezTo>
                      <a:pt x="102" y="37"/>
                      <a:pt x="147" y="16"/>
                      <a:pt x="197" y="16"/>
                    </a:cubicBezTo>
                    <a:cubicBezTo>
                      <a:pt x="242" y="16"/>
                      <a:pt x="282" y="32"/>
                      <a:pt x="314" y="59"/>
                    </a:cubicBezTo>
                    <a:cubicBezTo>
                      <a:pt x="317" y="62"/>
                      <a:pt x="322" y="61"/>
                      <a:pt x="325" y="58"/>
                    </a:cubicBezTo>
                    <a:cubicBezTo>
                      <a:pt x="328" y="55"/>
                      <a:pt x="328" y="50"/>
                      <a:pt x="324" y="47"/>
                    </a:cubicBezTo>
                    <a:cubicBezTo>
                      <a:pt x="324" y="47"/>
                      <a:pt x="324" y="47"/>
                      <a:pt x="324" y="47"/>
                    </a:cubicBezTo>
                    <a:cubicBezTo>
                      <a:pt x="290" y="18"/>
                      <a:pt x="245" y="0"/>
                      <a:pt x="197" y="0"/>
                    </a:cubicBezTo>
                    <a:cubicBezTo>
                      <a:pt x="88" y="0"/>
                      <a:pt x="0" y="89"/>
                      <a:pt x="0" y="198"/>
                    </a:cubicBezTo>
                    <a:cubicBezTo>
                      <a:pt x="0" y="307"/>
                      <a:pt x="88" y="395"/>
                      <a:pt x="197" y="395"/>
                    </a:cubicBezTo>
                    <a:cubicBezTo>
                      <a:pt x="306" y="395"/>
                      <a:pt x="394" y="307"/>
                      <a:pt x="394" y="198"/>
                    </a:cubicBezTo>
                    <a:cubicBezTo>
                      <a:pt x="394" y="149"/>
                      <a:pt x="377" y="105"/>
                      <a:pt x="348" y="70"/>
                    </a:cubicBezTo>
                    <a:close/>
                    <a:moveTo>
                      <a:pt x="327" y="103"/>
                    </a:moveTo>
                    <a:cubicBezTo>
                      <a:pt x="327" y="99"/>
                      <a:pt x="323" y="95"/>
                      <a:pt x="319" y="95"/>
                    </a:cubicBezTo>
                    <a:cubicBezTo>
                      <a:pt x="74" y="95"/>
                      <a:pt x="74" y="95"/>
                      <a:pt x="74" y="95"/>
                    </a:cubicBezTo>
                    <a:cubicBezTo>
                      <a:pt x="70" y="95"/>
                      <a:pt x="66" y="99"/>
                      <a:pt x="66" y="103"/>
                    </a:cubicBezTo>
                    <a:cubicBezTo>
                      <a:pt x="66" y="107"/>
                      <a:pt x="70" y="111"/>
                      <a:pt x="74" y="111"/>
                    </a:cubicBezTo>
                    <a:cubicBezTo>
                      <a:pt x="319" y="111"/>
                      <a:pt x="319" y="111"/>
                      <a:pt x="319" y="111"/>
                    </a:cubicBezTo>
                    <a:cubicBezTo>
                      <a:pt x="323" y="111"/>
                      <a:pt x="327" y="107"/>
                      <a:pt x="327" y="103"/>
                    </a:cubicBezTo>
                    <a:close/>
                    <a:moveTo>
                      <a:pt x="245" y="149"/>
                    </a:moveTo>
                    <a:cubicBezTo>
                      <a:pt x="239" y="149"/>
                      <a:pt x="234" y="154"/>
                      <a:pt x="234" y="159"/>
                    </a:cubicBezTo>
                    <a:cubicBezTo>
                      <a:pt x="234" y="236"/>
                      <a:pt x="234" y="236"/>
                      <a:pt x="234" y="236"/>
                    </a:cubicBezTo>
                    <a:cubicBezTo>
                      <a:pt x="234" y="242"/>
                      <a:pt x="239" y="246"/>
                      <a:pt x="245" y="246"/>
                    </a:cubicBezTo>
                    <a:cubicBezTo>
                      <a:pt x="282" y="246"/>
                      <a:pt x="282" y="246"/>
                      <a:pt x="282" y="246"/>
                    </a:cubicBezTo>
                    <a:cubicBezTo>
                      <a:pt x="288" y="246"/>
                      <a:pt x="292" y="242"/>
                      <a:pt x="292" y="236"/>
                    </a:cubicBezTo>
                    <a:cubicBezTo>
                      <a:pt x="292" y="159"/>
                      <a:pt x="292" y="159"/>
                      <a:pt x="292" y="159"/>
                    </a:cubicBezTo>
                    <a:cubicBezTo>
                      <a:pt x="292" y="154"/>
                      <a:pt x="288" y="149"/>
                      <a:pt x="282" y="149"/>
                    </a:cubicBezTo>
                    <a:lnTo>
                      <a:pt x="245" y="149"/>
                    </a:lnTo>
                    <a:close/>
                    <a:moveTo>
                      <a:pt x="284" y="210"/>
                    </a:moveTo>
                    <a:cubicBezTo>
                      <a:pt x="284" y="219"/>
                      <a:pt x="277" y="224"/>
                      <a:pt x="269" y="226"/>
                    </a:cubicBezTo>
                    <a:cubicBezTo>
                      <a:pt x="268" y="226"/>
                      <a:pt x="267" y="226"/>
                      <a:pt x="267" y="226"/>
                    </a:cubicBezTo>
                    <a:cubicBezTo>
                      <a:pt x="266" y="226"/>
                      <a:pt x="264" y="225"/>
                      <a:pt x="264" y="223"/>
                    </a:cubicBezTo>
                    <a:cubicBezTo>
                      <a:pt x="264" y="222"/>
                      <a:pt x="265" y="221"/>
                      <a:pt x="267" y="221"/>
                    </a:cubicBezTo>
                    <a:cubicBezTo>
                      <a:pt x="273" y="220"/>
                      <a:pt x="278" y="216"/>
                      <a:pt x="278" y="210"/>
                    </a:cubicBezTo>
                    <a:cubicBezTo>
                      <a:pt x="278" y="204"/>
                      <a:pt x="273" y="199"/>
                      <a:pt x="262" y="199"/>
                    </a:cubicBezTo>
                    <a:cubicBezTo>
                      <a:pt x="253" y="199"/>
                      <a:pt x="248" y="204"/>
                      <a:pt x="248" y="210"/>
                    </a:cubicBezTo>
                    <a:cubicBezTo>
                      <a:pt x="248" y="217"/>
                      <a:pt x="253" y="220"/>
                      <a:pt x="260" y="221"/>
                    </a:cubicBezTo>
                    <a:cubicBezTo>
                      <a:pt x="261" y="221"/>
                      <a:pt x="262" y="222"/>
                      <a:pt x="262" y="223"/>
                    </a:cubicBezTo>
                    <a:cubicBezTo>
                      <a:pt x="262" y="225"/>
                      <a:pt x="261" y="226"/>
                      <a:pt x="259" y="226"/>
                    </a:cubicBezTo>
                    <a:cubicBezTo>
                      <a:pt x="259" y="226"/>
                      <a:pt x="258" y="226"/>
                      <a:pt x="258" y="226"/>
                    </a:cubicBezTo>
                    <a:cubicBezTo>
                      <a:pt x="249" y="224"/>
                      <a:pt x="242" y="219"/>
                      <a:pt x="242" y="210"/>
                    </a:cubicBezTo>
                    <a:cubicBezTo>
                      <a:pt x="242" y="203"/>
                      <a:pt x="247" y="198"/>
                      <a:pt x="253" y="196"/>
                    </a:cubicBezTo>
                    <a:cubicBezTo>
                      <a:pt x="253" y="196"/>
                      <a:pt x="253" y="196"/>
                      <a:pt x="253" y="196"/>
                    </a:cubicBezTo>
                    <a:cubicBezTo>
                      <a:pt x="247" y="195"/>
                      <a:pt x="244" y="191"/>
                      <a:pt x="244" y="184"/>
                    </a:cubicBezTo>
                    <a:cubicBezTo>
                      <a:pt x="244" y="176"/>
                      <a:pt x="248" y="171"/>
                      <a:pt x="258" y="169"/>
                    </a:cubicBezTo>
                    <a:cubicBezTo>
                      <a:pt x="258" y="169"/>
                      <a:pt x="259" y="169"/>
                      <a:pt x="259" y="169"/>
                    </a:cubicBezTo>
                    <a:cubicBezTo>
                      <a:pt x="261" y="169"/>
                      <a:pt x="262" y="170"/>
                      <a:pt x="262" y="172"/>
                    </a:cubicBezTo>
                    <a:cubicBezTo>
                      <a:pt x="262" y="173"/>
                      <a:pt x="261" y="174"/>
                      <a:pt x="260" y="174"/>
                    </a:cubicBezTo>
                    <a:cubicBezTo>
                      <a:pt x="253" y="175"/>
                      <a:pt x="249" y="178"/>
                      <a:pt x="249" y="184"/>
                    </a:cubicBezTo>
                    <a:cubicBezTo>
                      <a:pt x="249" y="190"/>
                      <a:pt x="254" y="194"/>
                      <a:pt x="264" y="194"/>
                    </a:cubicBezTo>
                    <a:cubicBezTo>
                      <a:pt x="271" y="194"/>
                      <a:pt x="277" y="190"/>
                      <a:pt x="277" y="184"/>
                    </a:cubicBezTo>
                    <a:cubicBezTo>
                      <a:pt x="277" y="178"/>
                      <a:pt x="273" y="175"/>
                      <a:pt x="267" y="174"/>
                    </a:cubicBezTo>
                    <a:cubicBezTo>
                      <a:pt x="265" y="174"/>
                      <a:pt x="264" y="173"/>
                      <a:pt x="264" y="172"/>
                    </a:cubicBezTo>
                    <a:cubicBezTo>
                      <a:pt x="264" y="170"/>
                      <a:pt x="266" y="169"/>
                      <a:pt x="267" y="169"/>
                    </a:cubicBezTo>
                    <a:cubicBezTo>
                      <a:pt x="267" y="169"/>
                      <a:pt x="268" y="169"/>
                      <a:pt x="269" y="169"/>
                    </a:cubicBezTo>
                    <a:cubicBezTo>
                      <a:pt x="278" y="171"/>
                      <a:pt x="282" y="177"/>
                      <a:pt x="282" y="184"/>
                    </a:cubicBezTo>
                    <a:cubicBezTo>
                      <a:pt x="282" y="190"/>
                      <a:pt x="279" y="194"/>
                      <a:pt x="274" y="196"/>
                    </a:cubicBezTo>
                    <a:cubicBezTo>
                      <a:pt x="274" y="196"/>
                      <a:pt x="274" y="196"/>
                      <a:pt x="274" y="196"/>
                    </a:cubicBezTo>
                    <a:cubicBezTo>
                      <a:pt x="279" y="198"/>
                      <a:pt x="283" y="203"/>
                      <a:pt x="284" y="210"/>
                    </a:cubicBezTo>
                    <a:close/>
                    <a:moveTo>
                      <a:pt x="113" y="149"/>
                    </a:moveTo>
                    <a:cubicBezTo>
                      <a:pt x="107" y="149"/>
                      <a:pt x="102" y="154"/>
                      <a:pt x="102" y="159"/>
                    </a:cubicBezTo>
                    <a:cubicBezTo>
                      <a:pt x="102" y="236"/>
                      <a:pt x="102" y="236"/>
                      <a:pt x="102" y="236"/>
                    </a:cubicBezTo>
                    <a:cubicBezTo>
                      <a:pt x="102" y="242"/>
                      <a:pt x="107" y="246"/>
                      <a:pt x="113" y="246"/>
                    </a:cubicBezTo>
                    <a:cubicBezTo>
                      <a:pt x="150" y="246"/>
                      <a:pt x="150" y="246"/>
                      <a:pt x="150" y="246"/>
                    </a:cubicBezTo>
                    <a:cubicBezTo>
                      <a:pt x="156" y="246"/>
                      <a:pt x="161" y="242"/>
                      <a:pt x="161" y="236"/>
                    </a:cubicBezTo>
                    <a:cubicBezTo>
                      <a:pt x="161" y="159"/>
                      <a:pt x="161" y="159"/>
                      <a:pt x="161" y="159"/>
                    </a:cubicBezTo>
                    <a:cubicBezTo>
                      <a:pt x="161" y="154"/>
                      <a:pt x="156" y="149"/>
                      <a:pt x="150" y="149"/>
                    </a:cubicBezTo>
                    <a:lnTo>
                      <a:pt x="113" y="149"/>
                    </a:lnTo>
                    <a:close/>
                    <a:moveTo>
                      <a:pt x="116" y="226"/>
                    </a:moveTo>
                    <a:cubicBezTo>
                      <a:pt x="114" y="226"/>
                      <a:pt x="113" y="225"/>
                      <a:pt x="113" y="223"/>
                    </a:cubicBezTo>
                    <a:cubicBezTo>
                      <a:pt x="113" y="222"/>
                      <a:pt x="114" y="220"/>
                      <a:pt x="116" y="220"/>
                    </a:cubicBezTo>
                    <a:cubicBezTo>
                      <a:pt x="133" y="221"/>
                      <a:pt x="144" y="215"/>
                      <a:pt x="144" y="204"/>
                    </a:cubicBezTo>
                    <a:cubicBezTo>
                      <a:pt x="144" y="198"/>
                      <a:pt x="140" y="194"/>
                      <a:pt x="133" y="194"/>
                    </a:cubicBezTo>
                    <a:cubicBezTo>
                      <a:pt x="126" y="194"/>
                      <a:pt x="122" y="196"/>
                      <a:pt x="120" y="198"/>
                    </a:cubicBezTo>
                    <a:cubicBezTo>
                      <a:pt x="116" y="199"/>
                      <a:pt x="115" y="197"/>
                      <a:pt x="115" y="195"/>
                    </a:cubicBezTo>
                    <a:cubicBezTo>
                      <a:pt x="115" y="174"/>
                      <a:pt x="115" y="174"/>
                      <a:pt x="115" y="174"/>
                    </a:cubicBezTo>
                    <a:cubicBezTo>
                      <a:pt x="115" y="171"/>
                      <a:pt x="117" y="170"/>
                      <a:pt x="120" y="170"/>
                    </a:cubicBezTo>
                    <a:cubicBezTo>
                      <a:pt x="144" y="169"/>
                      <a:pt x="144" y="169"/>
                      <a:pt x="144" y="169"/>
                    </a:cubicBezTo>
                    <a:cubicBezTo>
                      <a:pt x="145" y="169"/>
                      <a:pt x="147" y="171"/>
                      <a:pt x="147" y="172"/>
                    </a:cubicBezTo>
                    <a:cubicBezTo>
                      <a:pt x="147" y="174"/>
                      <a:pt x="145" y="175"/>
                      <a:pt x="144" y="175"/>
                    </a:cubicBezTo>
                    <a:cubicBezTo>
                      <a:pt x="120" y="175"/>
                      <a:pt x="120" y="175"/>
                      <a:pt x="120" y="175"/>
                    </a:cubicBezTo>
                    <a:cubicBezTo>
                      <a:pt x="120" y="192"/>
                      <a:pt x="120" y="192"/>
                      <a:pt x="120" y="192"/>
                    </a:cubicBezTo>
                    <a:cubicBezTo>
                      <a:pt x="123" y="190"/>
                      <a:pt x="127" y="189"/>
                      <a:pt x="133" y="189"/>
                    </a:cubicBezTo>
                    <a:cubicBezTo>
                      <a:pt x="143" y="189"/>
                      <a:pt x="150" y="195"/>
                      <a:pt x="150" y="204"/>
                    </a:cubicBezTo>
                    <a:cubicBezTo>
                      <a:pt x="150" y="218"/>
                      <a:pt x="137" y="227"/>
                      <a:pt x="116" y="226"/>
                    </a:cubicBezTo>
                    <a:close/>
                    <a:moveTo>
                      <a:pt x="74" y="300"/>
                    </a:moveTo>
                    <a:cubicBezTo>
                      <a:pt x="319" y="300"/>
                      <a:pt x="319" y="300"/>
                      <a:pt x="319" y="300"/>
                    </a:cubicBezTo>
                    <a:cubicBezTo>
                      <a:pt x="323" y="300"/>
                      <a:pt x="327" y="297"/>
                      <a:pt x="327" y="292"/>
                    </a:cubicBezTo>
                    <a:cubicBezTo>
                      <a:pt x="327" y="288"/>
                      <a:pt x="323" y="284"/>
                      <a:pt x="319" y="284"/>
                    </a:cubicBezTo>
                    <a:cubicBezTo>
                      <a:pt x="74" y="284"/>
                      <a:pt x="74" y="284"/>
                      <a:pt x="74" y="284"/>
                    </a:cubicBezTo>
                    <a:cubicBezTo>
                      <a:pt x="70" y="284"/>
                      <a:pt x="66" y="288"/>
                      <a:pt x="66" y="292"/>
                    </a:cubicBezTo>
                    <a:cubicBezTo>
                      <a:pt x="66" y="297"/>
                      <a:pt x="70" y="300"/>
                      <a:pt x="74" y="300"/>
                    </a:cubicBezTo>
                    <a:close/>
                    <a:moveTo>
                      <a:pt x="37" y="159"/>
                    </a:moveTo>
                    <a:cubicBezTo>
                      <a:pt x="37" y="236"/>
                      <a:pt x="37" y="236"/>
                      <a:pt x="37" y="236"/>
                    </a:cubicBezTo>
                    <a:cubicBezTo>
                      <a:pt x="37" y="242"/>
                      <a:pt x="41" y="246"/>
                      <a:pt x="47" y="246"/>
                    </a:cubicBezTo>
                    <a:cubicBezTo>
                      <a:pt x="84" y="246"/>
                      <a:pt x="84" y="246"/>
                      <a:pt x="84" y="246"/>
                    </a:cubicBezTo>
                    <a:cubicBezTo>
                      <a:pt x="90" y="246"/>
                      <a:pt x="95" y="242"/>
                      <a:pt x="95" y="236"/>
                    </a:cubicBezTo>
                    <a:cubicBezTo>
                      <a:pt x="95" y="159"/>
                      <a:pt x="95" y="159"/>
                      <a:pt x="95" y="159"/>
                    </a:cubicBezTo>
                    <a:cubicBezTo>
                      <a:pt x="95" y="154"/>
                      <a:pt x="90" y="149"/>
                      <a:pt x="84" y="149"/>
                    </a:cubicBezTo>
                    <a:cubicBezTo>
                      <a:pt x="47" y="149"/>
                      <a:pt x="47" y="149"/>
                      <a:pt x="47" y="149"/>
                    </a:cubicBezTo>
                    <a:cubicBezTo>
                      <a:pt x="41" y="149"/>
                      <a:pt x="37" y="154"/>
                      <a:pt x="37" y="159"/>
                    </a:cubicBezTo>
                    <a:close/>
                    <a:moveTo>
                      <a:pt x="65" y="175"/>
                    </a:moveTo>
                    <a:cubicBezTo>
                      <a:pt x="59" y="175"/>
                      <a:pt x="55" y="177"/>
                      <a:pt x="53" y="181"/>
                    </a:cubicBezTo>
                    <a:cubicBezTo>
                      <a:pt x="53" y="181"/>
                      <a:pt x="52" y="182"/>
                      <a:pt x="51" y="182"/>
                    </a:cubicBezTo>
                    <a:cubicBezTo>
                      <a:pt x="50" y="182"/>
                      <a:pt x="48" y="181"/>
                      <a:pt x="48" y="180"/>
                    </a:cubicBezTo>
                    <a:cubicBezTo>
                      <a:pt x="47" y="179"/>
                      <a:pt x="48" y="178"/>
                      <a:pt x="48" y="178"/>
                    </a:cubicBezTo>
                    <a:cubicBezTo>
                      <a:pt x="51" y="174"/>
                      <a:pt x="56" y="169"/>
                      <a:pt x="65" y="169"/>
                    </a:cubicBezTo>
                    <a:cubicBezTo>
                      <a:pt x="77" y="169"/>
                      <a:pt x="83" y="176"/>
                      <a:pt x="83" y="184"/>
                    </a:cubicBezTo>
                    <a:cubicBezTo>
                      <a:pt x="83" y="193"/>
                      <a:pt x="78" y="197"/>
                      <a:pt x="65" y="206"/>
                    </a:cubicBezTo>
                    <a:cubicBezTo>
                      <a:pt x="57" y="212"/>
                      <a:pt x="53" y="216"/>
                      <a:pt x="53" y="220"/>
                    </a:cubicBezTo>
                    <a:cubicBezTo>
                      <a:pt x="81" y="220"/>
                      <a:pt x="81" y="220"/>
                      <a:pt x="81" y="220"/>
                    </a:cubicBezTo>
                    <a:cubicBezTo>
                      <a:pt x="83" y="220"/>
                      <a:pt x="84" y="222"/>
                      <a:pt x="84" y="223"/>
                    </a:cubicBezTo>
                    <a:cubicBezTo>
                      <a:pt x="84" y="225"/>
                      <a:pt x="83" y="226"/>
                      <a:pt x="81" y="226"/>
                    </a:cubicBezTo>
                    <a:cubicBezTo>
                      <a:pt x="52" y="226"/>
                      <a:pt x="52" y="226"/>
                      <a:pt x="52" y="226"/>
                    </a:cubicBezTo>
                    <a:cubicBezTo>
                      <a:pt x="49" y="226"/>
                      <a:pt x="48" y="224"/>
                      <a:pt x="48" y="222"/>
                    </a:cubicBezTo>
                    <a:cubicBezTo>
                      <a:pt x="48" y="215"/>
                      <a:pt x="51" y="209"/>
                      <a:pt x="60" y="203"/>
                    </a:cubicBezTo>
                    <a:cubicBezTo>
                      <a:pt x="73" y="194"/>
                      <a:pt x="77" y="191"/>
                      <a:pt x="77" y="184"/>
                    </a:cubicBezTo>
                    <a:cubicBezTo>
                      <a:pt x="77" y="180"/>
                      <a:pt x="74" y="175"/>
                      <a:pt x="65" y="175"/>
                    </a:cubicBezTo>
                    <a:close/>
                    <a:moveTo>
                      <a:pt x="179" y="149"/>
                    </a:moveTo>
                    <a:cubicBezTo>
                      <a:pt x="173" y="149"/>
                      <a:pt x="168" y="154"/>
                      <a:pt x="168" y="159"/>
                    </a:cubicBezTo>
                    <a:cubicBezTo>
                      <a:pt x="168" y="236"/>
                      <a:pt x="168" y="236"/>
                      <a:pt x="168" y="236"/>
                    </a:cubicBezTo>
                    <a:cubicBezTo>
                      <a:pt x="168" y="242"/>
                      <a:pt x="173" y="246"/>
                      <a:pt x="179" y="246"/>
                    </a:cubicBezTo>
                    <a:cubicBezTo>
                      <a:pt x="216" y="246"/>
                      <a:pt x="216" y="246"/>
                      <a:pt x="216" y="246"/>
                    </a:cubicBezTo>
                    <a:cubicBezTo>
                      <a:pt x="222" y="246"/>
                      <a:pt x="226" y="242"/>
                      <a:pt x="226" y="236"/>
                    </a:cubicBezTo>
                    <a:cubicBezTo>
                      <a:pt x="226" y="159"/>
                      <a:pt x="226" y="159"/>
                      <a:pt x="226" y="159"/>
                    </a:cubicBezTo>
                    <a:cubicBezTo>
                      <a:pt x="226" y="154"/>
                      <a:pt x="222" y="149"/>
                      <a:pt x="216" y="149"/>
                    </a:cubicBezTo>
                    <a:lnTo>
                      <a:pt x="179" y="149"/>
                    </a:lnTo>
                    <a:close/>
                    <a:moveTo>
                      <a:pt x="182" y="226"/>
                    </a:moveTo>
                    <a:cubicBezTo>
                      <a:pt x="180" y="226"/>
                      <a:pt x="179" y="225"/>
                      <a:pt x="179" y="223"/>
                    </a:cubicBezTo>
                    <a:cubicBezTo>
                      <a:pt x="179" y="221"/>
                      <a:pt x="180" y="220"/>
                      <a:pt x="182" y="220"/>
                    </a:cubicBezTo>
                    <a:cubicBezTo>
                      <a:pt x="199" y="221"/>
                      <a:pt x="210" y="216"/>
                      <a:pt x="210" y="205"/>
                    </a:cubicBezTo>
                    <a:cubicBezTo>
                      <a:pt x="210" y="199"/>
                      <a:pt x="205" y="195"/>
                      <a:pt x="198" y="195"/>
                    </a:cubicBezTo>
                    <a:cubicBezTo>
                      <a:pt x="195" y="195"/>
                      <a:pt x="194" y="196"/>
                      <a:pt x="193" y="196"/>
                    </a:cubicBezTo>
                    <a:cubicBezTo>
                      <a:pt x="191" y="196"/>
                      <a:pt x="190" y="194"/>
                      <a:pt x="190" y="193"/>
                    </a:cubicBezTo>
                    <a:cubicBezTo>
                      <a:pt x="190" y="192"/>
                      <a:pt x="190" y="192"/>
                      <a:pt x="191" y="191"/>
                    </a:cubicBezTo>
                    <a:cubicBezTo>
                      <a:pt x="205" y="175"/>
                      <a:pt x="205" y="175"/>
                      <a:pt x="205" y="175"/>
                    </a:cubicBezTo>
                    <a:cubicBezTo>
                      <a:pt x="182" y="175"/>
                      <a:pt x="182" y="175"/>
                      <a:pt x="182" y="175"/>
                    </a:cubicBezTo>
                    <a:cubicBezTo>
                      <a:pt x="180" y="175"/>
                      <a:pt x="179" y="174"/>
                      <a:pt x="179" y="172"/>
                    </a:cubicBezTo>
                    <a:cubicBezTo>
                      <a:pt x="179" y="171"/>
                      <a:pt x="180" y="169"/>
                      <a:pt x="182" y="169"/>
                    </a:cubicBezTo>
                    <a:cubicBezTo>
                      <a:pt x="208" y="169"/>
                      <a:pt x="208" y="169"/>
                      <a:pt x="208" y="169"/>
                    </a:cubicBezTo>
                    <a:cubicBezTo>
                      <a:pt x="210" y="169"/>
                      <a:pt x="212" y="171"/>
                      <a:pt x="212" y="174"/>
                    </a:cubicBezTo>
                    <a:cubicBezTo>
                      <a:pt x="212" y="174"/>
                      <a:pt x="212" y="175"/>
                      <a:pt x="211" y="176"/>
                    </a:cubicBezTo>
                    <a:cubicBezTo>
                      <a:pt x="199" y="190"/>
                      <a:pt x="199" y="190"/>
                      <a:pt x="199" y="190"/>
                    </a:cubicBezTo>
                    <a:cubicBezTo>
                      <a:pt x="208" y="190"/>
                      <a:pt x="216" y="196"/>
                      <a:pt x="216" y="205"/>
                    </a:cubicBezTo>
                    <a:cubicBezTo>
                      <a:pt x="216" y="219"/>
                      <a:pt x="203" y="227"/>
                      <a:pt x="182" y="226"/>
                    </a:cubicBezTo>
                    <a:close/>
                    <a:moveTo>
                      <a:pt x="358" y="236"/>
                    </a:moveTo>
                    <a:cubicBezTo>
                      <a:pt x="358" y="159"/>
                      <a:pt x="358" y="159"/>
                      <a:pt x="358" y="159"/>
                    </a:cubicBezTo>
                    <a:cubicBezTo>
                      <a:pt x="358" y="154"/>
                      <a:pt x="353" y="149"/>
                      <a:pt x="348" y="149"/>
                    </a:cubicBezTo>
                    <a:cubicBezTo>
                      <a:pt x="310" y="149"/>
                      <a:pt x="310" y="149"/>
                      <a:pt x="310" y="149"/>
                    </a:cubicBezTo>
                    <a:cubicBezTo>
                      <a:pt x="305" y="149"/>
                      <a:pt x="300" y="154"/>
                      <a:pt x="300" y="159"/>
                    </a:cubicBezTo>
                    <a:cubicBezTo>
                      <a:pt x="300" y="236"/>
                      <a:pt x="300" y="236"/>
                      <a:pt x="300" y="236"/>
                    </a:cubicBezTo>
                    <a:cubicBezTo>
                      <a:pt x="300" y="242"/>
                      <a:pt x="305" y="246"/>
                      <a:pt x="310" y="246"/>
                    </a:cubicBezTo>
                    <a:cubicBezTo>
                      <a:pt x="348" y="246"/>
                      <a:pt x="348" y="246"/>
                      <a:pt x="348" y="246"/>
                    </a:cubicBezTo>
                    <a:cubicBezTo>
                      <a:pt x="353" y="246"/>
                      <a:pt x="358" y="242"/>
                      <a:pt x="358" y="236"/>
                    </a:cubicBezTo>
                    <a:close/>
                    <a:moveTo>
                      <a:pt x="315" y="226"/>
                    </a:moveTo>
                    <a:cubicBezTo>
                      <a:pt x="314" y="226"/>
                      <a:pt x="313" y="225"/>
                      <a:pt x="312" y="224"/>
                    </a:cubicBezTo>
                    <a:cubicBezTo>
                      <a:pt x="312" y="222"/>
                      <a:pt x="314" y="221"/>
                      <a:pt x="315" y="221"/>
                    </a:cubicBezTo>
                    <a:cubicBezTo>
                      <a:pt x="334" y="221"/>
                      <a:pt x="343" y="216"/>
                      <a:pt x="343" y="197"/>
                    </a:cubicBezTo>
                    <a:cubicBezTo>
                      <a:pt x="343" y="194"/>
                      <a:pt x="343" y="191"/>
                      <a:pt x="343" y="189"/>
                    </a:cubicBezTo>
                    <a:cubicBezTo>
                      <a:pt x="342" y="179"/>
                      <a:pt x="338" y="174"/>
                      <a:pt x="328" y="174"/>
                    </a:cubicBezTo>
                    <a:cubicBezTo>
                      <a:pt x="319" y="174"/>
                      <a:pt x="315" y="179"/>
                      <a:pt x="315" y="187"/>
                    </a:cubicBezTo>
                    <a:cubicBezTo>
                      <a:pt x="315" y="196"/>
                      <a:pt x="318" y="200"/>
                      <a:pt x="328" y="200"/>
                    </a:cubicBezTo>
                    <a:cubicBezTo>
                      <a:pt x="330" y="200"/>
                      <a:pt x="332" y="199"/>
                      <a:pt x="336" y="198"/>
                    </a:cubicBezTo>
                    <a:cubicBezTo>
                      <a:pt x="338" y="198"/>
                      <a:pt x="339" y="199"/>
                      <a:pt x="339" y="200"/>
                    </a:cubicBezTo>
                    <a:cubicBezTo>
                      <a:pt x="340" y="202"/>
                      <a:pt x="339" y="203"/>
                      <a:pt x="337" y="204"/>
                    </a:cubicBezTo>
                    <a:cubicBezTo>
                      <a:pt x="334" y="204"/>
                      <a:pt x="332" y="205"/>
                      <a:pt x="328" y="205"/>
                    </a:cubicBezTo>
                    <a:cubicBezTo>
                      <a:pt x="316" y="205"/>
                      <a:pt x="309" y="199"/>
                      <a:pt x="309" y="188"/>
                    </a:cubicBezTo>
                    <a:cubicBezTo>
                      <a:pt x="309" y="178"/>
                      <a:pt x="316" y="169"/>
                      <a:pt x="328" y="169"/>
                    </a:cubicBezTo>
                    <a:cubicBezTo>
                      <a:pt x="341" y="169"/>
                      <a:pt x="348" y="176"/>
                      <a:pt x="349" y="189"/>
                    </a:cubicBezTo>
                    <a:cubicBezTo>
                      <a:pt x="349" y="191"/>
                      <a:pt x="349" y="193"/>
                      <a:pt x="349" y="197"/>
                    </a:cubicBezTo>
                    <a:cubicBezTo>
                      <a:pt x="348" y="219"/>
                      <a:pt x="337" y="226"/>
                      <a:pt x="315" y="2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29" name="Freeform 9"/>
              <p:cNvSpPr>
                <a:spLocks noEditPoints="1"/>
              </p:cNvSpPr>
              <p:nvPr/>
            </p:nvSpPr>
            <p:spPr bwMode="auto">
              <a:xfrm>
                <a:off x="5880727" y="2280563"/>
                <a:ext cx="184988" cy="145953"/>
              </a:xfrm>
              <a:custGeom>
                <a:avLst/>
                <a:gdLst>
                  <a:gd name="T0" fmla="*/ 2147483647 w 467"/>
                  <a:gd name="T1" fmla="*/ 2147483647 h 377"/>
                  <a:gd name="T2" fmla="*/ 2147483647 w 467"/>
                  <a:gd name="T3" fmla="*/ 2147483647 h 377"/>
                  <a:gd name="T4" fmla="*/ 2147483647 w 467"/>
                  <a:gd name="T5" fmla="*/ 2147483647 h 377"/>
                  <a:gd name="T6" fmla="*/ 2147483647 w 467"/>
                  <a:gd name="T7" fmla="*/ 0 h 377"/>
                  <a:gd name="T8" fmla="*/ 2147483647 w 467"/>
                  <a:gd name="T9" fmla="*/ 0 h 377"/>
                  <a:gd name="T10" fmla="*/ 0 w 467"/>
                  <a:gd name="T11" fmla="*/ 2147483647 h 377"/>
                  <a:gd name="T12" fmla="*/ 0 w 467"/>
                  <a:gd name="T13" fmla="*/ 2147483647 h 377"/>
                  <a:gd name="T14" fmla="*/ 2147483647 w 467"/>
                  <a:gd name="T15" fmla="*/ 2147483647 h 377"/>
                  <a:gd name="T16" fmla="*/ 2147483647 w 467"/>
                  <a:gd name="T17" fmla="*/ 2147483647 h 377"/>
                  <a:gd name="T18" fmla="*/ 2147483647 w 467"/>
                  <a:gd name="T19" fmla="*/ 2147483647 h 377"/>
                  <a:gd name="T20" fmla="*/ 2147483647 w 467"/>
                  <a:gd name="T21" fmla="*/ 2147483647 h 377"/>
                  <a:gd name="T22" fmla="*/ 2147483647 w 467"/>
                  <a:gd name="T23" fmla="*/ 2147483647 h 377"/>
                  <a:gd name="T24" fmla="*/ 2147483647 w 467"/>
                  <a:gd name="T25" fmla="*/ 2147483647 h 377"/>
                  <a:gd name="T26" fmla="*/ 2147483647 w 467"/>
                  <a:gd name="T27" fmla="*/ 2147483647 h 377"/>
                  <a:gd name="T28" fmla="*/ 2147483647 w 467"/>
                  <a:gd name="T29" fmla="*/ 2147483647 h 377"/>
                  <a:gd name="T30" fmla="*/ 2147483647 w 467"/>
                  <a:gd name="T31" fmla="*/ 2147483647 h 377"/>
                  <a:gd name="T32" fmla="*/ 2147483647 w 467"/>
                  <a:gd name="T33" fmla="*/ 2147483647 h 377"/>
                  <a:gd name="T34" fmla="*/ 2147483647 w 467"/>
                  <a:gd name="T35" fmla="*/ 2147483647 h 377"/>
                  <a:gd name="T36" fmla="*/ 2147483647 w 467"/>
                  <a:gd name="T37" fmla="*/ 2147483647 h 377"/>
                  <a:gd name="T38" fmla="*/ 2147483647 w 467"/>
                  <a:gd name="T39" fmla="*/ 2147483647 h 377"/>
                  <a:gd name="T40" fmla="*/ 2147483647 w 467"/>
                  <a:gd name="T41" fmla="*/ 2147483647 h 377"/>
                  <a:gd name="T42" fmla="*/ 2147483647 w 467"/>
                  <a:gd name="T43" fmla="*/ 2147483647 h 377"/>
                  <a:gd name="T44" fmla="*/ 2147483647 w 467"/>
                  <a:gd name="T45" fmla="*/ 2147483647 h 377"/>
                  <a:gd name="T46" fmla="*/ 2147483647 w 467"/>
                  <a:gd name="T47" fmla="*/ 2147483647 h 377"/>
                  <a:gd name="T48" fmla="*/ 2147483647 w 467"/>
                  <a:gd name="T49" fmla="*/ 2147483647 h 377"/>
                  <a:gd name="T50" fmla="*/ 2147483647 w 467"/>
                  <a:gd name="T51" fmla="*/ 2147483647 h 377"/>
                  <a:gd name="T52" fmla="*/ 2147483647 w 467"/>
                  <a:gd name="T53" fmla="*/ 2147483647 h 377"/>
                  <a:gd name="T54" fmla="*/ 2147483647 w 467"/>
                  <a:gd name="T55" fmla="*/ 2147483647 h 377"/>
                  <a:gd name="T56" fmla="*/ 2147483647 w 467"/>
                  <a:gd name="T57" fmla="*/ 2147483647 h 377"/>
                  <a:gd name="T58" fmla="*/ 2147483647 w 467"/>
                  <a:gd name="T59" fmla="*/ 2147483647 h 377"/>
                  <a:gd name="T60" fmla="*/ 2147483647 w 467"/>
                  <a:gd name="T61" fmla="*/ 2147483647 h 377"/>
                  <a:gd name="T62" fmla="*/ 2147483647 w 467"/>
                  <a:gd name="T63" fmla="*/ 2147483647 h 377"/>
                  <a:gd name="T64" fmla="*/ 2147483647 w 467"/>
                  <a:gd name="T65" fmla="*/ 2147483647 h 377"/>
                  <a:gd name="T66" fmla="*/ 2147483647 w 467"/>
                  <a:gd name="T67" fmla="*/ 2147483647 h 377"/>
                  <a:gd name="T68" fmla="*/ 2147483647 w 467"/>
                  <a:gd name="T69" fmla="*/ 2147483647 h 377"/>
                  <a:gd name="T70" fmla="*/ 2147483647 w 467"/>
                  <a:gd name="T71" fmla="*/ 2147483647 h 377"/>
                  <a:gd name="T72" fmla="*/ 2147483647 w 467"/>
                  <a:gd name="T73" fmla="*/ 2147483647 h 377"/>
                  <a:gd name="T74" fmla="*/ 2147483647 w 467"/>
                  <a:gd name="T75" fmla="*/ 2147483647 h 377"/>
                  <a:gd name="T76" fmla="*/ 2147483647 w 467"/>
                  <a:gd name="T77" fmla="*/ 2147483647 h 377"/>
                  <a:gd name="T78" fmla="*/ 2147483647 w 467"/>
                  <a:gd name="T79" fmla="*/ 2147483647 h 377"/>
                  <a:gd name="T80" fmla="*/ 2147483647 w 467"/>
                  <a:gd name="T81" fmla="*/ 2147483647 h 377"/>
                  <a:gd name="T82" fmla="*/ 2147483647 w 467"/>
                  <a:gd name="T83" fmla="*/ 2147483647 h 377"/>
                  <a:gd name="T84" fmla="*/ 2147483647 w 467"/>
                  <a:gd name="T85" fmla="*/ 2147483647 h 377"/>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467" h="377">
                    <a:moveTo>
                      <a:pt x="459" y="42"/>
                    </a:moveTo>
                    <a:cubicBezTo>
                      <a:pt x="463" y="42"/>
                      <a:pt x="467" y="38"/>
                      <a:pt x="467" y="34"/>
                    </a:cubicBezTo>
                    <a:cubicBezTo>
                      <a:pt x="467" y="14"/>
                      <a:pt x="467" y="14"/>
                      <a:pt x="467" y="14"/>
                    </a:cubicBezTo>
                    <a:cubicBezTo>
                      <a:pt x="467" y="6"/>
                      <a:pt x="461" y="0"/>
                      <a:pt x="453" y="0"/>
                    </a:cubicBezTo>
                    <a:cubicBezTo>
                      <a:pt x="13" y="0"/>
                      <a:pt x="13" y="0"/>
                      <a:pt x="13" y="0"/>
                    </a:cubicBezTo>
                    <a:cubicBezTo>
                      <a:pt x="6" y="0"/>
                      <a:pt x="0" y="6"/>
                      <a:pt x="0" y="14"/>
                    </a:cubicBezTo>
                    <a:cubicBezTo>
                      <a:pt x="0" y="276"/>
                      <a:pt x="0" y="276"/>
                      <a:pt x="0" y="276"/>
                    </a:cubicBezTo>
                    <a:cubicBezTo>
                      <a:pt x="0" y="283"/>
                      <a:pt x="6" y="290"/>
                      <a:pt x="13" y="290"/>
                    </a:cubicBezTo>
                    <a:cubicBezTo>
                      <a:pt x="185" y="290"/>
                      <a:pt x="185" y="290"/>
                      <a:pt x="185" y="290"/>
                    </a:cubicBezTo>
                    <a:cubicBezTo>
                      <a:pt x="185" y="314"/>
                      <a:pt x="185" y="314"/>
                      <a:pt x="185" y="314"/>
                    </a:cubicBezTo>
                    <a:cubicBezTo>
                      <a:pt x="117" y="314"/>
                      <a:pt x="117" y="314"/>
                      <a:pt x="117" y="314"/>
                    </a:cubicBezTo>
                    <a:cubicBezTo>
                      <a:pt x="115" y="314"/>
                      <a:pt x="114" y="314"/>
                      <a:pt x="112" y="315"/>
                    </a:cubicBezTo>
                    <a:cubicBezTo>
                      <a:pt x="40" y="362"/>
                      <a:pt x="40" y="362"/>
                      <a:pt x="40" y="362"/>
                    </a:cubicBezTo>
                    <a:cubicBezTo>
                      <a:pt x="37" y="364"/>
                      <a:pt x="35" y="368"/>
                      <a:pt x="36" y="371"/>
                    </a:cubicBezTo>
                    <a:cubicBezTo>
                      <a:pt x="37" y="375"/>
                      <a:pt x="41" y="377"/>
                      <a:pt x="44" y="377"/>
                    </a:cubicBezTo>
                    <a:cubicBezTo>
                      <a:pt x="422" y="377"/>
                      <a:pt x="422" y="377"/>
                      <a:pt x="422" y="377"/>
                    </a:cubicBezTo>
                    <a:cubicBezTo>
                      <a:pt x="426" y="377"/>
                      <a:pt x="429" y="375"/>
                      <a:pt x="430" y="371"/>
                    </a:cubicBezTo>
                    <a:cubicBezTo>
                      <a:pt x="431" y="368"/>
                      <a:pt x="429" y="364"/>
                      <a:pt x="426" y="362"/>
                    </a:cubicBezTo>
                    <a:cubicBezTo>
                      <a:pt x="354" y="315"/>
                      <a:pt x="354" y="315"/>
                      <a:pt x="354" y="315"/>
                    </a:cubicBezTo>
                    <a:cubicBezTo>
                      <a:pt x="352" y="314"/>
                      <a:pt x="351" y="314"/>
                      <a:pt x="349" y="314"/>
                    </a:cubicBezTo>
                    <a:cubicBezTo>
                      <a:pt x="281" y="314"/>
                      <a:pt x="281" y="314"/>
                      <a:pt x="281" y="314"/>
                    </a:cubicBezTo>
                    <a:cubicBezTo>
                      <a:pt x="281" y="290"/>
                      <a:pt x="281" y="290"/>
                      <a:pt x="281" y="290"/>
                    </a:cubicBezTo>
                    <a:cubicBezTo>
                      <a:pt x="453" y="290"/>
                      <a:pt x="453" y="290"/>
                      <a:pt x="453" y="290"/>
                    </a:cubicBezTo>
                    <a:cubicBezTo>
                      <a:pt x="461" y="290"/>
                      <a:pt x="467" y="283"/>
                      <a:pt x="467" y="276"/>
                    </a:cubicBezTo>
                    <a:cubicBezTo>
                      <a:pt x="467" y="66"/>
                      <a:pt x="467" y="66"/>
                      <a:pt x="467" y="66"/>
                    </a:cubicBezTo>
                    <a:cubicBezTo>
                      <a:pt x="467" y="61"/>
                      <a:pt x="463" y="58"/>
                      <a:pt x="459" y="58"/>
                    </a:cubicBezTo>
                    <a:cubicBezTo>
                      <a:pt x="454" y="58"/>
                      <a:pt x="451" y="61"/>
                      <a:pt x="451" y="66"/>
                    </a:cubicBezTo>
                    <a:cubicBezTo>
                      <a:pt x="451" y="274"/>
                      <a:pt x="451" y="274"/>
                      <a:pt x="451" y="274"/>
                    </a:cubicBezTo>
                    <a:cubicBezTo>
                      <a:pt x="16" y="274"/>
                      <a:pt x="16" y="274"/>
                      <a:pt x="16" y="274"/>
                    </a:cubicBezTo>
                    <a:cubicBezTo>
                      <a:pt x="16" y="16"/>
                      <a:pt x="16" y="16"/>
                      <a:pt x="16" y="16"/>
                    </a:cubicBezTo>
                    <a:cubicBezTo>
                      <a:pt x="451" y="16"/>
                      <a:pt x="451" y="16"/>
                      <a:pt x="451" y="16"/>
                    </a:cubicBezTo>
                    <a:cubicBezTo>
                      <a:pt x="451" y="34"/>
                      <a:pt x="451" y="34"/>
                      <a:pt x="451" y="34"/>
                    </a:cubicBezTo>
                    <a:cubicBezTo>
                      <a:pt x="451" y="38"/>
                      <a:pt x="454" y="42"/>
                      <a:pt x="459" y="42"/>
                    </a:cubicBezTo>
                    <a:close/>
                    <a:moveTo>
                      <a:pt x="347" y="330"/>
                    </a:moveTo>
                    <a:cubicBezTo>
                      <a:pt x="395" y="361"/>
                      <a:pt x="395" y="361"/>
                      <a:pt x="395" y="361"/>
                    </a:cubicBezTo>
                    <a:cubicBezTo>
                      <a:pt x="71" y="361"/>
                      <a:pt x="71" y="361"/>
                      <a:pt x="71" y="361"/>
                    </a:cubicBezTo>
                    <a:cubicBezTo>
                      <a:pt x="119" y="330"/>
                      <a:pt x="119" y="330"/>
                      <a:pt x="119" y="330"/>
                    </a:cubicBezTo>
                    <a:lnTo>
                      <a:pt x="347" y="330"/>
                    </a:lnTo>
                    <a:close/>
                    <a:moveTo>
                      <a:pt x="201" y="290"/>
                    </a:moveTo>
                    <a:cubicBezTo>
                      <a:pt x="265" y="290"/>
                      <a:pt x="265" y="290"/>
                      <a:pt x="265" y="290"/>
                    </a:cubicBezTo>
                    <a:cubicBezTo>
                      <a:pt x="265" y="314"/>
                      <a:pt x="265" y="314"/>
                      <a:pt x="265" y="314"/>
                    </a:cubicBezTo>
                    <a:cubicBezTo>
                      <a:pt x="201" y="314"/>
                      <a:pt x="201" y="314"/>
                      <a:pt x="201" y="314"/>
                    </a:cubicBezTo>
                    <a:lnTo>
                      <a:pt x="201" y="2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30" name="Freeform 3"/>
              <p:cNvSpPr>
                <a:spLocks noChangeAspect="1" noEditPoints="1"/>
              </p:cNvSpPr>
              <p:nvPr/>
            </p:nvSpPr>
            <p:spPr bwMode="auto">
              <a:xfrm>
                <a:off x="4512185" y="2897602"/>
                <a:ext cx="187000" cy="44114"/>
              </a:xfrm>
              <a:custGeom>
                <a:avLst/>
                <a:gdLst>
                  <a:gd name="T0" fmla="*/ 2147483647 w 472"/>
                  <a:gd name="T1" fmla="*/ 2147483647 h 114"/>
                  <a:gd name="T2" fmla="*/ 2147483647 w 472"/>
                  <a:gd name="T3" fmla="*/ 2147483647 h 114"/>
                  <a:gd name="T4" fmla="*/ 2147483647 w 472"/>
                  <a:gd name="T5" fmla="*/ 2147483647 h 114"/>
                  <a:gd name="T6" fmla="*/ 2147483647 w 472"/>
                  <a:gd name="T7" fmla="*/ 2147483647 h 114"/>
                  <a:gd name="T8" fmla="*/ 2147483647 w 472"/>
                  <a:gd name="T9" fmla="*/ 2147483647 h 114"/>
                  <a:gd name="T10" fmla="*/ 2147483647 w 472"/>
                  <a:gd name="T11" fmla="*/ 2147483647 h 114"/>
                  <a:gd name="T12" fmla="*/ 2147483647 w 472"/>
                  <a:gd name="T13" fmla="*/ 2147483647 h 114"/>
                  <a:gd name="T14" fmla="*/ 2147483647 w 472"/>
                  <a:gd name="T15" fmla="*/ 2147483647 h 114"/>
                  <a:gd name="T16" fmla="*/ 2147483647 w 472"/>
                  <a:gd name="T17" fmla="*/ 2147483647 h 114"/>
                  <a:gd name="T18" fmla="*/ 2147483647 w 472"/>
                  <a:gd name="T19" fmla="*/ 2147483647 h 114"/>
                  <a:gd name="T20" fmla="*/ 2147483647 w 472"/>
                  <a:gd name="T21" fmla="*/ 2147483647 h 114"/>
                  <a:gd name="T22" fmla="*/ 2147483647 w 472"/>
                  <a:gd name="T23" fmla="*/ 2147483647 h 114"/>
                  <a:gd name="T24" fmla="*/ 2147483647 w 472"/>
                  <a:gd name="T25" fmla="*/ 2147483647 h 114"/>
                  <a:gd name="T26" fmla="*/ 2147483647 w 472"/>
                  <a:gd name="T27" fmla="*/ 2147483647 h 114"/>
                  <a:gd name="T28" fmla="*/ 2147483647 w 472"/>
                  <a:gd name="T29" fmla="*/ 2147483647 h 114"/>
                  <a:gd name="T30" fmla="*/ 2147483647 w 472"/>
                  <a:gd name="T31" fmla="*/ 2147483647 h 114"/>
                  <a:gd name="T32" fmla="*/ 2147483647 w 472"/>
                  <a:gd name="T33" fmla="*/ 2147483647 h 114"/>
                  <a:gd name="T34" fmla="*/ 2147483647 w 472"/>
                  <a:gd name="T35" fmla="*/ 2147483647 h 114"/>
                  <a:gd name="T36" fmla="*/ 2147483647 w 472"/>
                  <a:gd name="T37" fmla="*/ 2147483647 h 114"/>
                  <a:gd name="T38" fmla="*/ 2147483647 w 472"/>
                  <a:gd name="T39" fmla="*/ 2147483647 h 114"/>
                  <a:gd name="T40" fmla="*/ 2147483647 w 472"/>
                  <a:gd name="T41" fmla="*/ 2147483647 h 114"/>
                  <a:gd name="T42" fmla="*/ 2147483647 w 472"/>
                  <a:gd name="T43" fmla="*/ 2147483647 h 114"/>
                  <a:gd name="T44" fmla="*/ 2147483647 w 472"/>
                  <a:gd name="T45" fmla="*/ 0 h 114"/>
                  <a:gd name="T46" fmla="*/ 2147483647 w 472"/>
                  <a:gd name="T47" fmla="*/ 0 h 114"/>
                  <a:gd name="T48" fmla="*/ 0 w 472"/>
                  <a:gd name="T49" fmla="*/ 2147483647 h 114"/>
                  <a:gd name="T50" fmla="*/ 0 w 472"/>
                  <a:gd name="T51" fmla="*/ 2147483647 h 114"/>
                  <a:gd name="T52" fmla="*/ 2147483647 w 472"/>
                  <a:gd name="T53" fmla="*/ 2147483647 h 114"/>
                  <a:gd name="T54" fmla="*/ 2147483647 w 472"/>
                  <a:gd name="T55" fmla="*/ 2147483647 h 114"/>
                  <a:gd name="T56" fmla="*/ 2147483647 w 472"/>
                  <a:gd name="T57" fmla="*/ 2147483647 h 114"/>
                  <a:gd name="T58" fmla="*/ 2147483647 w 472"/>
                  <a:gd name="T59" fmla="*/ 2147483647 h 114"/>
                  <a:gd name="T60" fmla="*/ 2147483647 w 472"/>
                  <a:gd name="T61" fmla="*/ 2147483647 h 114"/>
                  <a:gd name="T62" fmla="*/ 2147483647 w 472"/>
                  <a:gd name="T63" fmla="*/ 2147483647 h 114"/>
                  <a:gd name="T64" fmla="*/ 2147483647 w 472"/>
                  <a:gd name="T65" fmla="*/ 2147483647 h 114"/>
                  <a:gd name="T66" fmla="*/ 2147483647 w 472"/>
                  <a:gd name="T67" fmla="*/ 2147483647 h 114"/>
                  <a:gd name="T68" fmla="*/ 2147483647 w 472"/>
                  <a:gd name="T69" fmla="*/ 2147483647 h 114"/>
                  <a:gd name="T70" fmla="*/ 2147483647 w 472"/>
                  <a:gd name="T71" fmla="*/ 2147483647 h 114"/>
                  <a:gd name="T72" fmla="*/ 2147483647 w 472"/>
                  <a:gd name="T73" fmla="*/ 2147483647 h 114"/>
                  <a:gd name="T74" fmla="*/ 2147483647 w 472"/>
                  <a:gd name="T75" fmla="*/ 2147483647 h 114"/>
                  <a:gd name="T76" fmla="*/ 2147483647 w 472"/>
                  <a:gd name="T77" fmla="*/ 2147483647 h 114"/>
                  <a:gd name="T78" fmla="*/ 2147483647 w 472"/>
                  <a:gd name="T79" fmla="*/ 2147483647 h 114"/>
                  <a:gd name="T80" fmla="*/ 2147483647 w 472"/>
                  <a:gd name="T81" fmla="*/ 2147483647 h 114"/>
                  <a:gd name="T82" fmla="*/ 2147483647 w 472"/>
                  <a:gd name="T83" fmla="*/ 2147483647 h 114"/>
                  <a:gd name="T84" fmla="*/ 2147483647 w 472"/>
                  <a:gd name="T85" fmla="*/ 2147483647 h 114"/>
                  <a:gd name="T86" fmla="*/ 2147483647 w 472"/>
                  <a:gd name="T87" fmla="*/ 2147483647 h 114"/>
                  <a:gd name="T88" fmla="*/ 2147483647 w 472"/>
                  <a:gd name="T89" fmla="*/ 2147483647 h 114"/>
                  <a:gd name="T90" fmla="*/ 2147483647 w 472"/>
                  <a:gd name="T91" fmla="*/ 2147483647 h 114"/>
                  <a:gd name="T92" fmla="*/ 2147483647 w 472"/>
                  <a:gd name="T93" fmla="*/ 2147483647 h 114"/>
                  <a:gd name="T94" fmla="*/ 2147483647 w 472"/>
                  <a:gd name="T95" fmla="*/ 2147483647 h 114"/>
                  <a:gd name="T96" fmla="*/ 2147483647 w 472"/>
                  <a:gd name="T97" fmla="*/ 2147483647 h 114"/>
                  <a:gd name="T98" fmla="*/ 2147483647 w 472"/>
                  <a:gd name="T99" fmla="*/ 2147483647 h 114"/>
                  <a:gd name="T100" fmla="*/ 2147483647 w 472"/>
                  <a:gd name="T101" fmla="*/ 2147483647 h 114"/>
                  <a:gd name="T102" fmla="*/ 2147483647 w 472"/>
                  <a:gd name="T103" fmla="*/ 2147483647 h 11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472" h="114">
                    <a:moveTo>
                      <a:pt x="392" y="46"/>
                    </a:moveTo>
                    <a:cubicBezTo>
                      <a:pt x="396" y="46"/>
                      <a:pt x="400" y="43"/>
                      <a:pt x="400" y="39"/>
                    </a:cubicBezTo>
                    <a:cubicBezTo>
                      <a:pt x="400" y="34"/>
                      <a:pt x="396" y="31"/>
                      <a:pt x="392" y="31"/>
                    </a:cubicBezTo>
                    <a:cubicBezTo>
                      <a:pt x="388" y="31"/>
                      <a:pt x="384" y="34"/>
                      <a:pt x="384" y="39"/>
                    </a:cubicBezTo>
                    <a:cubicBezTo>
                      <a:pt x="384" y="43"/>
                      <a:pt x="388" y="46"/>
                      <a:pt x="392" y="46"/>
                    </a:cubicBezTo>
                    <a:close/>
                    <a:moveTo>
                      <a:pt x="392" y="82"/>
                    </a:moveTo>
                    <a:cubicBezTo>
                      <a:pt x="396" y="82"/>
                      <a:pt x="400" y="79"/>
                      <a:pt x="400" y="74"/>
                    </a:cubicBezTo>
                    <a:cubicBezTo>
                      <a:pt x="400" y="70"/>
                      <a:pt x="396" y="67"/>
                      <a:pt x="392" y="67"/>
                    </a:cubicBezTo>
                    <a:cubicBezTo>
                      <a:pt x="388" y="67"/>
                      <a:pt x="384" y="70"/>
                      <a:pt x="384" y="74"/>
                    </a:cubicBezTo>
                    <a:cubicBezTo>
                      <a:pt x="384" y="79"/>
                      <a:pt x="388" y="82"/>
                      <a:pt x="392" y="82"/>
                    </a:cubicBezTo>
                    <a:close/>
                    <a:moveTo>
                      <a:pt x="208" y="71"/>
                    </a:moveTo>
                    <a:cubicBezTo>
                      <a:pt x="362" y="71"/>
                      <a:pt x="362" y="71"/>
                      <a:pt x="362" y="71"/>
                    </a:cubicBezTo>
                    <a:cubicBezTo>
                      <a:pt x="366" y="71"/>
                      <a:pt x="370" y="67"/>
                      <a:pt x="370" y="63"/>
                    </a:cubicBezTo>
                    <a:cubicBezTo>
                      <a:pt x="370" y="51"/>
                      <a:pt x="370" y="51"/>
                      <a:pt x="370" y="51"/>
                    </a:cubicBezTo>
                    <a:cubicBezTo>
                      <a:pt x="370" y="46"/>
                      <a:pt x="366" y="43"/>
                      <a:pt x="362" y="43"/>
                    </a:cubicBezTo>
                    <a:cubicBezTo>
                      <a:pt x="208" y="43"/>
                      <a:pt x="208" y="43"/>
                      <a:pt x="208" y="43"/>
                    </a:cubicBezTo>
                    <a:cubicBezTo>
                      <a:pt x="204" y="43"/>
                      <a:pt x="200" y="46"/>
                      <a:pt x="200" y="51"/>
                    </a:cubicBezTo>
                    <a:cubicBezTo>
                      <a:pt x="200" y="63"/>
                      <a:pt x="200" y="63"/>
                      <a:pt x="200" y="63"/>
                    </a:cubicBezTo>
                    <a:cubicBezTo>
                      <a:pt x="200" y="67"/>
                      <a:pt x="204" y="71"/>
                      <a:pt x="208" y="71"/>
                    </a:cubicBezTo>
                    <a:close/>
                    <a:moveTo>
                      <a:pt x="464" y="36"/>
                    </a:moveTo>
                    <a:cubicBezTo>
                      <a:pt x="468" y="36"/>
                      <a:pt x="472" y="33"/>
                      <a:pt x="472" y="28"/>
                    </a:cubicBezTo>
                    <a:cubicBezTo>
                      <a:pt x="472" y="19"/>
                      <a:pt x="472" y="19"/>
                      <a:pt x="472" y="19"/>
                    </a:cubicBezTo>
                    <a:cubicBezTo>
                      <a:pt x="472" y="8"/>
                      <a:pt x="463" y="0"/>
                      <a:pt x="453" y="0"/>
                    </a:cubicBezTo>
                    <a:cubicBezTo>
                      <a:pt x="19" y="0"/>
                      <a:pt x="19" y="0"/>
                      <a:pt x="19" y="0"/>
                    </a:cubicBezTo>
                    <a:cubicBezTo>
                      <a:pt x="9" y="0"/>
                      <a:pt x="0" y="8"/>
                      <a:pt x="0" y="19"/>
                    </a:cubicBezTo>
                    <a:cubicBezTo>
                      <a:pt x="0" y="94"/>
                      <a:pt x="0" y="94"/>
                      <a:pt x="0" y="94"/>
                    </a:cubicBezTo>
                    <a:cubicBezTo>
                      <a:pt x="0" y="105"/>
                      <a:pt x="9" y="114"/>
                      <a:pt x="19" y="114"/>
                    </a:cubicBezTo>
                    <a:cubicBezTo>
                      <a:pt x="453" y="114"/>
                      <a:pt x="453" y="114"/>
                      <a:pt x="453" y="114"/>
                    </a:cubicBezTo>
                    <a:cubicBezTo>
                      <a:pt x="463" y="114"/>
                      <a:pt x="472" y="105"/>
                      <a:pt x="472" y="94"/>
                    </a:cubicBezTo>
                    <a:cubicBezTo>
                      <a:pt x="472" y="60"/>
                      <a:pt x="472" y="60"/>
                      <a:pt x="472" y="60"/>
                    </a:cubicBezTo>
                    <a:cubicBezTo>
                      <a:pt x="472" y="56"/>
                      <a:pt x="468" y="52"/>
                      <a:pt x="464" y="52"/>
                    </a:cubicBezTo>
                    <a:cubicBezTo>
                      <a:pt x="460" y="52"/>
                      <a:pt x="456" y="56"/>
                      <a:pt x="456" y="60"/>
                    </a:cubicBezTo>
                    <a:cubicBezTo>
                      <a:pt x="456" y="94"/>
                      <a:pt x="456" y="94"/>
                      <a:pt x="456" y="94"/>
                    </a:cubicBezTo>
                    <a:cubicBezTo>
                      <a:pt x="456" y="96"/>
                      <a:pt x="455" y="98"/>
                      <a:pt x="453" y="98"/>
                    </a:cubicBezTo>
                    <a:cubicBezTo>
                      <a:pt x="431" y="98"/>
                      <a:pt x="431" y="98"/>
                      <a:pt x="431" y="98"/>
                    </a:cubicBezTo>
                    <a:cubicBezTo>
                      <a:pt x="431" y="16"/>
                      <a:pt x="431" y="16"/>
                      <a:pt x="431" y="16"/>
                    </a:cubicBezTo>
                    <a:cubicBezTo>
                      <a:pt x="453" y="16"/>
                      <a:pt x="453" y="16"/>
                      <a:pt x="453" y="16"/>
                    </a:cubicBezTo>
                    <a:cubicBezTo>
                      <a:pt x="455" y="16"/>
                      <a:pt x="456" y="17"/>
                      <a:pt x="456" y="19"/>
                    </a:cubicBezTo>
                    <a:cubicBezTo>
                      <a:pt x="456" y="28"/>
                      <a:pt x="456" y="28"/>
                      <a:pt x="456" y="28"/>
                    </a:cubicBezTo>
                    <a:cubicBezTo>
                      <a:pt x="456" y="33"/>
                      <a:pt x="460" y="36"/>
                      <a:pt x="464" y="36"/>
                    </a:cubicBezTo>
                    <a:close/>
                    <a:moveTo>
                      <a:pt x="41" y="98"/>
                    </a:moveTo>
                    <a:cubicBezTo>
                      <a:pt x="19" y="98"/>
                      <a:pt x="19" y="98"/>
                      <a:pt x="19" y="98"/>
                    </a:cubicBezTo>
                    <a:cubicBezTo>
                      <a:pt x="17" y="98"/>
                      <a:pt x="16" y="96"/>
                      <a:pt x="16" y="94"/>
                    </a:cubicBezTo>
                    <a:cubicBezTo>
                      <a:pt x="16" y="19"/>
                      <a:pt x="16" y="19"/>
                      <a:pt x="16" y="19"/>
                    </a:cubicBezTo>
                    <a:cubicBezTo>
                      <a:pt x="16" y="17"/>
                      <a:pt x="17" y="16"/>
                      <a:pt x="19" y="16"/>
                    </a:cubicBezTo>
                    <a:cubicBezTo>
                      <a:pt x="41" y="16"/>
                      <a:pt x="41" y="16"/>
                      <a:pt x="41" y="16"/>
                    </a:cubicBezTo>
                    <a:lnTo>
                      <a:pt x="41" y="98"/>
                    </a:lnTo>
                    <a:close/>
                    <a:moveTo>
                      <a:pt x="415" y="98"/>
                    </a:moveTo>
                    <a:cubicBezTo>
                      <a:pt x="57" y="98"/>
                      <a:pt x="57" y="98"/>
                      <a:pt x="57" y="98"/>
                    </a:cubicBezTo>
                    <a:cubicBezTo>
                      <a:pt x="57" y="16"/>
                      <a:pt x="57" y="16"/>
                      <a:pt x="57" y="16"/>
                    </a:cubicBezTo>
                    <a:cubicBezTo>
                      <a:pt x="415" y="16"/>
                      <a:pt x="415" y="16"/>
                      <a:pt x="415" y="16"/>
                    </a:cubicBezTo>
                    <a:lnTo>
                      <a:pt x="415" y="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31" name="Freeform 3"/>
              <p:cNvSpPr>
                <a:spLocks noChangeAspect="1" noEditPoints="1"/>
              </p:cNvSpPr>
              <p:nvPr/>
            </p:nvSpPr>
            <p:spPr bwMode="auto">
              <a:xfrm>
                <a:off x="4957469" y="2468147"/>
                <a:ext cx="134217" cy="111023"/>
              </a:xfrm>
              <a:custGeom>
                <a:avLst/>
                <a:gdLst>
                  <a:gd name="T0" fmla="*/ 2147483647 w 339"/>
                  <a:gd name="T1" fmla="*/ 2147483647 h 287"/>
                  <a:gd name="T2" fmla="*/ 2147483647 w 339"/>
                  <a:gd name="T3" fmla="*/ 2147483647 h 287"/>
                  <a:gd name="T4" fmla="*/ 2147483647 w 339"/>
                  <a:gd name="T5" fmla="*/ 2147483647 h 287"/>
                  <a:gd name="T6" fmla="*/ 2147483647 w 339"/>
                  <a:gd name="T7" fmla="*/ 2147483647 h 287"/>
                  <a:gd name="T8" fmla="*/ 2147483647 w 339"/>
                  <a:gd name="T9" fmla="*/ 2147483647 h 287"/>
                  <a:gd name="T10" fmla="*/ 2147483647 w 339"/>
                  <a:gd name="T11" fmla="*/ 2147483647 h 287"/>
                  <a:gd name="T12" fmla="*/ 2147483647 w 339"/>
                  <a:gd name="T13" fmla="*/ 2147483647 h 287"/>
                  <a:gd name="T14" fmla="*/ 2147483647 w 339"/>
                  <a:gd name="T15" fmla="*/ 2147483647 h 287"/>
                  <a:gd name="T16" fmla="*/ 2147483647 w 339"/>
                  <a:gd name="T17" fmla="*/ 2147483647 h 287"/>
                  <a:gd name="T18" fmla="*/ 2147483647 w 339"/>
                  <a:gd name="T19" fmla="*/ 2147483647 h 287"/>
                  <a:gd name="T20" fmla="*/ 2147483647 w 339"/>
                  <a:gd name="T21" fmla="*/ 2147483647 h 287"/>
                  <a:gd name="T22" fmla="*/ 2147483647 w 339"/>
                  <a:gd name="T23" fmla="*/ 2147483647 h 287"/>
                  <a:gd name="T24" fmla="*/ 2147483647 w 339"/>
                  <a:gd name="T25" fmla="*/ 2147483647 h 287"/>
                  <a:gd name="T26" fmla="*/ 2147483647 w 339"/>
                  <a:gd name="T27" fmla="*/ 2147483647 h 287"/>
                  <a:gd name="T28" fmla="*/ 2147483647 w 339"/>
                  <a:gd name="T29" fmla="*/ 2147483647 h 287"/>
                  <a:gd name="T30" fmla="*/ 2147483647 w 339"/>
                  <a:gd name="T31" fmla="*/ 2147483647 h 287"/>
                  <a:gd name="T32" fmla="*/ 2147483647 w 339"/>
                  <a:gd name="T33" fmla="*/ 2147483647 h 287"/>
                  <a:gd name="T34" fmla="*/ 2147483647 w 339"/>
                  <a:gd name="T35" fmla="*/ 2147483647 h 287"/>
                  <a:gd name="T36" fmla="*/ 2147483647 w 339"/>
                  <a:gd name="T37" fmla="*/ 2147483647 h 287"/>
                  <a:gd name="T38" fmla="*/ 2147483647 w 339"/>
                  <a:gd name="T39" fmla="*/ 2147483647 h 287"/>
                  <a:gd name="T40" fmla="*/ 2147483647 w 339"/>
                  <a:gd name="T41" fmla="*/ 2147483647 h 287"/>
                  <a:gd name="T42" fmla="*/ 2147483647 w 339"/>
                  <a:gd name="T43" fmla="*/ 2147483647 h 287"/>
                  <a:gd name="T44" fmla="*/ 2147483647 w 339"/>
                  <a:gd name="T45" fmla="*/ 2147483647 h 287"/>
                  <a:gd name="T46" fmla="*/ 2147483647 w 339"/>
                  <a:gd name="T47" fmla="*/ 2147483647 h 287"/>
                  <a:gd name="T48" fmla="*/ 2147483647 w 339"/>
                  <a:gd name="T49" fmla="*/ 2147483647 h 287"/>
                  <a:gd name="T50" fmla="*/ 2147483647 w 339"/>
                  <a:gd name="T51" fmla="*/ 2147483647 h 287"/>
                  <a:gd name="T52" fmla="*/ 2147483647 w 339"/>
                  <a:gd name="T53" fmla="*/ 2147483647 h 287"/>
                  <a:gd name="T54" fmla="*/ 2147483647 w 339"/>
                  <a:gd name="T55" fmla="*/ 2147483647 h 287"/>
                  <a:gd name="T56" fmla="*/ 2147483647 w 339"/>
                  <a:gd name="T57" fmla="*/ 0 h 287"/>
                  <a:gd name="T58" fmla="*/ 2147483647 w 339"/>
                  <a:gd name="T59" fmla="*/ 0 h 287"/>
                  <a:gd name="T60" fmla="*/ 2147483647 w 339"/>
                  <a:gd name="T61" fmla="*/ 2147483647 h 287"/>
                  <a:gd name="T62" fmla="*/ 2147483647 w 339"/>
                  <a:gd name="T63" fmla="*/ 2147483647 h 287"/>
                  <a:gd name="T64" fmla="*/ 2147483647 w 339"/>
                  <a:gd name="T65" fmla="*/ 2147483647 h 287"/>
                  <a:gd name="T66" fmla="*/ 2147483647 w 339"/>
                  <a:gd name="T67" fmla="*/ 2147483647 h 287"/>
                  <a:gd name="T68" fmla="*/ 0 w 339"/>
                  <a:gd name="T69" fmla="*/ 2147483647 h 287"/>
                  <a:gd name="T70" fmla="*/ 0 w 339"/>
                  <a:gd name="T71" fmla="*/ 2147483647 h 287"/>
                  <a:gd name="T72" fmla="*/ 2147483647 w 339"/>
                  <a:gd name="T73" fmla="*/ 2147483647 h 287"/>
                  <a:gd name="T74" fmla="*/ 2147483647 w 339"/>
                  <a:gd name="T75" fmla="*/ 2147483647 h 287"/>
                  <a:gd name="T76" fmla="*/ 2147483647 w 339"/>
                  <a:gd name="T77" fmla="*/ 2147483647 h 287"/>
                  <a:gd name="T78" fmla="*/ 2147483647 w 339"/>
                  <a:gd name="T79" fmla="*/ 2147483647 h 287"/>
                  <a:gd name="T80" fmla="*/ 2147483647 w 339"/>
                  <a:gd name="T81" fmla="*/ 2147483647 h 28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339" h="287">
                    <a:moveTo>
                      <a:pt x="84" y="162"/>
                    </a:moveTo>
                    <a:cubicBezTo>
                      <a:pt x="84" y="209"/>
                      <a:pt x="122" y="247"/>
                      <a:pt x="169" y="247"/>
                    </a:cubicBezTo>
                    <a:cubicBezTo>
                      <a:pt x="216" y="247"/>
                      <a:pt x="254" y="209"/>
                      <a:pt x="254" y="162"/>
                    </a:cubicBezTo>
                    <a:cubicBezTo>
                      <a:pt x="254" y="115"/>
                      <a:pt x="216" y="77"/>
                      <a:pt x="169" y="77"/>
                    </a:cubicBezTo>
                    <a:cubicBezTo>
                      <a:pt x="122" y="77"/>
                      <a:pt x="84" y="115"/>
                      <a:pt x="84" y="162"/>
                    </a:cubicBezTo>
                    <a:close/>
                    <a:moveTo>
                      <a:pt x="238" y="162"/>
                    </a:moveTo>
                    <a:cubicBezTo>
                      <a:pt x="238" y="200"/>
                      <a:pt x="207" y="231"/>
                      <a:pt x="169" y="231"/>
                    </a:cubicBezTo>
                    <a:cubicBezTo>
                      <a:pt x="131" y="231"/>
                      <a:pt x="100" y="200"/>
                      <a:pt x="100" y="162"/>
                    </a:cubicBezTo>
                    <a:cubicBezTo>
                      <a:pt x="100" y="124"/>
                      <a:pt x="131" y="93"/>
                      <a:pt x="169" y="93"/>
                    </a:cubicBezTo>
                    <a:cubicBezTo>
                      <a:pt x="207" y="93"/>
                      <a:pt x="238" y="124"/>
                      <a:pt x="238" y="162"/>
                    </a:cubicBezTo>
                    <a:close/>
                    <a:moveTo>
                      <a:pt x="331" y="118"/>
                    </a:moveTo>
                    <a:cubicBezTo>
                      <a:pt x="326" y="118"/>
                      <a:pt x="323" y="121"/>
                      <a:pt x="323" y="126"/>
                    </a:cubicBezTo>
                    <a:cubicBezTo>
                      <a:pt x="323" y="240"/>
                      <a:pt x="323" y="240"/>
                      <a:pt x="323" y="240"/>
                    </a:cubicBezTo>
                    <a:cubicBezTo>
                      <a:pt x="323" y="257"/>
                      <a:pt x="309" y="271"/>
                      <a:pt x="292" y="271"/>
                    </a:cubicBezTo>
                    <a:cubicBezTo>
                      <a:pt x="47" y="271"/>
                      <a:pt x="47" y="271"/>
                      <a:pt x="47" y="271"/>
                    </a:cubicBezTo>
                    <a:cubicBezTo>
                      <a:pt x="30" y="271"/>
                      <a:pt x="16" y="257"/>
                      <a:pt x="16" y="240"/>
                    </a:cubicBezTo>
                    <a:cubicBezTo>
                      <a:pt x="16" y="84"/>
                      <a:pt x="16" y="84"/>
                      <a:pt x="16" y="84"/>
                    </a:cubicBezTo>
                    <a:cubicBezTo>
                      <a:pt x="16" y="67"/>
                      <a:pt x="30" y="54"/>
                      <a:pt x="47" y="53"/>
                    </a:cubicBezTo>
                    <a:cubicBezTo>
                      <a:pt x="292" y="53"/>
                      <a:pt x="292" y="53"/>
                      <a:pt x="292" y="53"/>
                    </a:cubicBezTo>
                    <a:cubicBezTo>
                      <a:pt x="309" y="54"/>
                      <a:pt x="323" y="67"/>
                      <a:pt x="323" y="84"/>
                    </a:cubicBezTo>
                    <a:cubicBezTo>
                      <a:pt x="323" y="94"/>
                      <a:pt x="323" y="94"/>
                      <a:pt x="323" y="94"/>
                    </a:cubicBezTo>
                    <a:cubicBezTo>
                      <a:pt x="323" y="99"/>
                      <a:pt x="326" y="102"/>
                      <a:pt x="331" y="102"/>
                    </a:cubicBezTo>
                    <a:cubicBezTo>
                      <a:pt x="335" y="102"/>
                      <a:pt x="339" y="99"/>
                      <a:pt x="339" y="94"/>
                    </a:cubicBezTo>
                    <a:cubicBezTo>
                      <a:pt x="339" y="84"/>
                      <a:pt x="339" y="84"/>
                      <a:pt x="339" y="84"/>
                    </a:cubicBezTo>
                    <a:cubicBezTo>
                      <a:pt x="339" y="58"/>
                      <a:pt x="318" y="37"/>
                      <a:pt x="292" y="37"/>
                    </a:cubicBezTo>
                    <a:cubicBezTo>
                      <a:pt x="96" y="37"/>
                      <a:pt x="96" y="37"/>
                      <a:pt x="96" y="37"/>
                    </a:cubicBezTo>
                    <a:cubicBezTo>
                      <a:pt x="98" y="35"/>
                      <a:pt x="98" y="33"/>
                      <a:pt x="98" y="30"/>
                    </a:cubicBezTo>
                    <a:cubicBezTo>
                      <a:pt x="98" y="16"/>
                      <a:pt x="98" y="16"/>
                      <a:pt x="98" y="16"/>
                    </a:cubicBezTo>
                    <a:cubicBezTo>
                      <a:pt x="98" y="7"/>
                      <a:pt x="91" y="0"/>
                      <a:pt x="83" y="0"/>
                    </a:cubicBezTo>
                    <a:cubicBezTo>
                      <a:pt x="62" y="0"/>
                      <a:pt x="62" y="0"/>
                      <a:pt x="62" y="0"/>
                    </a:cubicBezTo>
                    <a:cubicBezTo>
                      <a:pt x="53" y="0"/>
                      <a:pt x="46" y="7"/>
                      <a:pt x="46" y="16"/>
                    </a:cubicBezTo>
                    <a:cubicBezTo>
                      <a:pt x="46" y="30"/>
                      <a:pt x="46" y="30"/>
                      <a:pt x="46" y="30"/>
                    </a:cubicBezTo>
                    <a:cubicBezTo>
                      <a:pt x="46" y="33"/>
                      <a:pt x="47" y="35"/>
                      <a:pt x="48" y="37"/>
                    </a:cubicBezTo>
                    <a:cubicBezTo>
                      <a:pt x="47" y="37"/>
                      <a:pt x="47" y="37"/>
                      <a:pt x="47" y="37"/>
                    </a:cubicBezTo>
                    <a:cubicBezTo>
                      <a:pt x="21" y="37"/>
                      <a:pt x="0" y="58"/>
                      <a:pt x="0" y="84"/>
                    </a:cubicBezTo>
                    <a:cubicBezTo>
                      <a:pt x="0" y="240"/>
                      <a:pt x="0" y="240"/>
                      <a:pt x="0" y="240"/>
                    </a:cubicBezTo>
                    <a:cubicBezTo>
                      <a:pt x="0" y="266"/>
                      <a:pt x="21" y="287"/>
                      <a:pt x="47" y="287"/>
                    </a:cubicBezTo>
                    <a:cubicBezTo>
                      <a:pt x="292" y="287"/>
                      <a:pt x="292" y="287"/>
                      <a:pt x="292" y="287"/>
                    </a:cubicBezTo>
                    <a:cubicBezTo>
                      <a:pt x="318" y="287"/>
                      <a:pt x="339" y="266"/>
                      <a:pt x="339" y="240"/>
                    </a:cubicBezTo>
                    <a:cubicBezTo>
                      <a:pt x="339" y="126"/>
                      <a:pt x="339" y="126"/>
                      <a:pt x="339" y="126"/>
                    </a:cubicBezTo>
                    <a:cubicBezTo>
                      <a:pt x="339" y="121"/>
                      <a:pt x="335" y="118"/>
                      <a:pt x="331"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32" name="Freeform 3"/>
              <p:cNvSpPr>
                <a:spLocks noChangeAspect="1" noEditPoints="1"/>
              </p:cNvSpPr>
              <p:nvPr/>
            </p:nvSpPr>
            <p:spPr bwMode="auto">
              <a:xfrm>
                <a:off x="5341228" y="2687934"/>
                <a:ext cx="190684" cy="71171"/>
              </a:xfrm>
              <a:custGeom>
                <a:avLst/>
                <a:gdLst>
                  <a:gd name="T0" fmla="*/ 2147483647 w 482"/>
                  <a:gd name="T1" fmla="*/ 2147483647 h 184"/>
                  <a:gd name="T2" fmla="*/ 2147483647 w 482"/>
                  <a:gd name="T3" fmla="*/ 2147483647 h 184"/>
                  <a:gd name="T4" fmla="*/ 2147483647 w 482"/>
                  <a:gd name="T5" fmla="*/ 2147483647 h 184"/>
                  <a:gd name="T6" fmla="*/ 2147483647 w 482"/>
                  <a:gd name="T7" fmla="*/ 2147483647 h 184"/>
                  <a:gd name="T8" fmla="*/ 2147483647 w 482"/>
                  <a:gd name="T9" fmla="*/ 2147483647 h 184"/>
                  <a:gd name="T10" fmla="*/ 2147483647 w 482"/>
                  <a:gd name="T11" fmla="*/ 2147483647 h 184"/>
                  <a:gd name="T12" fmla="*/ 2147483647 w 482"/>
                  <a:gd name="T13" fmla="*/ 2147483647 h 184"/>
                  <a:gd name="T14" fmla="*/ 2147483647 w 482"/>
                  <a:gd name="T15" fmla="*/ 0 h 184"/>
                  <a:gd name="T16" fmla="*/ 0 w 482"/>
                  <a:gd name="T17" fmla="*/ 2147483647 h 184"/>
                  <a:gd name="T18" fmla="*/ 2147483647 w 482"/>
                  <a:gd name="T19" fmla="*/ 2147483647 h 184"/>
                  <a:gd name="T20" fmla="*/ 2147483647 w 482"/>
                  <a:gd name="T21" fmla="*/ 2147483647 h 184"/>
                  <a:gd name="T22" fmla="*/ 2147483647 w 482"/>
                  <a:gd name="T23" fmla="*/ 2147483647 h 184"/>
                  <a:gd name="T24" fmla="*/ 2147483647 w 482"/>
                  <a:gd name="T25" fmla="*/ 2147483647 h 184"/>
                  <a:gd name="T26" fmla="*/ 2147483647 w 482"/>
                  <a:gd name="T27" fmla="*/ 2147483647 h 184"/>
                  <a:gd name="T28" fmla="*/ 2147483647 w 482"/>
                  <a:gd name="T29" fmla="*/ 2147483647 h 184"/>
                  <a:gd name="T30" fmla="*/ 2147483647 w 482"/>
                  <a:gd name="T31" fmla="*/ 2147483647 h 184"/>
                  <a:gd name="T32" fmla="*/ 2147483647 w 482"/>
                  <a:gd name="T33" fmla="*/ 2147483647 h 184"/>
                  <a:gd name="T34" fmla="*/ 2147483647 w 482"/>
                  <a:gd name="T35" fmla="*/ 2147483647 h 184"/>
                  <a:gd name="T36" fmla="*/ 2147483647 w 482"/>
                  <a:gd name="T37" fmla="*/ 2147483647 h 184"/>
                  <a:gd name="T38" fmla="*/ 2147483647 w 482"/>
                  <a:gd name="T39" fmla="*/ 2147483647 h 184"/>
                  <a:gd name="T40" fmla="*/ 2147483647 w 482"/>
                  <a:gd name="T41" fmla="*/ 2147483647 h 184"/>
                  <a:gd name="T42" fmla="*/ 2147483647 w 482"/>
                  <a:gd name="T43" fmla="*/ 2147483647 h 184"/>
                  <a:gd name="T44" fmla="*/ 2147483647 w 482"/>
                  <a:gd name="T45" fmla="*/ 2147483647 h 184"/>
                  <a:gd name="T46" fmla="*/ 2147483647 w 482"/>
                  <a:gd name="T47" fmla="*/ 2147483647 h 184"/>
                  <a:gd name="T48" fmla="*/ 2147483647 w 482"/>
                  <a:gd name="T49" fmla="*/ 2147483647 h 184"/>
                  <a:gd name="T50" fmla="*/ 2147483647 w 482"/>
                  <a:gd name="T51" fmla="*/ 2147483647 h 184"/>
                  <a:gd name="T52" fmla="*/ 2147483647 w 482"/>
                  <a:gd name="T53" fmla="*/ 2147483647 h 184"/>
                  <a:gd name="T54" fmla="*/ 2147483647 w 482"/>
                  <a:gd name="T55" fmla="*/ 2147483647 h 184"/>
                  <a:gd name="T56" fmla="*/ 2147483647 w 482"/>
                  <a:gd name="T57" fmla="*/ 2147483647 h 184"/>
                  <a:gd name="T58" fmla="*/ 2147483647 w 482"/>
                  <a:gd name="T59" fmla="*/ 2147483647 h 184"/>
                  <a:gd name="T60" fmla="*/ 2147483647 w 482"/>
                  <a:gd name="T61" fmla="*/ 2147483647 h 184"/>
                  <a:gd name="T62" fmla="*/ 2147483647 w 482"/>
                  <a:gd name="T63" fmla="*/ 2147483647 h 184"/>
                  <a:gd name="T64" fmla="*/ 2147483647 w 482"/>
                  <a:gd name="T65" fmla="*/ 2147483647 h 184"/>
                  <a:gd name="T66" fmla="*/ 2147483647 w 482"/>
                  <a:gd name="T67" fmla="*/ 2147483647 h 18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482" h="184">
                    <a:moveTo>
                      <a:pt x="46" y="134"/>
                    </a:moveTo>
                    <a:cubicBezTo>
                      <a:pt x="436" y="134"/>
                      <a:pt x="436" y="134"/>
                      <a:pt x="436" y="134"/>
                    </a:cubicBezTo>
                    <a:cubicBezTo>
                      <a:pt x="441" y="134"/>
                      <a:pt x="444" y="131"/>
                      <a:pt x="444" y="126"/>
                    </a:cubicBezTo>
                    <a:cubicBezTo>
                      <a:pt x="444" y="122"/>
                      <a:pt x="441" y="118"/>
                      <a:pt x="436" y="118"/>
                    </a:cubicBezTo>
                    <a:cubicBezTo>
                      <a:pt x="46" y="118"/>
                      <a:pt x="46" y="118"/>
                      <a:pt x="46" y="118"/>
                    </a:cubicBezTo>
                    <a:cubicBezTo>
                      <a:pt x="42" y="118"/>
                      <a:pt x="38" y="122"/>
                      <a:pt x="38" y="126"/>
                    </a:cubicBezTo>
                    <a:cubicBezTo>
                      <a:pt x="38" y="131"/>
                      <a:pt x="42" y="134"/>
                      <a:pt x="46" y="134"/>
                    </a:cubicBezTo>
                    <a:close/>
                    <a:moveTo>
                      <a:pt x="142" y="46"/>
                    </a:moveTo>
                    <a:cubicBezTo>
                      <a:pt x="142" y="36"/>
                      <a:pt x="134" y="28"/>
                      <a:pt x="124" y="28"/>
                    </a:cubicBezTo>
                    <a:cubicBezTo>
                      <a:pt x="113" y="28"/>
                      <a:pt x="105" y="36"/>
                      <a:pt x="105" y="46"/>
                    </a:cubicBezTo>
                    <a:cubicBezTo>
                      <a:pt x="105" y="56"/>
                      <a:pt x="113" y="65"/>
                      <a:pt x="124" y="65"/>
                    </a:cubicBezTo>
                    <a:cubicBezTo>
                      <a:pt x="134" y="65"/>
                      <a:pt x="142" y="56"/>
                      <a:pt x="142" y="46"/>
                    </a:cubicBezTo>
                    <a:close/>
                    <a:moveTo>
                      <a:pt x="474" y="48"/>
                    </a:moveTo>
                    <a:cubicBezTo>
                      <a:pt x="479" y="48"/>
                      <a:pt x="482" y="45"/>
                      <a:pt x="482" y="40"/>
                    </a:cubicBezTo>
                    <a:cubicBezTo>
                      <a:pt x="482" y="16"/>
                      <a:pt x="482" y="16"/>
                      <a:pt x="482" y="16"/>
                    </a:cubicBezTo>
                    <a:cubicBezTo>
                      <a:pt x="482" y="7"/>
                      <a:pt x="475" y="0"/>
                      <a:pt x="466" y="0"/>
                    </a:cubicBezTo>
                    <a:cubicBezTo>
                      <a:pt x="16" y="0"/>
                      <a:pt x="16" y="0"/>
                      <a:pt x="16" y="0"/>
                    </a:cubicBezTo>
                    <a:cubicBezTo>
                      <a:pt x="7" y="0"/>
                      <a:pt x="0" y="7"/>
                      <a:pt x="0" y="16"/>
                    </a:cubicBezTo>
                    <a:cubicBezTo>
                      <a:pt x="0" y="147"/>
                      <a:pt x="0" y="147"/>
                      <a:pt x="0" y="147"/>
                    </a:cubicBezTo>
                    <a:cubicBezTo>
                      <a:pt x="0" y="156"/>
                      <a:pt x="7" y="163"/>
                      <a:pt x="16" y="163"/>
                    </a:cubicBezTo>
                    <a:cubicBezTo>
                      <a:pt x="42" y="163"/>
                      <a:pt x="42" y="163"/>
                      <a:pt x="42" y="163"/>
                    </a:cubicBezTo>
                    <a:cubicBezTo>
                      <a:pt x="42" y="174"/>
                      <a:pt x="42" y="174"/>
                      <a:pt x="42" y="174"/>
                    </a:cubicBezTo>
                    <a:cubicBezTo>
                      <a:pt x="42" y="179"/>
                      <a:pt x="46" y="184"/>
                      <a:pt x="52" y="184"/>
                    </a:cubicBezTo>
                    <a:cubicBezTo>
                      <a:pt x="90" y="184"/>
                      <a:pt x="90" y="184"/>
                      <a:pt x="90" y="184"/>
                    </a:cubicBezTo>
                    <a:cubicBezTo>
                      <a:pt x="96" y="184"/>
                      <a:pt x="100" y="179"/>
                      <a:pt x="100" y="174"/>
                    </a:cubicBezTo>
                    <a:cubicBezTo>
                      <a:pt x="100" y="163"/>
                      <a:pt x="100" y="163"/>
                      <a:pt x="100" y="163"/>
                    </a:cubicBezTo>
                    <a:cubicBezTo>
                      <a:pt x="382" y="163"/>
                      <a:pt x="382" y="163"/>
                      <a:pt x="382" y="163"/>
                    </a:cubicBezTo>
                    <a:cubicBezTo>
                      <a:pt x="382" y="174"/>
                      <a:pt x="382" y="174"/>
                      <a:pt x="382" y="174"/>
                    </a:cubicBezTo>
                    <a:cubicBezTo>
                      <a:pt x="382" y="179"/>
                      <a:pt x="386" y="184"/>
                      <a:pt x="392" y="184"/>
                    </a:cubicBezTo>
                    <a:cubicBezTo>
                      <a:pt x="430" y="184"/>
                      <a:pt x="430" y="184"/>
                      <a:pt x="430" y="184"/>
                    </a:cubicBezTo>
                    <a:cubicBezTo>
                      <a:pt x="436" y="184"/>
                      <a:pt x="440" y="179"/>
                      <a:pt x="440" y="174"/>
                    </a:cubicBezTo>
                    <a:cubicBezTo>
                      <a:pt x="440" y="163"/>
                      <a:pt x="440" y="163"/>
                      <a:pt x="440" y="163"/>
                    </a:cubicBezTo>
                    <a:cubicBezTo>
                      <a:pt x="466" y="163"/>
                      <a:pt x="466" y="163"/>
                      <a:pt x="466" y="163"/>
                    </a:cubicBezTo>
                    <a:cubicBezTo>
                      <a:pt x="475" y="163"/>
                      <a:pt x="482" y="156"/>
                      <a:pt x="482" y="147"/>
                    </a:cubicBezTo>
                    <a:cubicBezTo>
                      <a:pt x="482" y="72"/>
                      <a:pt x="482" y="72"/>
                      <a:pt x="482" y="72"/>
                    </a:cubicBezTo>
                    <a:cubicBezTo>
                      <a:pt x="482" y="67"/>
                      <a:pt x="479" y="64"/>
                      <a:pt x="474" y="64"/>
                    </a:cubicBezTo>
                    <a:cubicBezTo>
                      <a:pt x="470" y="64"/>
                      <a:pt x="466" y="67"/>
                      <a:pt x="466" y="72"/>
                    </a:cubicBezTo>
                    <a:cubicBezTo>
                      <a:pt x="466" y="72"/>
                      <a:pt x="466" y="72"/>
                      <a:pt x="466" y="72"/>
                    </a:cubicBezTo>
                    <a:cubicBezTo>
                      <a:pt x="466" y="147"/>
                      <a:pt x="466" y="147"/>
                      <a:pt x="466" y="147"/>
                    </a:cubicBezTo>
                    <a:cubicBezTo>
                      <a:pt x="16" y="147"/>
                      <a:pt x="16" y="147"/>
                      <a:pt x="16" y="147"/>
                    </a:cubicBezTo>
                    <a:cubicBezTo>
                      <a:pt x="16" y="16"/>
                      <a:pt x="16" y="16"/>
                      <a:pt x="16" y="16"/>
                    </a:cubicBezTo>
                    <a:cubicBezTo>
                      <a:pt x="466" y="16"/>
                      <a:pt x="466" y="16"/>
                      <a:pt x="466" y="16"/>
                    </a:cubicBezTo>
                    <a:cubicBezTo>
                      <a:pt x="466" y="40"/>
                      <a:pt x="466" y="40"/>
                      <a:pt x="466" y="40"/>
                    </a:cubicBezTo>
                    <a:cubicBezTo>
                      <a:pt x="466" y="45"/>
                      <a:pt x="470" y="48"/>
                      <a:pt x="474" y="48"/>
                    </a:cubicBezTo>
                    <a:close/>
                    <a:moveTo>
                      <a:pt x="49" y="88"/>
                    </a:moveTo>
                    <a:cubicBezTo>
                      <a:pt x="78" y="88"/>
                      <a:pt x="78" y="88"/>
                      <a:pt x="78" y="88"/>
                    </a:cubicBezTo>
                    <a:cubicBezTo>
                      <a:pt x="82" y="88"/>
                      <a:pt x="86" y="84"/>
                      <a:pt x="86" y="80"/>
                    </a:cubicBezTo>
                    <a:cubicBezTo>
                      <a:pt x="86" y="36"/>
                      <a:pt x="86" y="36"/>
                      <a:pt x="86" y="36"/>
                    </a:cubicBezTo>
                    <a:cubicBezTo>
                      <a:pt x="86" y="32"/>
                      <a:pt x="82" y="28"/>
                      <a:pt x="78" y="28"/>
                    </a:cubicBezTo>
                    <a:cubicBezTo>
                      <a:pt x="49" y="28"/>
                      <a:pt x="49" y="28"/>
                      <a:pt x="49" y="28"/>
                    </a:cubicBezTo>
                    <a:cubicBezTo>
                      <a:pt x="44" y="28"/>
                      <a:pt x="41" y="32"/>
                      <a:pt x="41" y="36"/>
                    </a:cubicBezTo>
                    <a:cubicBezTo>
                      <a:pt x="41" y="80"/>
                      <a:pt x="41" y="80"/>
                      <a:pt x="41" y="80"/>
                    </a:cubicBezTo>
                    <a:cubicBezTo>
                      <a:pt x="41" y="84"/>
                      <a:pt x="44" y="88"/>
                      <a:pt x="49" y="88"/>
                    </a:cubicBezTo>
                    <a:close/>
                    <a:moveTo>
                      <a:pt x="310" y="46"/>
                    </a:moveTo>
                    <a:cubicBezTo>
                      <a:pt x="310" y="36"/>
                      <a:pt x="302" y="28"/>
                      <a:pt x="292" y="28"/>
                    </a:cubicBezTo>
                    <a:cubicBezTo>
                      <a:pt x="281" y="28"/>
                      <a:pt x="273" y="36"/>
                      <a:pt x="273" y="46"/>
                    </a:cubicBezTo>
                    <a:cubicBezTo>
                      <a:pt x="273" y="56"/>
                      <a:pt x="281" y="65"/>
                      <a:pt x="292" y="65"/>
                    </a:cubicBezTo>
                    <a:cubicBezTo>
                      <a:pt x="302" y="65"/>
                      <a:pt x="310" y="56"/>
                      <a:pt x="310" y="46"/>
                    </a:cubicBezTo>
                    <a:close/>
                    <a:moveTo>
                      <a:pt x="254" y="46"/>
                    </a:moveTo>
                    <a:cubicBezTo>
                      <a:pt x="254" y="36"/>
                      <a:pt x="246" y="28"/>
                      <a:pt x="236" y="28"/>
                    </a:cubicBezTo>
                    <a:cubicBezTo>
                      <a:pt x="225" y="28"/>
                      <a:pt x="217" y="36"/>
                      <a:pt x="217" y="46"/>
                    </a:cubicBezTo>
                    <a:cubicBezTo>
                      <a:pt x="217" y="56"/>
                      <a:pt x="225" y="65"/>
                      <a:pt x="236" y="65"/>
                    </a:cubicBezTo>
                    <a:cubicBezTo>
                      <a:pt x="246" y="65"/>
                      <a:pt x="254" y="56"/>
                      <a:pt x="254" y="46"/>
                    </a:cubicBezTo>
                    <a:close/>
                    <a:moveTo>
                      <a:pt x="198" y="46"/>
                    </a:moveTo>
                    <a:cubicBezTo>
                      <a:pt x="198" y="36"/>
                      <a:pt x="190" y="28"/>
                      <a:pt x="180" y="28"/>
                    </a:cubicBezTo>
                    <a:cubicBezTo>
                      <a:pt x="169" y="28"/>
                      <a:pt x="161" y="36"/>
                      <a:pt x="161" y="46"/>
                    </a:cubicBezTo>
                    <a:cubicBezTo>
                      <a:pt x="161" y="56"/>
                      <a:pt x="169" y="65"/>
                      <a:pt x="180" y="65"/>
                    </a:cubicBezTo>
                    <a:cubicBezTo>
                      <a:pt x="190" y="65"/>
                      <a:pt x="198" y="56"/>
                      <a:pt x="198"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33" name="Freeform 3"/>
              <p:cNvSpPr>
                <a:spLocks noChangeAspect="1" noEditPoints="1"/>
              </p:cNvSpPr>
              <p:nvPr/>
            </p:nvSpPr>
            <p:spPr bwMode="auto">
              <a:xfrm>
                <a:off x="5598561" y="2650876"/>
                <a:ext cx="189681" cy="180065"/>
              </a:xfrm>
              <a:custGeom>
                <a:avLst/>
                <a:gdLst>
                  <a:gd name="T0" fmla="*/ 2147483647 w 479"/>
                  <a:gd name="T1" fmla="*/ 2147483647 h 465"/>
                  <a:gd name="T2" fmla="*/ 2147483647 w 479"/>
                  <a:gd name="T3" fmla="*/ 0 h 465"/>
                  <a:gd name="T4" fmla="*/ 2147483647 w 479"/>
                  <a:gd name="T5" fmla="*/ 2147483647 h 465"/>
                  <a:gd name="T6" fmla="*/ 2147483647 w 479"/>
                  <a:gd name="T7" fmla="*/ 2147483647 h 465"/>
                  <a:gd name="T8" fmla="*/ 2147483647 w 479"/>
                  <a:gd name="T9" fmla="*/ 2147483647 h 465"/>
                  <a:gd name="T10" fmla="*/ 2147483647 w 479"/>
                  <a:gd name="T11" fmla="*/ 2147483647 h 465"/>
                  <a:gd name="T12" fmla="*/ 2147483647 w 479"/>
                  <a:gd name="T13" fmla="*/ 2147483647 h 465"/>
                  <a:gd name="T14" fmla="*/ 2147483647 w 479"/>
                  <a:gd name="T15" fmla="*/ 2147483647 h 465"/>
                  <a:gd name="T16" fmla="*/ 2147483647 w 479"/>
                  <a:gd name="T17" fmla="*/ 2147483647 h 465"/>
                  <a:gd name="T18" fmla="*/ 2147483647 w 479"/>
                  <a:gd name="T19" fmla="*/ 2147483647 h 465"/>
                  <a:gd name="T20" fmla="*/ 2147483647 w 479"/>
                  <a:gd name="T21" fmla="*/ 2147483647 h 465"/>
                  <a:gd name="T22" fmla="*/ 2147483647 w 479"/>
                  <a:gd name="T23" fmla="*/ 2147483647 h 465"/>
                  <a:gd name="T24" fmla="*/ 2147483647 w 479"/>
                  <a:gd name="T25" fmla="*/ 2147483647 h 465"/>
                  <a:gd name="T26" fmla="*/ 2147483647 w 479"/>
                  <a:gd name="T27" fmla="*/ 2147483647 h 465"/>
                  <a:gd name="T28" fmla="*/ 2147483647 w 479"/>
                  <a:gd name="T29" fmla="*/ 2147483647 h 465"/>
                  <a:gd name="T30" fmla="*/ 2147483647 w 479"/>
                  <a:gd name="T31" fmla="*/ 2147483647 h 465"/>
                  <a:gd name="T32" fmla="*/ 2147483647 w 479"/>
                  <a:gd name="T33" fmla="*/ 2147483647 h 465"/>
                  <a:gd name="T34" fmla="*/ 2147483647 w 479"/>
                  <a:gd name="T35" fmla="*/ 2147483647 h 465"/>
                  <a:gd name="T36" fmla="*/ 2147483647 w 479"/>
                  <a:gd name="T37" fmla="*/ 2147483647 h 465"/>
                  <a:gd name="T38" fmla="*/ 2147483647 w 479"/>
                  <a:gd name="T39" fmla="*/ 2147483647 h 465"/>
                  <a:gd name="T40" fmla="*/ 2147483647 w 479"/>
                  <a:gd name="T41" fmla="*/ 2147483647 h 465"/>
                  <a:gd name="T42" fmla="*/ 2147483647 w 479"/>
                  <a:gd name="T43" fmla="*/ 2147483647 h 465"/>
                  <a:gd name="T44" fmla="*/ 2147483647 w 479"/>
                  <a:gd name="T45" fmla="*/ 2147483647 h 465"/>
                  <a:gd name="T46" fmla="*/ 2147483647 w 479"/>
                  <a:gd name="T47" fmla="*/ 2147483647 h 465"/>
                  <a:gd name="T48" fmla="*/ 2147483647 w 479"/>
                  <a:gd name="T49" fmla="*/ 2147483647 h 465"/>
                  <a:gd name="T50" fmla="*/ 2147483647 w 479"/>
                  <a:gd name="T51" fmla="*/ 2147483647 h 465"/>
                  <a:gd name="T52" fmla="*/ 2147483647 w 479"/>
                  <a:gd name="T53" fmla="*/ 2147483647 h 465"/>
                  <a:gd name="T54" fmla="*/ 2147483647 w 479"/>
                  <a:gd name="T55" fmla="*/ 2147483647 h 465"/>
                  <a:gd name="T56" fmla="*/ 2147483647 w 479"/>
                  <a:gd name="T57" fmla="*/ 2147483647 h 465"/>
                  <a:gd name="T58" fmla="*/ 2147483647 w 479"/>
                  <a:gd name="T59" fmla="*/ 2147483647 h 465"/>
                  <a:gd name="T60" fmla="*/ 2147483647 w 479"/>
                  <a:gd name="T61" fmla="*/ 2147483647 h 465"/>
                  <a:gd name="T62" fmla="*/ 2147483647 w 479"/>
                  <a:gd name="T63" fmla="*/ 2147483647 h 465"/>
                  <a:gd name="T64" fmla="*/ 2147483647 w 479"/>
                  <a:gd name="T65" fmla="*/ 2147483647 h 465"/>
                  <a:gd name="T66" fmla="*/ 2147483647 w 479"/>
                  <a:gd name="T67" fmla="*/ 2147483647 h 465"/>
                  <a:gd name="T68" fmla="*/ 2147483647 w 479"/>
                  <a:gd name="T69" fmla="*/ 2147483647 h 465"/>
                  <a:gd name="T70" fmla="*/ 2147483647 w 479"/>
                  <a:gd name="T71" fmla="*/ 2147483647 h 465"/>
                  <a:gd name="T72" fmla="*/ 2147483647 w 479"/>
                  <a:gd name="T73" fmla="*/ 2147483647 h 465"/>
                  <a:gd name="T74" fmla="*/ 2147483647 w 479"/>
                  <a:gd name="T75" fmla="*/ 2147483647 h 465"/>
                  <a:gd name="T76" fmla="*/ 2147483647 w 479"/>
                  <a:gd name="T77" fmla="*/ 2147483647 h 465"/>
                  <a:gd name="T78" fmla="*/ 2147483647 w 479"/>
                  <a:gd name="T79" fmla="*/ 2147483647 h 465"/>
                  <a:gd name="T80" fmla="*/ 2147483647 w 479"/>
                  <a:gd name="T81" fmla="*/ 2147483647 h 465"/>
                  <a:gd name="T82" fmla="*/ 2147483647 w 479"/>
                  <a:gd name="T83" fmla="*/ 2147483647 h 465"/>
                  <a:gd name="T84" fmla="*/ 2147483647 w 479"/>
                  <a:gd name="T85" fmla="*/ 2147483647 h 465"/>
                  <a:gd name="T86" fmla="*/ 2147483647 w 479"/>
                  <a:gd name="T87" fmla="*/ 2147483647 h 465"/>
                  <a:gd name="T88" fmla="*/ 2147483647 w 479"/>
                  <a:gd name="T89" fmla="*/ 2147483647 h 465"/>
                  <a:gd name="T90" fmla="*/ 2147483647 w 479"/>
                  <a:gd name="T91" fmla="*/ 2147483647 h 465"/>
                  <a:gd name="T92" fmla="*/ 2147483647 w 479"/>
                  <a:gd name="T93" fmla="*/ 2147483647 h 465"/>
                  <a:gd name="T94" fmla="*/ 2147483647 w 479"/>
                  <a:gd name="T95" fmla="*/ 2147483647 h 465"/>
                  <a:gd name="T96" fmla="*/ 2147483647 w 479"/>
                  <a:gd name="T97" fmla="*/ 2147483647 h 465"/>
                  <a:gd name="T98" fmla="*/ 2147483647 w 479"/>
                  <a:gd name="T99" fmla="*/ 2147483647 h 465"/>
                  <a:gd name="T100" fmla="*/ 2147483647 w 479"/>
                  <a:gd name="T101" fmla="*/ 2147483647 h 465"/>
                  <a:gd name="T102" fmla="*/ 2147483647 w 479"/>
                  <a:gd name="T103" fmla="*/ 2147483647 h 465"/>
                  <a:gd name="T104" fmla="*/ 2147483647 w 479"/>
                  <a:gd name="T105" fmla="*/ 2147483647 h 465"/>
                  <a:gd name="T106" fmla="*/ 2147483647 w 479"/>
                  <a:gd name="T107" fmla="*/ 2147483647 h 465"/>
                  <a:gd name="T108" fmla="*/ 2147483647 w 479"/>
                  <a:gd name="T109" fmla="*/ 2147483647 h 465"/>
                  <a:gd name="T110" fmla="*/ 2147483647 w 479"/>
                  <a:gd name="T111" fmla="*/ 2147483647 h 465"/>
                  <a:gd name="T112" fmla="*/ 2147483647 w 479"/>
                  <a:gd name="T113" fmla="*/ 2147483647 h 465"/>
                  <a:gd name="T114" fmla="*/ 2147483647 w 479"/>
                  <a:gd name="T115" fmla="*/ 2147483647 h 465"/>
                  <a:gd name="T116" fmla="*/ 2147483647 w 479"/>
                  <a:gd name="T117" fmla="*/ 2147483647 h 46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479" h="465">
                    <a:moveTo>
                      <a:pt x="316" y="16"/>
                    </a:moveTo>
                    <a:cubicBezTo>
                      <a:pt x="316" y="16"/>
                      <a:pt x="316" y="16"/>
                      <a:pt x="316" y="16"/>
                    </a:cubicBezTo>
                    <a:cubicBezTo>
                      <a:pt x="382" y="17"/>
                      <a:pt x="436" y="70"/>
                      <a:pt x="436" y="137"/>
                    </a:cubicBezTo>
                    <a:cubicBezTo>
                      <a:pt x="436" y="141"/>
                      <a:pt x="440" y="145"/>
                      <a:pt x="444" y="145"/>
                    </a:cubicBezTo>
                    <a:cubicBezTo>
                      <a:pt x="448" y="145"/>
                      <a:pt x="452" y="141"/>
                      <a:pt x="452" y="137"/>
                    </a:cubicBezTo>
                    <a:cubicBezTo>
                      <a:pt x="452" y="62"/>
                      <a:pt x="391" y="0"/>
                      <a:pt x="316" y="0"/>
                    </a:cubicBezTo>
                    <a:cubicBezTo>
                      <a:pt x="311" y="0"/>
                      <a:pt x="308" y="4"/>
                      <a:pt x="308" y="8"/>
                    </a:cubicBezTo>
                    <a:cubicBezTo>
                      <a:pt x="308" y="13"/>
                      <a:pt x="311" y="16"/>
                      <a:pt x="316" y="16"/>
                    </a:cubicBezTo>
                    <a:close/>
                    <a:moveTo>
                      <a:pt x="316" y="93"/>
                    </a:moveTo>
                    <a:cubicBezTo>
                      <a:pt x="316" y="93"/>
                      <a:pt x="316" y="93"/>
                      <a:pt x="316" y="93"/>
                    </a:cubicBezTo>
                    <a:cubicBezTo>
                      <a:pt x="340" y="93"/>
                      <a:pt x="359" y="113"/>
                      <a:pt x="359" y="137"/>
                    </a:cubicBezTo>
                    <a:cubicBezTo>
                      <a:pt x="359" y="141"/>
                      <a:pt x="363" y="145"/>
                      <a:pt x="367" y="145"/>
                    </a:cubicBezTo>
                    <a:cubicBezTo>
                      <a:pt x="371" y="145"/>
                      <a:pt x="375" y="141"/>
                      <a:pt x="375" y="137"/>
                    </a:cubicBezTo>
                    <a:cubicBezTo>
                      <a:pt x="375" y="104"/>
                      <a:pt x="348" y="77"/>
                      <a:pt x="316" y="77"/>
                    </a:cubicBezTo>
                    <a:cubicBezTo>
                      <a:pt x="311" y="77"/>
                      <a:pt x="308" y="81"/>
                      <a:pt x="308" y="85"/>
                    </a:cubicBezTo>
                    <a:cubicBezTo>
                      <a:pt x="308" y="90"/>
                      <a:pt x="311" y="93"/>
                      <a:pt x="316" y="93"/>
                    </a:cubicBezTo>
                    <a:close/>
                    <a:moveTo>
                      <a:pt x="316" y="55"/>
                    </a:moveTo>
                    <a:cubicBezTo>
                      <a:pt x="316" y="55"/>
                      <a:pt x="316" y="55"/>
                      <a:pt x="316" y="55"/>
                    </a:cubicBezTo>
                    <a:cubicBezTo>
                      <a:pt x="361" y="55"/>
                      <a:pt x="397" y="92"/>
                      <a:pt x="398" y="137"/>
                    </a:cubicBezTo>
                    <a:cubicBezTo>
                      <a:pt x="398" y="141"/>
                      <a:pt x="401" y="145"/>
                      <a:pt x="406" y="145"/>
                    </a:cubicBezTo>
                    <a:cubicBezTo>
                      <a:pt x="410" y="145"/>
                      <a:pt x="414" y="141"/>
                      <a:pt x="414" y="137"/>
                    </a:cubicBezTo>
                    <a:cubicBezTo>
                      <a:pt x="414" y="83"/>
                      <a:pt x="370" y="39"/>
                      <a:pt x="316" y="39"/>
                    </a:cubicBezTo>
                    <a:cubicBezTo>
                      <a:pt x="311" y="39"/>
                      <a:pt x="308" y="43"/>
                      <a:pt x="308" y="47"/>
                    </a:cubicBezTo>
                    <a:cubicBezTo>
                      <a:pt x="308" y="51"/>
                      <a:pt x="311" y="55"/>
                      <a:pt x="316" y="55"/>
                    </a:cubicBezTo>
                    <a:close/>
                    <a:moveTo>
                      <a:pt x="119" y="222"/>
                    </a:moveTo>
                    <a:cubicBezTo>
                      <a:pt x="119" y="258"/>
                      <a:pt x="148" y="287"/>
                      <a:pt x="184" y="287"/>
                    </a:cubicBezTo>
                    <a:cubicBezTo>
                      <a:pt x="221" y="287"/>
                      <a:pt x="250" y="258"/>
                      <a:pt x="250" y="222"/>
                    </a:cubicBezTo>
                    <a:cubicBezTo>
                      <a:pt x="250" y="185"/>
                      <a:pt x="221" y="156"/>
                      <a:pt x="184" y="156"/>
                    </a:cubicBezTo>
                    <a:cubicBezTo>
                      <a:pt x="148" y="156"/>
                      <a:pt x="119" y="185"/>
                      <a:pt x="119" y="222"/>
                    </a:cubicBezTo>
                    <a:close/>
                    <a:moveTo>
                      <a:pt x="201" y="186"/>
                    </a:moveTo>
                    <a:cubicBezTo>
                      <a:pt x="201" y="205"/>
                      <a:pt x="201" y="205"/>
                      <a:pt x="201" y="205"/>
                    </a:cubicBezTo>
                    <a:cubicBezTo>
                      <a:pt x="220" y="205"/>
                      <a:pt x="220" y="205"/>
                      <a:pt x="220" y="205"/>
                    </a:cubicBezTo>
                    <a:cubicBezTo>
                      <a:pt x="225" y="205"/>
                      <a:pt x="230" y="210"/>
                      <a:pt x="230" y="215"/>
                    </a:cubicBezTo>
                    <a:cubicBezTo>
                      <a:pt x="230" y="228"/>
                      <a:pt x="230" y="228"/>
                      <a:pt x="230" y="228"/>
                    </a:cubicBezTo>
                    <a:cubicBezTo>
                      <a:pt x="230" y="234"/>
                      <a:pt x="225" y="238"/>
                      <a:pt x="220" y="238"/>
                    </a:cubicBezTo>
                    <a:cubicBezTo>
                      <a:pt x="201" y="238"/>
                      <a:pt x="201" y="238"/>
                      <a:pt x="201" y="238"/>
                    </a:cubicBezTo>
                    <a:cubicBezTo>
                      <a:pt x="201" y="257"/>
                      <a:pt x="201" y="257"/>
                      <a:pt x="201" y="257"/>
                    </a:cubicBezTo>
                    <a:cubicBezTo>
                      <a:pt x="201" y="263"/>
                      <a:pt x="196" y="267"/>
                      <a:pt x="191" y="267"/>
                    </a:cubicBezTo>
                    <a:cubicBezTo>
                      <a:pt x="178" y="267"/>
                      <a:pt x="178" y="267"/>
                      <a:pt x="178" y="267"/>
                    </a:cubicBezTo>
                    <a:cubicBezTo>
                      <a:pt x="172" y="267"/>
                      <a:pt x="168" y="263"/>
                      <a:pt x="168" y="257"/>
                    </a:cubicBezTo>
                    <a:cubicBezTo>
                      <a:pt x="168" y="238"/>
                      <a:pt x="168" y="238"/>
                      <a:pt x="168" y="238"/>
                    </a:cubicBezTo>
                    <a:cubicBezTo>
                      <a:pt x="149" y="238"/>
                      <a:pt x="149" y="238"/>
                      <a:pt x="149" y="238"/>
                    </a:cubicBezTo>
                    <a:cubicBezTo>
                      <a:pt x="143" y="238"/>
                      <a:pt x="139" y="234"/>
                      <a:pt x="139" y="228"/>
                    </a:cubicBezTo>
                    <a:cubicBezTo>
                      <a:pt x="139" y="215"/>
                      <a:pt x="139" y="215"/>
                      <a:pt x="139" y="215"/>
                    </a:cubicBezTo>
                    <a:cubicBezTo>
                      <a:pt x="139" y="210"/>
                      <a:pt x="143" y="205"/>
                      <a:pt x="149" y="205"/>
                    </a:cubicBezTo>
                    <a:cubicBezTo>
                      <a:pt x="168" y="205"/>
                      <a:pt x="168" y="205"/>
                      <a:pt x="168" y="205"/>
                    </a:cubicBezTo>
                    <a:cubicBezTo>
                      <a:pt x="168" y="186"/>
                      <a:pt x="168" y="186"/>
                      <a:pt x="168" y="186"/>
                    </a:cubicBezTo>
                    <a:cubicBezTo>
                      <a:pt x="168" y="181"/>
                      <a:pt x="172" y="176"/>
                      <a:pt x="178" y="176"/>
                    </a:cubicBezTo>
                    <a:cubicBezTo>
                      <a:pt x="191" y="176"/>
                      <a:pt x="191" y="176"/>
                      <a:pt x="191" y="176"/>
                    </a:cubicBezTo>
                    <a:cubicBezTo>
                      <a:pt x="196" y="176"/>
                      <a:pt x="201" y="181"/>
                      <a:pt x="201" y="186"/>
                    </a:cubicBezTo>
                    <a:close/>
                    <a:moveTo>
                      <a:pt x="468" y="372"/>
                    </a:moveTo>
                    <a:cubicBezTo>
                      <a:pt x="462" y="364"/>
                      <a:pt x="451" y="359"/>
                      <a:pt x="440" y="359"/>
                    </a:cubicBezTo>
                    <a:cubicBezTo>
                      <a:pt x="433" y="359"/>
                      <a:pt x="427" y="361"/>
                      <a:pt x="420" y="364"/>
                    </a:cubicBezTo>
                    <a:cubicBezTo>
                      <a:pt x="414" y="366"/>
                      <a:pt x="409" y="368"/>
                      <a:pt x="404" y="370"/>
                    </a:cubicBezTo>
                    <a:cubicBezTo>
                      <a:pt x="450" y="322"/>
                      <a:pt x="450" y="322"/>
                      <a:pt x="450" y="322"/>
                    </a:cubicBezTo>
                    <a:cubicBezTo>
                      <a:pt x="452" y="319"/>
                      <a:pt x="452" y="314"/>
                      <a:pt x="450" y="311"/>
                    </a:cubicBezTo>
                    <a:cubicBezTo>
                      <a:pt x="448" y="308"/>
                      <a:pt x="443" y="307"/>
                      <a:pt x="440" y="309"/>
                    </a:cubicBezTo>
                    <a:cubicBezTo>
                      <a:pt x="400" y="330"/>
                      <a:pt x="400" y="330"/>
                      <a:pt x="400" y="330"/>
                    </a:cubicBezTo>
                    <a:cubicBezTo>
                      <a:pt x="413" y="311"/>
                      <a:pt x="413" y="311"/>
                      <a:pt x="413" y="311"/>
                    </a:cubicBezTo>
                    <a:cubicBezTo>
                      <a:pt x="415" y="308"/>
                      <a:pt x="415" y="304"/>
                      <a:pt x="412" y="301"/>
                    </a:cubicBezTo>
                    <a:cubicBezTo>
                      <a:pt x="410" y="298"/>
                      <a:pt x="406" y="297"/>
                      <a:pt x="403" y="299"/>
                    </a:cubicBezTo>
                    <a:cubicBezTo>
                      <a:pt x="355" y="320"/>
                      <a:pt x="355" y="320"/>
                      <a:pt x="355" y="320"/>
                    </a:cubicBezTo>
                    <a:cubicBezTo>
                      <a:pt x="400" y="276"/>
                      <a:pt x="400" y="276"/>
                      <a:pt x="400" y="276"/>
                    </a:cubicBezTo>
                    <a:cubicBezTo>
                      <a:pt x="403" y="273"/>
                      <a:pt x="403" y="269"/>
                      <a:pt x="401" y="265"/>
                    </a:cubicBezTo>
                    <a:cubicBezTo>
                      <a:pt x="399" y="262"/>
                      <a:pt x="394" y="261"/>
                      <a:pt x="391" y="263"/>
                    </a:cubicBezTo>
                    <a:cubicBezTo>
                      <a:pt x="345" y="285"/>
                      <a:pt x="345" y="285"/>
                      <a:pt x="345" y="285"/>
                    </a:cubicBezTo>
                    <a:cubicBezTo>
                      <a:pt x="332" y="273"/>
                      <a:pt x="323" y="268"/>
                      <a:pt x="317" y="266"/>
                    </a:cubicBezTo>
                    <a:cubicBezTo>
                      <a:pt x="317" y="197"/>
                      <a:pt x="317" y="197"/>
                      <a:pt x="317" y="197"/>
                    </a:cubicBezTo>
                    <a:cubicBezTo>
                      <a:pt x="317" y="193"/>
                      <a:pt x="313" y="189"/>
                      <a:pt x="309" y="189"/>
                    </a:cubicBezTo>
                    <a:cubicBezTo>
                      <a:pt x="305" y="189"/>
                      <a:pt x="301" y="193"/>
                      <a:pt x="301" y="197"/>
                    </a:cubicBezTo>
                    <a:cubicBezTo>
                      <a:pt x="301" y="197"/>
                      <a:pt x="301" y="197"/>
                      <a:pt x="301" y="197"/>
                    </a:cubicBezTo>
                    <a:cubicBezTo>
                      <a:pt x="301" y="298"/>
                      <a:pt x="301" y="298"/>
                      <a:pt x="301" y="298"/>
                    </a:cubicBezTo>
                    <a:cubicBezTo>
                      <a:pt x="301" y="300"/>
                      <a:pt x="300" y="301"/>
                      <a:pt x="298" y="301"/>
                    </a:cubicBezTo>
                    <a:cubicBezTo>
                      <a:pt x="70" y="301"/>
                      <a:pt x="70" y="301"/>
                      <a:pt x="70" y="301"/>
                    </a:cubicBezTo>
                    <a:cubicBezTo>
                      <a:pt x="69" y="301"/>
                      <a:pt x="68" y="300"/>
                      <a:pt x="68" y="298"/>
                    </a:cubicBezTo>
                    <a:cubicBezTo>
                      <a:pt x="68" y="145"/>
                      <a:pt x="68" y="145"/>
                      <a:pt x="68" y="145"/>
                    </a:cubicBezTo>
                    <a:cubicBezTo>
                      <a:pt x="68" y="144"/>
                      <a:pt x="69" y="142"/>
                      <a:pt x="70" y="142"/>
                    </a:cubicBezTo>
                    <a:cubicBezTo>
                      <a:pt x="298" y="142"/>
                      <a:pt x="298" y="142"/>
                      <a:pt x="298" y="142"/>
                    </a:cubicBezTo>
                    <a:cubicBezTo>
                      <a:pt x="300" y="142"/>
                      <a:pt x="301" y="144"/>
                      <a:pt x="301" y="145"/>
                    </a:cubicBezTo>
                    <a:cubicBezTo>
                      <a:pt x="301" y="165"/>
                      <a:pt x="301" y="165"/>
                      <a:pt x="301" y="165"/>
                    </a:cubicBezTo>
                    <a:cubicBezTo>
                      <a:pt x="301" y="169"/>
                      <a:pt x="305" y="173"/>
                      <a:pt x="309" y="173"/>
                    </a:cubicBezTo>
                    <a:cubicBezTo>
                      <a:pt x="313" y="173"/>
                      <a:pt x="317" y="169"/>
                      <a:pt x="317" y="165"/>
                    </a:cubicBezTo>
                    <a:cubicBezTo>
                      <a:pt x="317" y="145"/>
                      <a:pt x="317" y="145"/>
                      <a:pt x="317" y="145"/>
                    </a:cubicBezTo>
                    <a:cubicBezTo>
                      <a:pt x="317" y="135"/>
                      <a:pt x="309" y="126"/>
                      <a:pt x="298" y="126"/>
                    </a:cubicBezTo>
                    <a:cubicBezTo>
                      <a:pt x="235" y="126"/>
                      <a:pt x="235" y="126"/>
                      <a:pt x="235" y="126"/>
                    </a:cubicBezTo>
                    <a:cubicBezTo>
                      <a:pt x="235" y="120"/>
                      <a:pt x="235" y="120"/>
                      <a:pt x="235" y="120"/>
                    </a:cubicBezTo>
                    <a:cubicBezTo>
                      <a:pt x="235" y="110"/>
                      <a:pt x="227" y="102"/>
                      <a:pt x="217" y="102"/>
                    </a:cubicBezTo>
                    <a:cubicBezTo>
                      <a:pt x="151" y="102"/>
                      <a:pt x="151" y="102"/>
                      <a:pt x="151" y="102"/>
                    </a:cubicBezTo>
                    <a:cubicBezTo>
                      <a:pt x="142" y="102"/>
                      <a:pt x="133" y="110"/>
                      <a:pt x="133" y="120"/>
                    </a:cubicBezTo>
                    <a:cubicBezTo>
                      <a:pt x="133" y="126"/>
                      <a:pt x="133" y="126"/>
                      <a:pt x="133" y="126"/>
                    </a:cubicBezTo>
                    <a:cubicBezTo>
                      <a:pt x="70" y="126"/>
                      <a:pt x="70" y="126"/>
                      <a:pt x="70" y="126"/>
                    </a:cubicBezTo>
                    <a:cubicBezTo>
                      <a:pt x="60" y="126"/>
                      <a:pt x="52" y="135"/>
                      <a:pt x="52" y="145"/>
                    </a:cubicBezTo>
                    <a:cubicBezTo>
                      <a:pt x="52" y="298"/>
                      <a:pt x="52" y="298"/>
                      <a:pt x="52" y="298"/>
                    </a:cubicBezTo>
                    <a:cubicBezTo>
                      <a:pt x="52" y="309"/>
                      <a:pt x="60" y="317"/>
                      <a:pt x="70" y="317"/>
                    </a:cubicBezTo>
                    <a:cubicBezTo>
                      <a:pt x="298" y="317"/>
                      <a:pt x="298" y="317"/>
                      <a:pt x="298" y="317"/>
                    </a:cubicBezTo>
                    <a:cubicBezTo>
                      <a:pt x="309" y="317"/>
                      <a:pt x="317" y="309"/>
                      <a:pt x="317" y="298"/>
                    </a:cubicBezTo>
                    <a:cubicBezTo>
                      <a:pt x="317" y="283"/>
                      <a:pt x="317" y="283"/>
                      <a:pt x="317" y="283"/>
                    </a:cubicBezTo>
                    <a:cubicBezTo>
                      <a:pt x="322" y="286"/>
                      <a:pt x="328" y="291"/>
                      <a:pt x="337" y="300"/>
                    </a:cubicBezTo>
                    <a:cubicBezTo>
                      <a:pt x="340" y="302"/>
                      <a:pt x="343" y="303"/>
                      <a:pt x="346" y="301"/>
                    </a:cubicBezTo>
                    <a:cubicBezTo>
                      <a:pt x="356" y="297"/>
                      <a:pt x="356" y="297"/>
                      <a:pt x="356" y="297"/>
                    </a:cubicBezTo>
                    <a:cubicBezTo>
                      <a:pt x="313" y="340"/>
                      <a:pt x="313" y="340"/>
                      <a:pt x="313" y="340"/>
                    </a:cubicBezTo>
                    <a:cubicBezTo>
                      <a:pt x="311" y="342"/>
                      <a:pt x="310" y="347"/>
                      <a:pt x="312" y="350"/>
                    </a:cubicBezTo>
                    <a:cubicBezTo>
                      <a:pt x="315" y="353"/>
                      <a:pt x="319" y="354"/>
                      <a:pt x="322" y="353"/>
                    </a:cubicBezTo>
                    <a:cubicBezTo>
                      <a:pt x="383" y="325"/>
                      <a:pt x="383" y="325"/>
                      <a:pt x="383" y="325"/>
                    </a:cubicBezTo>
                    <a:cubicBezTo>
                      <a:pt x="368" y="347"/>
                      <a:pt x="368" y="347"/>
                      <a:pt x="368" y="347"/>
                    </a:cubicBezTo>
                    <a:cubicBezTo>
                      <a:pt x="366" y="350"/>
                      <a:pt x="366" y="354"/>
                      <a:pt x="369" y="357"/>
                    </a:cubicBezTo>
                    <a:cubicBezTo>
                      <a:pt x="371" y="360"/>
                      <a:pt x="375" y="360"/>
                      <a:pt x="378" y="359"/>
                    </a:cubicBezTo>
                    <a:cubicBezTo>
                      <a:pt x="407" y="344"/>
                      <a:pt x="407" y="344"/>
                      <a:pt x="407" y="344"/>
                    </a:cubicBezTo>
                    <a:cubicBezTo>
                      <a:pt x="369" y="385"/>
                      <a:pt x="369" y="385"/>
                      <a:pt x="369" y="385"/>
                    </a:cubicBezTo>
                    <a:cubicBezTo>
                      <a:pt x="367" y="387"/>
                      <a:pt x="366" y="390"/>
                      <a:pt x="367" y="393"/>
                    </a:cubicBezTo>
                    <a:cubicBezTo>
                      <a:pt x="369" y="396"/>
                      <a:pt x="372" y="398"/>
                      <a:pt x="375" y="398"/>
                    </a:cubicBezTo>
                    <a:cubicBezTo>
                      <a:pt x="375" y="398"/>
                      <a:pt x="375" y="398"/>
                      <a:pt x="375" y="398"/>
                    </a:cubicBezTo>
                    <a:cubicBezTo>
                      <a:pt x="377" y="398"/>
                      <a:pt x="377" y="398"/>
                      <a:pt x="379" y="397"/>
                    </a:cubicBezTo>
                    <a:cubicBezTo>
                      <a:pt x="382" y="396"/>
                      <a:pt x="392" y="393"/>
                      <a:pt x="426" y="379"/>
                    </a:cubicBezTo>
                    <a:cubicBezTo>
                      <a:pt x="431" y="376"/>
                      <a:pt x="436" y="375"/>
                      <a:pt x="440" y="375"/>
                    </a:cubicBezTo>
                    <a:cubicBezTo>
                      <a:pt x="454" y="375"/>
                      <a:pt x="462" y="387"/>
                      <a:pt x="462" y="399"/>
                    </a:cubicBezTo>
                    <a:cubicBezTo>
                      <a:pt x="462" y="409"/>
                      <a:pt x="458" y="419"/>
                      <a:pt x="445" y="424"/>
                    </a:cubicBezTo>
                    <a:cubicBezTo>
                      <a:pt x="412" y="438"/>
                      <a:pt x="389" y="448"/>
                      <a:pt x="358" y="448"/>
                    </a:cubicBezTo>
                    <a:cubicBezTo>
                      <a:pt x="350" y="448"/>
                      <a:pt x="341" y="447"/>
                      <a:pt x="332" y="446"/>
                    </a:cubicBezTo>
                    <a:cubicBezTo>
                      <a:pt x="309" y="442"/>
                      <a:pt x="293" y="430"/>
                      <a:pt x="276" y="418"/>
                    </a:cubicBezTo>
                    <a:cubicBezTo>
                      <a:pt x="260" y="407"/>
                      <a:pt x="244" y="396"/>
                      <a:pt x="222" y="394"/>
                    </a:cubicBezTo>
                    <a:cubicBezTo>
                      <a:pt x="222" y="367"/>
                      <a:pt x="222" y="367"/>
                      <a:pt x="222" y="367"/>
                    </a:cubicBezTo>
                    <a:cubicBezTo>
                      <a:pt x="222" y="354"/>
                      <a:pt x="211" y="343"/>
                      <a:pt x="198" y="343"/>
                    </a:cubicBezTo>
                    <a:cubicBezTo>
                      <a:pt x="76" y="343"/>
                      <a:pt x="76" y="343"/>
                      <a:pt x="76" y="343"/>
                    </a:cubicBezTo>
                    <a:cubicBezTo>
                      <a:pt x="65" y="343"/>
                      <a:pt x="56" y="350"/>
                      <a:pt x="53" y="359"/>
                    </a:cubicBezTo>
                    <a:cubicBezTo>
                      <a:pt x="16" y="359"/>
                      <a:pt x="16" y="359"/>
                      <a:pt x="16" y="359"/>
                    </a:cubicBezTo>
                    <a:cubicBezTo>
                      <a:pt x="7" y="359"/>
                      <a:pt x="0" y="366"/>
                      <a:pt x="0" y="375"/>
                    </a:cubicBezTo>
                    <a:cubicBezTo>
                      <a:pt x="0" y="433"/>
                      <a:pt x="0" y="433"/>
                      <a:pt x="0" y="433"/>
                    </a:cubicBezTo>
                    <a:cubicBezTo>
                      <a:pt x="0" y="442"/>
                      <a:pt x="7" y="449"/>
                      <a:pt x="16" y="449"/>
                    </a:cubicBezTo>
                    <a:cubicBezTo>
                      <a:pt x="53" y="449"/>
                      <a:pt x="53" y="449"/>
                      <a:pt x="53" y="449"/>
                    </a:cubicBezTo>
                    <a:cubicBezTo>
                      <a:pt x="56" y="458"/>
                      <a:pt x="65" y="465"/>
                      <a:pt x="76" y="465"/>
                    </a:cubicBezTo>
                    <a:cubicBezTo>
                      <a:pt x="198" y="465"/>
                      <a:pt x="198" y="465"/>
                      <a:pt x="198" y="465"/>
                    </a:cubicBezTo>
                    <a:cubicBezTo>
                      <a:pt x="211" y="465"/>
                      <a:pt x="222" y="454"/>
                      <a:pt x="222" y="441"/>
                    </a:cubicBezTo>
                    <a:cubicBezTo>
                      <a:pt x="222" y="410"/>
                      <a:pt x="222" y="410"/>
                      <a:pt x="222" y="410"/>
                    </a:cubicBezTo>
                    <a:cubicBezTo>
                      <a:pt x="238" y="412"/>
                      <a:pt x="252" y="421"/>
                      <a:pt x="267" y="431"/>
                    </a:cubicBezTo>
                    <a:cubicBezTo>
                      <a:pt x="284" y="443"/>
                      <a:pt x="302" y="457"/>
                      <a:pt x="329" y="462"/>
                    </a:cubicBezTo>
                    <a:cubicBezTo>
                      <a:pt x="340" y="463"/>
                      <a:pt x="349" y="464"/>
                      <a:pt x="358" y="464"/>
                    </a:cubicBezTo>
                    <a:cubicBezTo>
                      <a:pt x="358" y="464"/>
                      <a:pt x="358" y="464"/>
                      <a:pt x="358" y="464"/>
                    </a:cubicBezTo>
                    <a:cubicBezTo>
                      <a:pt x="393" y="464"/>
                      <a:pt x="419" y="453"/>
                      <a:pt x="451" y="439"/>
                    </a:cubicBezTo>
                    <a:cubicBezTo>
                      <a:pt x="470" y="431"/>
                      <a:pt x="479" y="415"/>
                      <a:pt x="478" y="399"/>
                    </a:cubicBezTo>
                    <a:cubicBezTo>
                      <a:pt x="478" y="389"/>
                      <a:pt x="475" y="380"/>
                      <a:pt x="468" y="372"/>
                    </a:cubicBezTo>
                    <a:close/>
                    <a:moveTo>
                      <a:pt x="149" y="120"/>
                    </a:moveTo>
                    <a:cubicBezTo>
                      <a:pt x="149" y="119"/>
                      <a:pt x="150" y="118"/>
                      <a:pt x="151" y="118"/>
                    </a:cubicBezTo>
                    <a:cubicBezTo>
                      <a:pt x="217" y="118"/>
                      <a:pt x="217" y="118"/>
                      <a:pt x="217" y="118"/>
                    </a:cubicBezTo>
                    <a:cubicBezTo>
                      <a:pt x="218" y="118"/>
                      <a:pt x="219" y="119"/>
                      <a:pt x="219" y="120"/>
                    </a:cubicBezTo>
                    <a:cubicBezTo>
                      <a:pt x="219" y="126"/>
                      <a:pt x="219" y="126"/>
                      <a:pt x="219" y="126"/>
                    </a:cubicBezTo>
                    <a:cubicBezTo>
                      <a:pt x="149" y="126"/>
                      <a:pt x="149" y="126"/>
                      <a:pt x="149" y="126"/>
                    </a:cubicBezTo>
                    <a:lnTo>
                      <a:pt x="149" y="120"/>
                    </a:lnTo>
                    <a:close/>
                    <a:moveTo>
                      <a:pt x="50" y="432"/>
                    </a:moveTo>
                    <a:cubicBezTo>
                      <a:pt x="50" y="435"/>
                      <a:pt x="48" y="437"/>
                      <a:pt x="45" y="437"/>
                    </a:cubicBezTo>
                    <a:cubicBezTo>
                      <a:pt x="32" y="437"/>
                      <a:pt x="32" y="437"/>
                      <a:pt x="32" y="437"/>
                    </a:cubicBezTo>
                    <a:cubicBezTo>
                      <a:pt x="29" y="437"/>
                      <a:pt x="27" y="435"/>
                      <a:pt x="27" y="432"/>
                    </a:cubicBezTo>
                    <a:cubicBezTo>
                      <a:pt x="27" y="417"/>
                      <a:pt x="27" y="417"/>
                      <a:pt x="27" y="417"/>
                    </a:cubicBezTo>
                    <a:cubicBezTo>
                      <a:pt x="27" y="415"/>
                      <a:pt x="29" y="412"/>
                      <a:pt x="32" y="412"/>
                    </a:cubicBezTo>
                    <a:cubicBezTo>
                      <a:pt x="45" y="412"/>
                      <a:pt x="45" y="412"/>
                      <a:pt x="45" y="412"/>
                    </a:cubicBezTo>
                    <a:cubicBezTo>
                      <a:pt x="48" y="412"/>
                      <a:pt x="50" y="415"/>
                      <a:pt x="50" y="417"/>
                    </a:cubicBezTo>
                    <a:lnTo>
                      <a:pt x="50" y="432"/>
                    </a:lnTo>
                    <a:close/>
                    <a:moveTo>
                      <a:pt x="50" y="391"/>
                    </a:moveTo>
                    <a:cubicBezTo>
                      <a:pt x="50" y="394"/>
                      <a:pt x="48" y="396"/>
                      <a:pt x="45" y="396"/>
                    </a:cubicBezTo>
                    <a:cubicBezTo>
                      <a:pt x="32" y="396"/>
                      <a:pt x="32" y="396"/>
                      <a:pt x="32" y="396"/>
                    </a:cubicBezTo>
                    <a:cubicBezTo>
                      <a:pt x="29" y="396"/>
                      <a:pt x="27" y="394"/>
                      <a:pt x="27" y="391"/>
                    </a:cubicBezTo>
                    <a:cubicBezTo>
                      <a:pt x="27" y="376"/>
                      <a:pt x="27" y="376"/>
                      <a:pt x="27" y="376"/>
                    </a:cubicBezTo>
                    <a:cubicBezTo>
                      <a:pt x="27" y="374"/>
                      <a:pt x="29" y="372"/>
                      <a:pt x="32" y="372"/>
                    </a:cubicBezTo>
                    <a:cubicBezTo>
                      <a:pt x="45" y="372"/>
                      <a:pt x="45" y="372"/>
                      <a:pt x="45" y="372"/>
                    </a:cubicBezTo>
                    <a:cubicBezTo>
                      <a:pt x="48" y="372"/>
                      <a:pt x="50" y="374"/>
                      <a:pt x="50" y="376"/>
                    </a:cubicBezTo>
                    <a:lnTo>
                      <a:pt x="50" y="391"/>
                    </a:lnTo>
                    <a:close/>
                    <a:moveTo>
                      <a:pt x="206" y="401"/>
                    </a:moveTo>
                    <a:cubicBezTo>
                      <a:pt x="206" y="401"/>
                      <a:pt x="206" y="401"/>
                      <a:pt x="206" y="401"/>
                    </a:cubicBezTo>
                    <a:cubicBezTo>
                      <a:pt x="206" y="401"/>
                      <a:pt x="206" y="401"/>
                      <a:pt x="206" y="401"/>
                    </a:cubicBezTo>
                    <a:cubicBezTo>
                      <a:pt x="206" y="441"/>
                      <a:pt x="206" y="441"/>
                      <a:pt x="206" y="441"/>
                    </a:cubicBezTo>
                    <a:cubicBezTo>
                      <a:pt x="206" y="446"/>
                      <a:pt x="202" y="449"/>
                      <a:pt x="198" y="449"/>
                    </a:cubicBezTo>
                    <a:cubicBezTo>
                      <a:pt x="76" y="449"/>
                      <a:pt x="76" y="449"/>
                      <a:pt x="76" y="449"/>
                    </a:cubicBezTo>
                    <a:cubicBezTo>
                      <a:pt x="71" y="449"/>
                      <a:pt x="68" y="446"/>
                      <a:pt x="68" y="441"/>
                    </a:cubicBezTo>
                    <a:cubicBezTo>
                      <a:pt x="68" y="367"/>
                      <a:pt x="68" y="367"/>
                      <a:pt x="68" y="367"/>
                    </a:cubicBezTo>
                    <a:cubicBezTo>
                      <a:pt x="68" y="363"/>
                      <a:pt x="71" y="359"/>
                      <a:pt x="76" y="359"/>
                    </a:cubicBezTo>
                    <a:cubicBezTo>
                      <a:pt x="198" y="359"/>
                      <a:pt x="198" y="359"/>
                      <a:pt x="198" y="359"/>
                    </a:cubicBezTo>
                    <a:cubicBezTo>
                      <a:pt x="202" y="359"/>
                      <a:pt x="206" y="363"/>
                      <a:pt x="206" y="367"/>
                    </a:cubicBezTo>
                    <a:lnTo>
                      <a:pt x="206" y="4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34" name="Freeform 3"/>
              <p:cNvSpPr>
                <a:spLocks noChangeAspect="1" noEditPoints="1"/>
              </p:cNvSpPr>
              <p:nvPr/>
            </p:nvSpPr>
            <p:spPr bwMode="auto">
              <a:xfrm>
                <a:off x="4948006" y="2619430"/>
                <a:ext cx="74732" cy="180393"/>
              </a:xfrm>
              <a:custGeom>
                <a:avLst/>
                <a:gdLst>
                  <a:gd name="T0" fmla="*/ 2147483647 w 189"/>
                  <a:gd name="T1" fmla="*/ 2147483647 h 466"/>
                  <a:gd name="T2" fmla="*/ 2147483647 w 189"/>
                  <a:gd name="T3" fmla="*/ 2147483647 h 466"/>
                  <a:gd name="T4" fmla="*/ 2147483647 w 189"/>
                  <a:gd name="T5" fmla="*/ 2147483647 h 466"/>
                  <a:gd name="T6" fmla="*/ 2147483647 w 189"/>
                  <a:gd name="T7" fmla="*/ 2147483647 h 466"/>
                  <a:gd name="T8" fmla="*/ 2147483647 w 189"/>
                  <a:gd name="T9" fmla="*/ 2147483647 h 466"/>
                  <a:gd name="T10" fmla="*/ 2147483647 w 189"/>
                  <a:gd name="T11" fmla="*/ 2147483647 h 466"/>
                  <a:gd name="T12" fmla="*/ 2147483647 w 189"/>
                  <a:gd name="T13" fmla="*/ 2147483647 h 466"/>
                  <a:gd name="T14" fmla="*/ 2147483647 w 189"/>
                  <a:gd name="T15" fmla="*/ 2147483647 h 466"/>
                  <a:gd name="T16" fmla="*/ 2147483647 w 189"/>
                  <a:gd name="T17" fmla="*/ 2147483647 h 466"/>
                  <a:gd name="T18" fmla="*/ 2147483647 w 189"/>
                  <a:gd name="T19" fmla="*/ 2147483647 h 466"/>
                  <a:gd name="T20" fmla="*/ 2147483647 w 189"/>
                  <a:gd name="T21" fmla="*/ 2147483647 h 466"/>
                  <a:gd name="T22" fmla="*/ 2147483647 w 189"/>
                  <a:gd name="T23" fmla="*/ 2147483647 h 466"/>
                  <a:gd name="T24" fmla="*/ 2147483647 w 189"/>
                  <a:gd name="T25" fmla="*/ 2147483647 h 466"/>
                  <a:gd name="T26" fmla="*/ 2147483647 w 189"/>
                  <a:gd name="T27" fmla="*/ 2147483647 h 466"/>
                  <a:gd name="T28" fmla="*/ 2147483647 w 189"/>
                  <a:gd name="T29" fmla="*/ 2147483647 h 466"/>
                  <a:gd name="T30" fmla="*/ 2147483647 w 189"/>
                  <a:gd name="T31" fmla="*/ 2147483647 h 466"/>
                  <a:gd name="T32" fmla="*/ 2147483647 w 189"/>
                  <a:gd name="T33" fmla="*/ 2147483647 h 466"/>
                  <a:gd name="T34" fmla="*/ 2147483647 w 189"/>
                  <a:gd name="T35" fmla="*/ 2147483647 h 466"/>
                  <a:gd name="T36" fmla="*/ 2147483647 w 189"/>
                  <a:gd name="T37" fmla="*/ 2147483647 h 466"/>
                  <a:gd name="T38" fmla="*/ 2147483647 w 189"/>
                  <a:gd name="T39" fmla="*/ 2147483647 h 466"/>
                  <a:gd name="T40" fmla="*/ 2147483647 w 189"/>
                  <a:gd name="T41" fmla="*/ 2147483647 h 466"/>
                  <a:gd name="T42" fmla="*/ 2147483647 w 189"/>
                  <a:gd name="T43" fmla="*/ 2147483647 h 466"/>
                  <a:gd name="T44" fmla="*/ 2147483647 w 189"/>
                  <a:gd name="T45" fmla="*/ 2147483647 h 466"/>
                  <a:gd name="T46" fmla="*/ 2147483647 w 189"/>
                  <a:gd name="T47" fmla="*/ 2147483647 h 466"/>
                  <a:gd name="T48" fmla="*/ 2147483647 w 189"/>
                  <a:gd name="T49" fmla="*/ 2147483647 h 466"/>
                  <a:gd name="T50" fmla="*/ 2147483647 w 189"/>
                  <a:gd name="T51" fmla="*/ 2147483647 h 466"/>
                  <a:gd name="T52" fmla="*/ 2147483647 w 189"/>
                  <a:gd name="T53" fmla="*/ 2147483647 h 466"/>
                  <a:gd name="T54" fmla="*/ 2147483647 w 189"/>
                  <a:gd name="T55" fmla="*/ 2147483647 h 466"/>
                  <a:gd name="T56" fmla="*/ 2147483647 w 189"/>
                  <a:gd name="T57" fmla="*/ 2147483647 h 466"/>
                  <a:gd name="T58" fmla="*/ 2147483647 w 189"/>
                  <a:gd name="T59" fmla="*/ 2147483647 h 466"/>
                  <a:gd name="T60" fmla="*/ 2147483647 w 189"/>
                  <a:gd name="T61" fmla="*/ 2147483647 h 466"/>
                  <a:gd name="T62" fmla="*/ 2147483647 w 189"/>
                  <a:gd name="T63" fmla="*/ 2147483647 h 466"/>
                  <a:gd name="T64" fmla="*/ 2147483647 w 189"/>
                  <a:gd name="T65" fmla="*/ 2147483647 h 466"/>
                  <a:gd name="T66" fmla="*/ 2147483647 w 189"/>
                  <a:gd name="T67" fmla="*/ 2147483647 h 466"/>
                  <a:gd name="T68" fmla="*/ 2147483647 w 189"/>
                  <a:gd name="T69" fmla="*/ 2147483647 h 466"/>
                  <a:gd name="T70" fmla="*/ 2147483647 w 189"/>
                  <a:gd name="T71" fmla="*/ 2147483647 h 466"/>
                  <a:gd name="T72" fmla="*/ 2147483647 w 189"/>
                  <a:gd name="T73" fmla="*/ 2147483647 h 466"/>
                  <a:gd name="T74" fmla="*/ 2147483647 w 189"/>
                  <a:gd name="T75" fmla="*/ 2147483647 h 466"/>
                  <a:gd name="T76" fmla="*/ 2147483647 w 189"/>
                  <a:gd name="T77" fmla="*/ 2147483647 h 466"/>
                  <a:gd name="T78" fmla="*/ 2147483647 w 189"/>
                  <a:gd name="T79" fmla="*/ 2147483647 h 466"/>
                  <a:gd name="T80" fmla="*/ 2147483647 w 189"/>
                  <a:gd name="T81" fmla="*/ 0 h 466"/>
                  <a:gd name="T82" fmla="*/ 2147483647 w 189"/>
                  <a:gd name="T83" fmla="*/ 0 h 466"/>
                  <a:gd name="T84" fmla="*/ 2147483647 w 189"/>
                  <a:gd name="T85" fmla="*/ 2147483647 h 466"/>
                  <a:gd name="T86" fmla="*/ 2147483647 w 189"/>
                  <a:gd name="T87" fmla="*/ 2147483647 h 466"/>
                  <a:gd name="T88" fmla="*/ 0 w 189"/>
                  <a:gd name="T89" fmla="*/ 2147483647 h 466"/>
                  <a:gd name="T90" fmla="*/ 2147483647 w 189"/>
                  <a:gd name="T91" fmla="*/ 2147483647 h 466"/>
                  <a:gd name="T92" fmla="*/ 2147483647 w 189"/>
                  <a:gd name="T93" fmla="*/ 2147483647 h 466"/>
                  <a:gd name="T94" fmla="*/ 2147483647 w 189"/>
                  <a:gd name="T95" fmla="*/ 2147483647 h 466"/>
                  <a:gd name="T96" fmla="*/ 2147483647 w 189"/>
                  <a:gd name="T97" fmla="*/ 2147483647 h 466"/>
                  <a:gd name="T98" fmla="*/ 2147483647 w 189"/>
                  <a:gd name="T99" fmla="*/ 2147483647 h 466"/>
                  <a:gd name="T100" fmla="*/ 2147483647 w 189"/>
                  <a:gd name="T101" fmla="*/ 2147483647 h 466"/>
                  <a:gd name="T102" fmla="*/ 2147483647 w 189"/>
                  <a:gd name="T103" fmla="*/ 2147483647 h 466"/>
                  <a:gd name="T104" fmla="*/ 2147483647 w 189"/>
                  <a:gd name="T105" fmla="*/ 2147483647 h 466"/>
                  <a:gd name="T106" fmla="*/ 2147483647 w 189"/>
                  <a:gd name="T107" fmla="*/ 2147483647 h 466"/>
                  <a:gd name="T108" fmla="*/ 2147483647 w 189"/>
                  <a:gd name="T109" fmla="*/ 2147483647 h 46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89" h="466">
                    <a:moveTo>
                      <a:pt x="144" y="292"/>
                    </a:moveTo>
                    <a:cubicBezTo>
                      <a:pt x="144" y="83"/>
                      <a:pt x="144" y="83"/>
                      <a:pt x="144" y="83"/>
                    </a:cubicBezTo>
                    <a:cubicBezTo>
                      <a:pt x="144" y="79"/>
                      <a:pt x="141" y="75"/>
                      <a:pt x="136" y="75"/>
                    </a:cubicBezTo>
                    <a:cubicBezTo>
                      <a:pt x="132" y="75"/>
                      <a:pt x="128" y="79"/>
                      <a:pt x="128" y="83"/>
                    </a:cubicBezTo>
                    <a:cubicBezTo>
                      <a:pt x="128" y="107"/>
                      <a:pt x="128" y="107"/>
                      <a:pt x="128" y="107"/>
                    </a:cubicBezTo>
                    <a:cubicBezTo>
                      <a:pt x="94" y="107"/>
                      <a:pt x="94" y="107"/>
                      <a:pt x="94" y="107"/>
                    </a:cubicBezTo>
                    <a:cubicBezTo>
                      <a:pt x="90" y="107"/>
                      <a:pt x="86" y="110"/>
                      <a:pt x="86" y="115"/>
                    </a:cubicBezTo>
                    <a:cubicBezTo>
                      <a:pt x="86" y="119"/>
                      <a:pt x="90" y="123"/>
                      <a:pt x="94" y="123"/>
                    </a:cubicBezTo>
                    <a:cubicBezTo>
                      <a:pt x="128" y="123"/>
                      <a:pt x="128" y="123"/>
                      <a:pt x="128" y="123"/>
                    </a:cubicBezTo>
                    <a:cubicBezTo>
                      <a:pt x="128" y="146"/>
                      <a:pt x="128" y="146"/>
                      <a:pt x="128" y="146"/>
                    </a:cubicBezTo>
                    <a:cubicBezTo>
                      <a:pt x="94" y="146"/>
                      <a:pt x="94" y="146"/>
                      <a:pt x="94" y="146"/>
                    </a:cubicBezTo>
                    <a:cubicBezTo>
                      <a:pt x="90" y="146"/>
                      <a:pt x="86" y="150"/>
                      <a:pt x="86" y="154"/>
                    </a:cubicBezTo>
                    <a:cubicBezTo>
                      <a:pt x="86" y="159"/>
                      <a:pt x="90" y="162"/>
                      <a:pt x="94" y="162"/>
                    </a:cubicBezTo>
                    <a:cubicBezTo>
                      <a:pt x="128" y="162"/>
                      <a:pt x="128" y="162"/>
                      <a:pt x="128" y="162"/>
                    </a:cubicBezTo>
                    <a:cubicBezTo>
                      <a:pt x="128" y="186"/>
                      <a:pt x="128" y="186"/>
                      <a:pt x="128" y="186"/>
                    </a:cubicBezTo>
                    <a:cubicBezTo>
                      <a:pt x="94" y="186"/>
                      <a:pt x="94" y="186"/>
                      <a:pt x="94" y="186"/>
                    </a:cubicBezTo>
                    <a:cubicBezTo>
                      <a:pt x="90" y="186"/>
                      <a:pt x="86" y="190"/>
                      <a:pt x="86" y="194"/>
                    </a:cubicBezTo>
                    <a:cubicBezTo>
                      <a:pt x="86" y="199"/>
                      <a:pt x="90" y="202"/>
                      <a:pt x="94" y="202"/>
                    </a:cubicBezTo>
                    <a:cubicBezTo>
                      <a:pt x="128" y="202"/>
                      <a:pt x="128" y="202"/>
                      <a:pt x="128" y="202"/>
                    </a:cubicBezTo>
                    <a:cubicBezTo>
                      <a:pt x="128" y="226"/>
                      <a:pt x="128" y="226"/>
                      <a:pt x="128" y="226"/>
                    </a:cubicBezTo>
                    <a:cubicBezTo>
                      <a:pt x="94" y="226"/>
                      <a:pt x="94" y="226"/>
                      <a:pt x="94" y="226"/>
                    </a:cubicBezTo>
                    <a:cubicBezTo>
                      <a:pt x="90" y="226"/>
                      <a:pt x="86" y="230"/>
                      <a:pt x="86" y="234"/>
                    </a:cubicBezTo>
                    <a:cubicBezTo>
                      <a:pt x="86" y="239"/>
                      <a:pt x="90" y="242"/>
                      <a:pt x="94" y="242"/>
                    </a:cubicBezTo>
                    <a:cubicBezTo>
                      <a:pt x="128" y="242"/>
                      <a:pt x="128" y="242"/>
                      <a:pt x="128" y="242"/>
                    </a:cubicBezTo>
                    <a:cubicBezTo>
                      <a:pt x="128" y="266"/>
                      <a:pt x="128" y="266"/>
                      <a:pt x="128" y="266"/>
                    </a:cubicBezTo>
                    <a:cubicBezTo>
                      <a:pt x="94" y="266"/>
                      <a:pt x="94" y="266"/>
                      <a:pt x="94" y="266"/>
                    </a:cubicBezTo>
                    <a:cubicBezTo>
                      <a:pt x="90" y="266"/>
                      <a:pt x="86" y="270"/>
                      <a:pt x="86" y="274"/>
                    </a:cubicBezTo>
                    <a:cubicBezTo>
                      <a:pt x="86" y="278"/>
                      <a:pt x="90" y="282"/>
                      <a:pt x="94" y="282"/>
                    </a:cubicBezTo>
                    <a:cubicBezTo>
                      <a:pt x="128" y="282"/>
                      <a:pt x="128" y="282"/>
                      <a:pt x="128" y="282"/>
                    </a:cubicBezTo>
                    <a:cubicBezTo>
                      <a:pt x="128" y="306"/>
                      <a:pt x="128" y="306"/>
                      <a:pt x="128" y="306"/>
                    </a:cubicBezTo>
                    <a:cubicBezTo>
                      <a:pt x="128" y="312"/>
                      <a:pt x="110" y="319"/>
                      <a:pt x="94" y="319"/>
                    </a:cubicBezTo>
                    <a:cubicBezTo>
                      <a:pt x="78" y="319"/>
                      <a:pt x="60" y="313"/>
                      <a:pt x="60" y="306"/>
                    </a:cubicBezTo>
                    <a:cubicBezTo>
                      <a:pt x="60" y="42"/>
                      <a:pt x="60" y="42"/>
                      <a:pt x="60" y="42"/>
                    </a:cubicBezTo>
                    <a:cubicBezTo>
                      <a:pt x="60" y="27"/>
                      <a:pt x="72" y="16"/>
                      <a:pt x="86" y="16"/>
                    </a:cubicBezTo>
                    <a:cubicBezTo>
                      <a:pt x="102" y="16"/>
                      <a:pt x="102" y="16"/>
                      <a:pt x="102" y="16"/>
                    </a:cubicBezTo>
                    <a:cubicBezTo>
                      <a:pt x="117" y="16"/>
                      <a:pt x="128" y="27"/>
                      <a:pt x="128" y="42"/>
                    </a:cubicBezTo>
                    <a:cubicBezTo>
                      <a:pt x="128" y="51"/>
                      <a:pt x="128" y="51"/>
                      <a:pt x="128" y="51"/>
                    </a:cubicBezTo>
                    <a:cubicBezTo>
                      <a:pt x="128" y="56"/>
                      <a:pt x="132" y="59"/>
                      <a:pt x="136" y="59"/>
                    </a:cubicBezTo>
                    <a:cubicBezTo>
                      <a:pt x="141" y="59"/>
                      <a:pt x="144" y="56"/>
                      <a:pt x="144" y="51"/>
                    </a:cubicBezTo>
                    <a:cubicBezTo>
                      <a:pt x="144" y="42"/>
                      <a:pt x="144" y="42"/>
                      <a:pt x="144" y="42"/>
                    </a:cubicBezTo>
                    <a:cubicBezTo>
                      <a:pt x="144" y="18"/>
                      <a:pt x="126" y="0"/>
                      <a:pt x="102" y="0"/>
                    </a:cubicBezTo>
                    <a:cubicBezTo>
                      <a:pt x="86" y="0"/>
                      <a:pt x="86" y="0"/>
                      <a:pt x="86" y="0"/>
                    </a:cubicBezTo>
                    <a:cubicBezTo>
                      <a:pt x="63" y="0"/>
                      <a:pt x="44" y="18"/>
                      <a:pt x="44" y="42"/>
                    </a:cubicBezTo>
                    <a:cubicBezTo>
                      <a:pt x="44" y="292"/>
                      <a:pt x="44" y="292"/>
                      <a:pt x="44" y="292"/>
                    </a:cubicBezTo>
                    <a:cubicBezTo>
                      <a:pt x="18" y="308"/>
                      <a:pt x="1" y="337"/>
                      <a:pt x="0" y="370"/>
                    </a:cubicBezTo>
                    <a:cubicBezTo>
                      <a:pt x="0" y="422"/>
                      <a:pt x="41" y="465"/>
                      <a:pt x="93" y="466"/>
                    </a:cubicBezTo>
                    <a:cubicBezTo>
                      <a:pt x="145" y="466"/>
                      <a:pt x="188" y="425"/>
                      <a:pt x="188" y="373"/>
                    </a:cubicBezTo>
                    <a:cubicBezTo>
                      <a:pt x="189" y="339"/>
                      <a:pt x="171" y="309"/>
                      <a:pt x="144" y="292"/>
                    </a:cubicBezTo>
                    <a:close/>
                    <a:moveTo>
                      <a:pt x="94" y="446"/>
                    </a:moveTo>
                    <a:cubicBezTo>
                      <a:pt x="90" y="446"/>
                      <a:pt x="86" y="442"/>
                      <a:pt x="86" y="438"/>
                    </a:cubicBezTo>
                    <a:cubicBezTo>
                      <a:pt x="86" y="434"/>
                      <a:pt x="90" y="430"/>
                      <a:pt x="94" y="430"/>
                    </a:cubicBezTo>
                    <a:cubicBezTo>
                      <a:pt x="126" y="430"/>
                      <a:pt x="153" y="404"/>
                      <a:pt x="153" y="372"/>
                    </a:cubicBezTo>
                    <a:cubicBezTo>
                      <a:pt x="153" y="367"/>
                      <a:pt x="156" y="364"/>
                      <a:pt x="161" y="364"/>
                    </a:cubicBezTo>
                    <a:cubicBezTo>
                      <a:pt x="165" y="364"/>
                      <a:pt x="169" y="367"/>
                      <a:pt x="169" y="372"/>
                    </a:cubicBezTo>
                    <a:cubicBezTo>
                      <a:pt x="169" y="413"/>
                      <a:pt x="135" y="446"/>
                      <a:pt x="94" y="4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35" name="Freeform 3"/>
              <p:cNvSpPr>
                <a:spLocks noChangeAspect="1" noEditPoints="1"/>
              </p:cNvSpPr>
              <p:nvPr/>
            </p:nvSpPr>
            <p:spPr bwMode="auto">
              <a:xfrm>
                <a:off x="5970082" y="3040542"/>
                <a:ext cx="91824" cy="156942"/>
              </a:xfrm>
              <a:custGeom>
                <a:avLst/>
                <a:gdLst>
                  <a:gd name="T0" fmla="*/ 2147483647 w 232"/>
                  <a:gd name="T1" fmla="*/ 2147483647 h 405"/>
                  <a:gd name="T2" fmla="*/ 2147483647 w 232"/>
                  <a:gd name="T3" fmla="*/ 2147483647 h 405"/>
                  <a:gd name="T4" fmla="*/ 2147483647 w 232"/>
                  <a:gd name="T5" fmla="*/ 2147483647 h 405"/>
                  <a:gd name="T6" fmla="*/ 2147483647 w 232"/>
                  <a:gd name="T7" fmla="*/ 2147483647 h 405"/>
                  <a:gd name="T8" fmla="*/ 2147483647 w 232"/>
                  <a:gd name="T9" fmla="*/ 2147483647 h 405"/>
                  <a:gd name="T10" fmla="*/ 2147483647 w 232"/>
                  <a:gd name="T11" fmla="*/ 2147483647 h 405"/>
                  <a:gd name="T12" fmla="*/ 2147483647 w 232"/>
                  <a:gd name="T13" fmla="*/ 2147483647 h 405"/>
                  <a:gd name="T14" fmla="*/ 2147483647 w 232"/>
                  <a:gd name="T15" fmla="*/ 2147483647 h 405"/>
                  <a:gd name="T16" fmla="*/ 2147483647 w 232"/>
                  <a:gd name="T17" fmla="*/ 2147483647 h 405"/>
                  <a:gd name="T18" fmla="*/ 2147483647 w 232"/>
                  <a:gd name="T19" fmla="*/ 2147483647 h 405"/>
                  <a:gd name="T20" fmla="*/ 2147483647 w 232"/>
                  <a:gd name="T21" fmla="*/ 2147483647 h 405"/>
                  <a:gd name="T22" fmla="*/ 2147483647 w 232"/>
                  <a:gd name="T23" fmla="*/ 2147483647 h 405"/>
                  <a:gd name="T24" fmla="*/ 2147483647 w 232"/>
                  <a:gd name="T25" fmla="*/ 2147483647 h 405"/>
                  <a:gd name="T26" fmla="*/ 2147483647 w 232"/>
                  <a:gd name="T27" fmla="*/ 2147483647 h 405"/>
                  <a:gd name="T28" fmla="*/ 2147483647 w 232"/>
                  <a:gd name="T29" fmla="*/ 2147483647 h 405"/>
                  <a:gd name="T30" fmla="*/ 2147483647 w 232"/>
                  <a:gd name="T31" fmla="*/ 2147483647 h 405"/>
                  <a:gd name="T32" fmla="*/ 2147483647 w 232"/>
                  <a:gd name="T33" fmla="*/ 2147483647 h 405"/>
                  <a:gd name="T34" fmla="*/ 2147483647 w 232"/>
                  <a:gd name="T35" fmla="*/ 2147483647 h 405"/>
                  <a:gd name="T36" fmla="*/ 2147483647 w 232"/>
                  <a:gd name="T37" fmla="*/ 2147483647 h 405"/>
                  <a:gd name="T38" fmla="*/ 2147483647 w 232"/>
                  <a:gd name="T39" fmla="*/ 2147483647 h 405"/>
                  <a:gd name="T40" fmla="*/ 2147483647 w 232"/>
                  <a:gd name="T41" fmla="*/ 2147483647 h 405"/>
                  <a:gd name="T42" fmla="*/ 2147483647 w 232"/>
                  <a:gd name="T43" fmla="*/ 2147483647 h 405"/>
                  <a:gd name="T44" fmla="*/ 2147483647 w 232"/>
                  <a:gd name="T45" fmla="*/ 2147483647 h 405"/>
                  <a:gd name="T46" fmla="*/ 2147483647 w 232"/>
                  <a:gd name="T47" fmla="*/ 2147483647 h 405"/>
                  <a:gd name="T48" fmla="*/ 2147483647 w 232"/>
                  <a:gd name="T49" fmla="*/ 2147483647 h 405"/>
                  <a:gd name="T50" fmla="*/ 2147483647 w 232"/>
                  <a:gd name="T51" fmla="*/ 2147483647 h 405"/>
                  <a:gd name="T52" fmla="*/ 2147483647 w 232"/>
                  <a:gd name="T53" fmla="*/ 2147483647 h 405"/>
                  <a:gd name="T54" fmla="*/ 2147483647 w 232"/>
                  <a:gd name="T55" fmla="*/ 2147483647 h 405"/>
                  <a:gd name="T56" fmla="*/ 2147483647 w 232"/>
                  <a:gd name="T57" fmla="*/ 2147483647 h 405"/>
                  <a:gd name="T58" fmla="*/ 2147483647 w 232"/>
                  <a:gd name="T59" fmla="*/ 2147483647 h 405"/>
                  <a:gd name="T60" fmla="*/ 2147483647 w 232"/>
                  <a:gd name="T61" fmla="*/ 2147483647 h 405"/>
                  <a:gd name="T62" fmla="*/ 2147483647 w 232"/>
                  <a:gd name="T63" fmla="*/ 2147483647 h 405"/>
                  <a:gd name="T64" fmla="*/ 2147483647 w 232"/>
                  <a:gd name="T65" fmla="*/ 2147483647 h 405"/>
                  <a:gd name="T66" fmla="*/ 2147483647 w 232"/>
                  <a:gd name="T67" fmla="*/ 2147483647 h 405"/>
                  <a:gd name="T68" fmla="*/ 2147483647 w 232"/>
                  <a:gd name="T69" fmla="*/ 2147483647 h 405"/>
                  <a:gd name="T70" fmla="*/ 2147483647 w 232"/>
                  <a:gd name="T71" fmla="*/ 2147483647 h 405"/>
                  <a:gd name="T72" fmla="*/ 2147483647 w 232"/>
                  <a:gd name="T73" fmla="*/ 2147483647 h 405"/>
                  <a:gd name="T74" fmla="*/ 2147483647 w 232"/>
                  <a:gd name="T75" fmla="*/ 2147483647 h 405"/>
                  <a:gd name="T76" fmla="*/ 2147483647 w 232"/>
                  <a:gd name="T77" fmla="*/ 2147483647 h 405"/>
                  <a:gd name="T78" fmla="*/ 2147483647 w 232"/>
                  <a:gd name="T79" fmla="*/ 2147483647 h 405"/>
                  <a:gd name="T80" fmla="*/ 2147483647 w 232"/>
                  <a:gd name="T81" fmla="*/ 2147483647 h 405"/>
                  <a:gd name="T82" fmla="*/ 2147483647 w 232"/>
                  <a:gd name="T83" fmla="*/ 2147483647 h 405"/>
                  <a:gd name="T84" fmla="*/ 2147483647 w 232"/>
                  <a:gd name="T85" fmla="*/ 2147483647 h 405"/>
                  <a:gd name="T86" fmla="*/ 2147483647 w 232"/>
                  <a:gd name="T87" fmla="*/ 2147483647 h 405"/>
                  <a:gd name="T88" fmla="*/ 2147483647 w 232"/>
                  <a:gd name="T89" fmla="*/ 2147483647 h 405"/>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32" h="405">
                    <a:moveTo>
                      <a:pt x="218" y="87"/>
                    </a:moveTo>
                    <a:cubicBezTo>
                      <a:pt x="210" y="94"/>
                      <a:pt x="201" y="103"/>
                      <a:pt x="196" y="108"/>
                    </a:cubicBezTo>
                    <a:cubicBezTo>
                      <a:pt x="164" y="75"/>
                      <a:pt x="164" y="75"/>
                      <a:pt x="164" y="75"/>
                    </a:cubicBezTo>
                    <a:cubicBezTo>
                      <a:pt x="187" y="51"/>
                      <a:pt x="228" y="15"/>
                      <a:pt x="228" y="15"/>
                    </a:cubicBezTo>
                    <a:cubicBezTo>
                      <a:pt x="232" y="12"/>
                      <a:pt x="232" y="7"/>
                      <a:pt x="229" y="3"/>
                    </a:cubicBezTo>
                    <a:cubicBezTo>
                      <a:pt x="226" y="0"/>
                      <a:pt x="221" y="0"/>
                      <a:pt x="218" y="3"/>
                    </a:cubicBezTo>
                    <a:cubicBezTo>
                      <a:pt x="216" y="4"/>
                      <a:pt x="173" y="42"/>
                      <a:pt x="149" y="67"/>
                    </a:cubicBezTo>
                    <a:cubicBezTo>
                      <a:pt x="147" y="66"/>
                      <a:pt x="144" y="66"/>
                      <a:pt x="141" y="66"/>
                    </a:cubicBezTo>
                    <a:cubicBezTo>
                      <a:pt x="133" y="66"/>
                      <a:pt x="126" y="69"/>
                      <a:pt x="120" y="75"/>
                    </a:cubicBezTo>
                    <a:cubicBezTo>
                      <a:pt x="82" y="112"/>
                      <a:pt x="82" y="112"/>
                      <a:pt x="82" y="112"/>
                    </a:cubicBezTo>
                    <a:cubicBezTo>
                      <a:pt x="70" y="124"/>
                      <a:pt x="70" y="142"/>
                      <a:pt x="80" y="154"/>
                    </a:cubicBezTo>
                    <a:cubicBezTo>
                      <a:pt x="76" y="160"/>
                      <a:pt x="69" y="172"/>
                      <a:pt x="63" y="182"/>
                    </a:cubicBezTo>
                    <a:cubicBezTo>
                      <a:pt x="56" y="183"/>
                      <a:pt x="51" y="181"/>
                      <a:pt x="47" y="178"/>
                    </a:cubicBezTo>
                    <a:cubicBezTo>
                      <a:pt x="32" y="166"/>
                      <a:pt x="39" y="125"/>
                      <a:pt x="45" y="105"/>
                    </a:cubicBezTo>
                    <a:cubicBezTo>
                      <a:pt x="46" y="106"/>
                      <a:pt x="48" y="106"/>
                      <a:pt x="50" y="106"/>
                    </a:cubicBezTo>
                    <a:cubicBezTo>
                      <a:pt x="50" y="106"/>
                      <a:pt x="50" y="106"/>
                      <a:pt x="50" y="106"/>
                    </a:cubicBezTo>
                    <a:cubicBezTo>
                      <a:pt x="64" y="106"/>
                      <a:pt x="79" y="96"/>
                      <a:pt x="89" y="81"/>
                    </a:cubicBezTo>
                    <a:cubicBezTo>
                      <a:pt x="105" y="60"/>
                      <a:pt x="105" y="34"/>
                      <a:pt x="89" y="23"/>
                    </a:cubicBezTo>
                    <a:cubicBezTo>
                      <a:pt x="85" y="20"/>
                      <a:pt x="79" y="18"/>
                      <a:pt x="73" y="18"/>
                    </a:cubicBezTo>
                    <a:cubicBezTo>
                      <a:pt x="59" y="18"/>
                      <a:pt x="44" y="28"/>
                      <a:pt x="34" y="43"/>
                    </a:cubicBezTo>
                    <a:cubicBezTo>
                      <a:pt x="27" y="52"/>
                      <a:pt x="23" y="64"/>
                      <a:pt x="22" y="74"/>
                    </a:cubicBezTo>
                    <a:cubicBezTo>
                      <a:pt x="22" y="84"/>
                      <a:pt x="25" y="92"/>
                      <a:pt x="30" y="97"/>
                    </a:cubicBezTo>
                    <a:cubicBezTo>
                      <a:pt x="26" y="111"/>
                      <a:pt x="11" y="169"/>
                      <a:pt x="37" y="191"/>
                    </a:cubicBezTo>
                    <a:cubicBezTo>
                      <a:pt x="42" y="195"/>
                      <a:pt x="48" y="197"/>
                      <a:pt x="56" y="198"/>
                    </a:cubicBezTo>
                    <a:cubicBezTo>
                      <a:pt x="51" y="211"/>
                      <a:pt x="45" y="240"/>
                      <a:pt x="40" y="265"/>
                    </a:cubicBezTo>
                    <a:cubicBezTo>
                      <a:pt x="37" y="280"/>
                      <a:pt x="33" y="297"/>
                      <a:pt x="32" y="300"/>
                    </a:cubicBezTo>
                    <a:cubicBezTo>
                      <a:pt x="32" y="300"/>
                      <a:pt x="31" y="302"/>
                      <a:pt x="30" y="304"/>
                    </a:cubicBezTo>
                    <a:cubicBezTo>
                      <a:pt x="22" y="316"/>
                      <a:pt x="0" y="350"/>
                      <a:pt x="13" y="386"/>
                    </a:cubicBezTo>
                    <a:cubicBezTo>
                      <a:pt x="13" y="387"/>
                      <a:pt x="13" y="387"/>
                      <a:pt x="13" y="387"/>
                    </a:cubicBezTo>
                    <a:cubicBezTo>
                      <a:pt x="19" y="401"/>
                      <a:pt x="24" y="405"/>
                      <a:pt x="34" y="405"/>
                    </a:cubicBezTo>
                    <a:cubicBezTo>
                      <a:pt x="43" y="405"/>
                      <a:pt x="53" y="401"/>
                      <a:pt x="56" y="393"/>
                    </a:cubicBezTo>
                    <a:cubicBezTo>
                      <a:pt x="56" y="391"/>
                      <a:pt x="57" y="388"/>
                      <a:pt x="58" y="384"/>
                    </a:cubicBezTo>
                    <a:cubicBezTo>
                      <a:pt x="74" y="385"/>
                      <a:pt x="81" y="380"/>
                      <a:pt x="87" y="355"/>
                    </a:cubicBezTo>
                    <a:cubicBezTo>
                      <a:pt x="89" y="344"/>
                      <a:pt x="83" y="334"/>
                      <a:pt x="79" y="327"/>
                    </a:cubicBezTo>
                    <a:cubicBezTo>
                      <a:pt x="78" y="325"/>
                      <a:pt x="76" y="322"/>
                      <a:pt x="75" y="320"/>
                    </a:cubicBezTo>
                    <a:cubicBezTo>
                      <a:pt x="132" y="201"/>
                      <a:pt x="132" y="201"/>
                      <a:pt x="132" y="201"/>
                    </a:cubicBezTo>
                    <a:cubicBezTo>
                      <a:pt x="135" y="202"/>
                      <a:pt x="138" y="203"/>
                      <a:pt x="141" y="203"/>
                    </a:cubicBezTo>
                    <a:cubicBezTo>
                      <a:pt x="149" y="203"/>
                      <a:pt x="157" y="200"/>
                      <a:pt x="163" y="194"/>
                    </a:cubicBezTo>
                    <a:cubicBezTo>
                      <a:pt x="178" y="179"/>
                      <a:pt x="178" y="179"/>
                      <a:pt x="178" y="179"/>
                    </a:cubicBezTo>
                    <a:cubicBezTo>
                      <a:pt x="181" y="176"/>
                      <a:pt x="181" y="171"/>
                      <a:pt x="178" y="168"/>
                    </a:cubicBezTo>
                    <a:cubicBezTo>
                      <a:pt x="175" y="165"/>
                      <a:pt x="170" y="165"/>
                      <a:pt x="167" y="168"/>
                    </a:cubicBezTo>
                    <a:cubicBezTo>
                      <a:pt x="152" y="182"/>
                      <a:pt x="152" y="182"/>
                      <a:pt x="152" y="182"/>
                    </a:cubicBezTo>
                    <a:cubicBezTo>
                      <a:pt x="146" y="188"/>
                      <a:pt x="137" y="188"/>
                      <a:pt x="131" y="182"/>
                    </a:cubicBezTo>
                    <a:cubicBezTo>
                      <a:pt x="93" y="145"/>
                      <a:pt x="93" y="145"/>
                      <a:pt x="93" y="145"/>
                    </a:cubicBezTo>
                    <a:cubicBezTo>
                      <a:pt x="87" y="139"/>
                      <a:pt x="87" y="130"/>
                      <a:pt x="93" y="124"/>
                    </a:cubicBezTo>
                    <a:cubicBezTo>
                      <a:pt x="131" y="86"/>
                      <a:pt x="131" y="86"/>
                      <a:pt x="131" y="86"/>
                    </a:cubicBezTo>
                    <a:cubicBezTo>
                      <a:pt x="137" y="80"/>
                      <a:pt x="146" y="80"/>
                      <a:pt x="152" y="86"/>
                    </a:cubicBezTo>
                    <a:cubicBezTo>
                      <a:pt x="190" y="124"/>
                      <a:pt x="190" y="124"/>
                      <a:pt x="190" y="124"/>
                    </a:cubicBezTo>
                    <a:cubicBezTo>
                      <a:pt x="195" y="130"/>
                      <a:pt x="195" y="139"/>
                      <a:pt x="190" y="145"/>
                    </a:cubicBezTo>
                    <a:cubicBezTo>
                      <a:pt x="189" y="145"/>
                      <a:pt x="189" y="145"/>
                      <a:pt x="189" y="145"/>
                    </a:cubicBezTo>
                    <a:cubicBezTo>
                      <a:pt x="186" y="148"/>
                      <a:pt x="186" y="153"/>
                      <a:pt x="189" y="157"/>
                    </a:cubicBezTo>
                    <a:cubicBezTo>
                      <a:pt x="192" y="160"/>
                      <a:pt x="197" y="160"/>
                      <a:pt x="200" y="157"/>
                    </a:cubicBezTo>
                    <a:cubicBezTo>
                      <a:pt x="201" y="156"/>
                      <a:pt x="201" y="156"/>
                      <a:pt x="201" y="156"/>
                    </a:cubicBezTo>
                    <a:cubicBezTo>
                      <a:pt x="211" y="146"/>
                      <a:pt x="213" y="131"/>
                      <a:pt x="207" y="120"/>
                    </a:cubicBezTo>
                    <a:cubicBezTo>
                      <a:pt x="210" y="116"/>
                      <a:pt x="219" y="107"/>
                      <a:pt x="228" y="100"/>
                    </a:cubicBezTo>
                    <a:cubicBezTo>
                      <a:pt x="231" y="97"/>
                      <a:pt x="232" y="92"/>
                      <a:pt x="229" y="89"/>
                    </a:cubicBezTo>
                    <a:cubicBezTo>
                      <a:pt x="227" y="85"/>
                      <a:pt x="221" y="85"/>
                      <a:pt x="218" y="87"/>
                    </a:cubicBezTo>
                    <a:close/>
                    <a:moveTo>
                      <a:pt x="38" y="75"/>
                    </a:moveTo>
                    <a:cubicBezTo>
                      <a:pt x="39" y="67"/>
                      <a:pt x="42" y="59"/>
                      <a:pt x="47" y="52"/>
                    </a:cubicBezTo>
                    <a:cubicBezTo>
                      <a:pt x="55" y="40"/>
                      <a:pt x="66" y="34"/>
                      <a:pt x="73" y="34"/>
                    </a:cubicBezTo>
                    <a:cubicBezTo>
                      <a:pt x="76" y="34"/>
                      <a:pt x="78" y="35"/>
                      <a:pt x="80" y="36"/>
                    </a:cubicBezTo>
                    <a:cubicBezTo>
                      <a:pt x="87" y="41"/>
                      <a:pt x="87" y="57"/>
                      <a:pt x="76" y="72"/>
                    </a:cubicBezTo>
                    <a:cubicBezTo>
                      <a:pt x="68" y="84"/>
                      <a:pt x="57" y="90"/>
                      <a:pt x="50" y="90"/>
                    </a:cubicBezTo>
                    <a:cubicBezTo>
                      <a:pt x="47" y="90"/>
                      <a:pt x="45" y="89"/>
                      <a:pt x="43" y="88"/>
                    </a:cubicBezTo>
                    <a:cubicBezTo>
                      <a:pt x="39" y="85"/>
                      <a:pt x="38" y="78"/>
                      <a:pt x="38" y="75"/>
                    </a:cubicBezTo>
                    <a:close/>
                    <a:moveTo>
                      <a:pt x="119" y="193"/>
                    </a:moveTo>
                    <a:cubicBezTo>
                      <a:pt x="60" y="315"/>
                      <a:pt x="60" y="315"/>
                      <a:pt x="60" y="315"/>
                    </a:cubicBezTo>
                    <a:cubicBezTo>
                      <a:pt x="57" y="321"/>
                      <a:pt x="61" y="328"/>
                      <a:pt x="65" y="335"/>
                    </a:cubicBezTo>
                    <a:cubicBezTo>
                      <a:pt x="68" y="340"/>
                      <a:pt x="72" y="347"/>
                      <a:pt x="71" y="352"/>
                    </a:cubicBezTo>
                    <a:cubicBezTo>
                      <a:pt x="68" y="367"/>
                      <a:pt x="67" y="368"/>
                      <a:pt x="60" y="368"/>
                    </a:cubicBezTo>
                    <a:cubicBezTo>
                      <a:pt x="61" y="365"/>
                      <a:pt x="61" y="362"/>
                      <a:pt x="62" y="359"/>
                    </a:cubicBezTo>
                    <a:cubicBezTo>
                      <a:pt x="62" y="354"/>
                      <a:pt x="59" y="350"/>
                      <a:pt x="55" y="350"/>
                    </a:cubicBezTo>
                    <a:cubicBezTo>
                      <a:pt x="50" y="349"/>
                      <a:pt x="46" y="352"/>
                      <a:pt x="46" y="357"/>
                    </a:cubicBezTo>
                    <a:cubicBezTo>
                      <a:pt x="43" y="375"/>
                      <a:pt x="43" y="375"/>
                      <a:pt x="43" y="375"/>
                    </a:cubicBezTo>
                    <a:cubicBezTo>
                      <a:pt x="43" y="375"/>
                      <a:pt x="43" y="375"/>
                      <a:pt x="43" y="376"/>
                    </a:cubicBezTo>
                    <a:cubicBezTo>
                      <a:pt x="42" y="381"/>
                      <a:pt x="42" y="385"/>
                      <a:pt x="41" y="386"/>
                    </a:cubicBezTo>
                    <a:cubicBezTo>
                      <a:pt x="41" y="387"/>
                      <a:pt x="37" y="389"/>
                      <a:pt x="34" y="389"/>
                    </a:cubicBezTo>
                    <a:cubicBezTo>
                      <a:pt x="33" y="389"/>
                      <a:pt x="33" y="389"/>
                      <a:pt x="33" y="389"/>
                    </a:cubicBezTo>
                    <a:cubicBezTo>
                      <a:pt x="33" y="389"/>
                      <a:pt x="31" y="388"/>
                      <a:pt x="28" y="381"/>
                    </a:cubicBezTo>
                    <a:cubicBezTo>
                      <a:pt x="18" y="352"/>
                      <a:pt x="36" y="324"/>
                      <a:pt x="43" y="312"/>
                    </a:cubicBezTo>
                    <a:cubicBezTo>
                      <a:pt x="45" y="310"/>
                      <a:pt x="46" y="308"/>
                      <a:pt x="47" y="307"/>
                    </a:cubicBezTo>
                    <a:cubicBezTo>
                      <a:pt x="48" y="303"/>
                      <a:pt x="50" y="294"/>
                      <a:pt x="56" y="269"/>
                    </a:cubicBezTo>
                    <a:cubicBezTo>
                      <a:pt x="61" y="244"/>
                      <a:pt x="68" y="210"/>
                      <a:pt x="72" y="200"/>
                    </a:cubicBezTo>
                    <a:cubicBezTo>
                      <a:pt x="72" y="199"/>
                      <a:pt x="73" y="198"/>
                      <a:pt x="73" y="197"/>
                    </a:cubicBezTo>
                    <a:cubicBezTo>
                      <a:pt x="84" y="195"/>
                      <a:pt x="96" y="190"/>
                      <a:pt x="109" y="183"/>
                    </a:cubicBezTo>
                    <a:lnTo>
                      <a:pt x="119" y="193"/>
                    </a:lnTo>
                    <a:close/>
                    <a:moveTo>
                      <a:pt x="92" y="166"/>
                    </a:moveTo>
                    <a:cubicBezTo>
                      <a:pt x="97" y="171"/>
                      <a:pt x="97" y="171"/>
                      <a:pt x="97" y="171"/>
                    </a:cubicBezTo>
                    <a:cubicBezTo>
                      <a:pt x="93" y="173"/>
                      <a:pt x="89" y="175"/>
                      <a:pt x="85" y="177"/>
                    </a:cubicBezTo>
                    <a:cubicBezTo>
                      <a:pt x="87" y="173"/>
                      <a:pt x="90" y="169"/>
                      <a:pt x="92" y="1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36" name="Freeform 3"/>
              <p:cNvSpPr>
                <a:spLocks noChangeAspect="1" noEditPoints="1"/>
              </p:cNvSpPr>
              <p:nvPr/>
            </p:nvSpPr>
            <p:spPr bwMode="auto">
              <a:xfrm>
                <a:off x="4762995" y="3023346"/>
                <a:ext cx="152649" cy="149562"/>
              </a:xfrm>
              <a:custGeom>
                <a:avLst/>
                <a:gdLst>
                  <a:gd name="T0" fmla="*/ 2147483647 w 386"/>
                  <a:gd name="T1" fmla="*/ 2147483647 h 386"/>
                  <a:gd name="T2" fmla="*/ 2147483647 w 386"/>
                  <a:gd name="T3" fmla="*/ 2147483647 h 386"/>
                  <a:gd name="T4" fmla="*/ 2147483647 w 386"/>
                  <a:gd name="T5" fmla="*/ 2147483647 h 386"/>
                  <a:gd name="T6" fmla="*/ 2147483647 w 386"/>
                  <a:gd name="T7" fmla="*/ 2147483647 h 386"/>
                  <a:gd name="T8" fmla="*/ 2147483647 w 386"/>
                  <a:gd name="T9" fmla="*/ 2147483647 h 386"/>
                  <a:gd name="T10" fmla="*/ 2147483647 w 386"/>
                  <a:gd name="T11" fmla="*/ 2147483647 h 386"/>
                  <a:gd name="T12" fmla="*/ 2147483647 w 386"/>
                  <a:gd name="T13" fmla="*/ 2147483647 h 386"/>
                  <a:gd name="T14" fmla="*/ 2147483647 w 386"/>
                  <a:gd name="T15" fmla="*/ 2147483647 h 386"/>
                  <a:gd name="T16" fmla="*/ 2147483647 w 386"/>
                  <a:gd name="T17" fmla="*/ 2147483647 h 386"/>
                  <a:gd name="T18" fmla="*/ 2147483647 w 386"/>
                  <a:gd name="T19" fmla="*/ 2147483647 h 386"/>
                  <a:gd name="T20" fmla="*/ 2147483647 w 386"/>
                  <a:gd name="T21" fmla="*/ 2147483647 h 386"/>
                  <a:gd name="T22" fmla="*/ 2147483647 w 386"/>
                  <a:gd name="T23" fmla="*/ 2147483647 h 386"/>
                  <a:gd name="T24" fmla="*/ 2147483647 w 386"/>
                  <a:gd name="T25" fmla="*/ 2147483647 h 386"/>
                  <a:gd name="T26" fmla="*/ 2147483647 w 386"/>
                  <a:gd name="T27" fmla="*/ 2147483647 h 386"/>
                  <a:gd name="T28" fmla="*/ 2147483647 w 386"/>
                  <a:gd name="T29" fmla="*/ 2147483647 h 386"/>
                  <a:gd name="T30" fmla="*/ 2147483647 w 386"/>
                  <a:gd name="T31" fmla="*/ 2147483647 h 386"/>
                  <a:gd name="T32" fmla="*/ 2147483647 w 386"/>
                  <a:gd name="T33" fmla="*/ 2147483647 h 386"/>
                  <a:gd name="T34" fmla="*/ 2147483647 w 386"/>
                  <a:gd name="T35" fmla="*/ 2147483647 h 386"/>
                  <a:gd name="T36" fmla="*/ 2147483647 w 386"/>
                  <a:gd name="T37" fmla="*/ 2147483647 h 386"/>
                  <a:gd name="T38" fmla="*/ 2147483647 w 386"/>
                  <a:gd name="T39" fmla="*/ 2147483647 h 386"/>
                  <a:gd name="T40" fmla="*/ 2147483647 w 386"/>
                  <a:gd name="T41" fmla="*/ 0 h 386"/>
                  <a:gd name="T42" fmla="*/ 0 w 386"/>
                  <a:gd name="T43" fmla="*/ 2147483647 h 386"/>
                  <a:gd name="T44" fmla="*/ 2147483647 w 386"/>
                  <a:gd name="T45" fmla="*/ 2147483647 h 386"/>
                  <a:gd name="T46" fmla="*/ 2147483647 w 386"/>
                  <a:gd name="T47" fmla="*/ 2147483647 h 386"/>
                  <a:gd name="T48" fmla="*/ 2147483647 w 386"/>
                  <a:gd name="T49" fmla="*/ 2147483647 h 386"/>
                  <a:gd name="T50" fmla="*/ 2147483647 w 386"/>
                  <a:gd name="T51" fmla="*/ 2147483647 h 386"/>
                  <a:gd name="T52" fmla="*/ 2147483647 w 386"/>
                  <a:gd name="T53" fmla="*/ 2147483647 h 386"/>
                  <a:gd name="T54" fmla="*/ 2147483647 w 386"/>
                  <a:gd name="T55" fmla="*/ 2147483647 h 386"/>
                  <a:gd name="T56" fmla="*/ 2147483647 w 386"/>
                  <a:gd name="T57" fmla="*/ 2147483647 h 386"/>
                  <a:gd name="T58" fmla="*/ 2147483647 w 386"/>
                  <a:gd name="T59" fmla="*/ 2147483647 h 386"/>
                  <a:gd name="T60" fmla="*/ 2147483647 w 386"/>
                  <a:gd name="T61" fmla="*/ 2147483647 h 386"/>
                  <a:gd name="T62" fmla="*/ 2147483647 w 386"/>
                  <a:gd name="T63" fmla="*/ 2147483647 h 386"/>
                  <a:gd name="T64" fmla="*/ 2147483647 w 386"/>
                  <a:gd name="T65" fmla="*/ 2147483647 h 386"/>
                  <a:gd name="T66" fmla="*/ 2147483647 w 386"/>
                  <a:gd name="T67" fmla="*/ 2147483647 h 386"/>
                  <a:gd name="T68" fmla="*/ 2147483647 w 386"/>
                  <a:gd name="T69" fmla="*/ 2147483647 h 386"/>
                  <a:gd name="T70" fmla="*/ 2147483647 w 386"/>
                  <a:gd name="T71" fmla="*/ 2147483647 h 386"/>
                  <a:gd name="T72" fmla="*/ 2147483647 w 386"/>
                  <a:gd name="T73" fmla="*/ 2147483647 h 386"/>
                  <a:gd name="T74" fmla="*/ 2147483647 w 386"/>
                  <a:gd name="T75" fmla="*/ 2147483647 h 386"/>
                  <a:gd name="T76" fmla="*/ 2147483647 w 386"/>
                  <a:gd name="T77" fmla="*/ 2147483647 h 386"/>
                  <a:gd name="T78" fmla="*/ 2147483647 w 386"/>
                  <a:gd name="T79" fmla="*/ 2147483647 h 386"/>
                  <a:gd name="T80" fmla="*/ 2147483647 w 386"/>
                  <a:gd name="T81" fmla="*/ 2147483647 h 386"/>
                  <a:gd name="T82" fmla="*/ 2147483647 w 386"/>
                  <a:gd name="T83" fmla="*/ 2147483647 h 38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386" h="386">
                    <a:moveTo>
                      <a:pt x="248" y="193"/>
                    </a:moveTo>
                    <a:cubicBezTo>
                      <a:pt x="248" y="162"/>
                      <a:pt x="224" y="137"/>
                      <a:pt x="193" y="137"/>
                    </a:cubicBezTo>
                    <a:cubicBezTo>
                      <a:pt x="163" y="137"/>
                      <a:pt x="138" y="162"/>
                      <a:pt x="138" y="193"/>
                    </a:cubicBezTo>
                    <a:cubicBezTo>
                      <a:pt x="138" y="223"/>
                      <a:pt x="163" y="248"/>
                      <a:pt x="193" y="248"/>
                    </a:cubicBezTo>
                    <a:cubicBezTo>
                      <a:pt x="224" y="248"/>
                      <a:pt x="248" y="223"/>
                      <a:pt x="248" y="193"/>
                    </a:cubicBezTo>
                    <a:moveTo>
                      <a:pt x="154" y="193"/>
                    </a:moveTo>
                    <a:cubicBezTo>
                      <a:pt x="154" y="171"/>
                      <a:pt x="171" y="153"/>
                      <a:pt x="193" y="153"/>
                    </a:cubicBezTo>
                    <a:cubicBezTo>
                      <a:pt x="215" y="153"/>
                      <a:pt x="232" y="171"/>
                      <a:pt x="232" y="193"/>
                    </a:cubicBezTo>
                    <a:cubicBezTo>
                      <a:pt x="232" y="214"/>
                      <a:pt x="215" y="232"/>
                      <a:pt x="193" y="232"/>
                    </a:cubicBezTo>
                    <a:cubicBezTo>
                      <a:pt x="171" y="232"/>
                      <a:pt x="154" y="214"/>
                      <a:pt x="154" y="193"/>
                    </a:cubicBezTo>
                    <a:moveTo>
                      <a:pt x="340" y="69"/>
                    </a:moveTo>
                    <a:cubicBezTo>
                      <a:pt x="338" y="65"/>
                      <a:pt x="333" y="65"/>
                      <a:pt x="329" y="68"/>
                    </a:cubicBezTo>
                    <a:cubicBezTo>
                      <a:pt x="326" y="71"/>
                      <a:pt x="325" y="76"/>
                      <a:pt x="328" y="79"/>
                    </a:cubicBezTo>
                    <a:cubicBezTo>
                      <a:pt x="355" y="111"/>
                      <a:pt x="370" y="151"/>
                      <a:pt x="370" y="193"/>
                    </a:cubicBezTo>
                    <a:cubicBezTo>
                      <a:pt x="370" y="290"/>
                      <a:pt x="290" y="370"/>
                      <a:pt x="193" y="370"/>
                    </a:cubicBezTo>
                    <a:cubicBezTo>
                      <a:pt x="96" y="370"/>
                      <a:pt x="16" y="290"/>
                      <a:pt x="16" y="193"/>
                    </a:cubicBezTo>
                    <a:cubicBezTo>
                      <a:pt x="16" y="95"/>
                      <a:pt x="96" y="16"/>
                      <a:pt x="193" y="16"/>
                    </a:cubicBezTo>
                    <a:cubicBezTo>
                      <a:pt x="235" y="16"/>
                      <a:pt x="275" y="30"/>
                      <a:pt x="307" y="58"/>
                    </a:cubicBezTo>
                    <a:cubicBezTo>
                      <a:pt x="310" y="60"/>
                      <a:pt x="315" y="60"/>
                      <a:pt x="318" y="57"/>
                    </a:cubicBezTo>
                    <a:cubicBezTo>
                      <a:pt x="321" y="53"/>
                      <a:pt x="320" y="48"/>
                      <a:pt x="317" y="45"/>
                    </a:cubicBezTo>
                    <a:cubicBezTo>
                      <a:pt x="282" y="16"/>
                      <a:pt x="239" y="0"/>
                      <a:pt x="193" y="0"/>
                    </a:cubicBezTo>
                    <a:cubicBezTo>
                      <a:pt x="87" y="0"/>
                      <a:pt x="0" y="87"/>
                      <a:pt x="0" y="193"/>
                    </a:cubicBezTo>
                    <a:cubicBezTo>
                      <a:pt x="0" y="299"/>
                      <a:pt x="87" y="386"/>
                      <a:pt x="193" y="386"/>
                    </a:cubicBezTo>
                    <a:cubicBezTo>
                      <a:pt x="299" y="386"/>
                      <a:pt x="386" y="299"/>
                      <a:pt x="386" y="193"/>
                    </a:cubicBezTo>
                    <a:cubicBezTo>
                      <a:pt x="386" y="147"/>
                      <a:pt x="370" y="104"/>
                      <a:pt x="340" y="69"/>
                    </a:cubicBezTo>
                    <a:moveTo>
                      <a:pt x="193" y="355"/>
                    </a:moveTo>
                    <a:cubicBezTo>
                      <a:pt x="283" y="355"/>
                      <a:pt x="355" y="282"/>
                      <a:pt x="355" y="193"/>
                    </a:cubicBezTo>
                    <a:cubicBezTo>
                      <a:pt x="355" y="188"/>
                      <a:pt x="352" y="185"/>
                      <a:pt x="347" y="185"/>
                    </a:cubicBezTo>
                    <a:cubicBezTo>
                      <a:pt x="343" y="185"/>
                      <a:pt x="339" y="188"/>
                      <a:pt x="339" y="193"/>
                    </a:cubicBezTo>
                    <a:cubicBezTo>
                      <a:pt x="339" y="274"/>
                      <a:pt x="274" y="339"/>
                      <a:pt x="193" y="339"/>
                    </a:cubicBezTo>
                    <a:cubicBezTo>
                      <a:pt x="189" y="339"/>
                      <a:pt x="185" y="343"/>
                      <a:pt x="185" y="347"/>
                    </a:cubicBezTo>
                    <a:cubicBezTo>
                      <a:pt x="185" y="352"/>
                      <a:pt x="189" y="355"/>
                      <a:pt x="193" y="355"/>
                    </a:cubicBezTo>
                    <a:moveTo>
                      <a:pt x="222" y="193"/>
                    </a:moveTo>
                    <a:cubicBezTo>
                      <a:pt x="222" y="177"/>
                      <a:pt x="209" y="164"/>
                      <a:pt x="193" y="164"/>
                    </a:cubicBezTo>
                    <a:cubicBezTo>
                      <a:pt x="177" y="164"/>
                      <a:pt x="164" y="177"/>
                      <a:pt x="164" y="193"/>
                    </a:cubicBezTo>
                    <a:cubicBezTo>
                      <a:pt x="164" y="209"/>
                      <a:pt x="177" y="222"/>
                      <a:pt x="193" y="222"/>
                    </a:cubicBezTo>
                    <a:cubicBezTo>
                      <a:pt x="209" y="222"/>
                      <a:pt x="222" y="209"/>
                      <a:pt x="222" y="193"/>
                    </a:cubicBezTo>
                    <a:moveTo>
                      <a:pt x="180" y="193"/>
                    </a:moveTo>
                    <a:cubicBezTo>
                      <a:pt x="180" y="186"/>
                      <a:pt x="186" y="180"/>
                      <a:pt x="193" y="180"/>
                    </a:cubicBezTo>
                    <a:cubicBezTo>
                      <a:pt x="200" y="180"/>
                      <a:pt x="206" y="186"/>
                      <a:pt x="206" y="193"/>
                    </a:cubicBezTo>
                    <a:cubicBezTo>
                      <a:pt x="206" y="200"/>
                      <a:pt x="200" y="206"/>
                      <a:pt x="193" y="206"/>
                    </a:cubicBezTo>
                    <a:cubicBezTo>
                      <a:pt x="186" y="206"/>
                      <a:pt x="180" y="200"/>
                      <a:pt x="180" y="19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37" name="Freeform 3"/>
              <p:cNvSpPr>
                <a:spLocks noChangeAspect="1" noEditPoints="1"/>
              </p:cNvSpPr>
              <p:nvPr/>
            </p:nvSpPr>
            <p:spPr bwMode="auto">
              <a:xfrm>
                <a:off x="4697442" y="2654430"/>
                <a:ext cx="179792" cy="153006"/>
              </a:xfrm>
              <a:custGeom>
                <a:avLst/>
                <a:gdLst>
                  <a:gd name="T0" fmla="*/ 2147483647 w 454"/>
                  <a:gd name="T1" fmla="*/ 2147483647 h 395"/>
                  <a:gd name="T2" fmla="*/ 2147483647 w 454"/>
                  <a:gd name="T3" fmla="*/ 2147483647 h 395"/>
                  <a:gd name="T4" fmla="*/ 2147483647 w 454"/>
                  <a:gd name="T5" fmla="*/ 2147483647 h 395"/>
                  <a:gd name="T6" fmla="*/ 2147483647 w 454"/>
                  <a:gd name="T7" fmla="*/ 2147483647 h 395"/>
                  <a:gd name="T8" fmla="*/ 2147483647 w 454"/>
                  <a:gd name="T9" fmla="*/ 2147483647 h 395"/>
                  <a:gd name="T10" fmla="*/ 2147483647 w 454"/>
                  <a:gd name="T11" fmla="*/ 2147483647 h 395"/>
                  <a:gd name="T12" fmla="*/ 2147483647 w 454"/>
                  <a:gd name="T13" fmla="*/ 2147483647 h 395"/>
                  <a:gd name="T14" fmla="*/ 2147483647 w 454"/>
                  <a:gd name="T15" fmla="*/ 2147483647 h 395"/>
                  <a:gd name="T16" fmla="*/ 0 w 454"/>
                  <a:gd name="T17" fmla="*/ 2147483647 h 395"/>
                  <a:gd name="T18" fmla="*/ 2147483647 w 454"/>
                  <a:gd name="T19" fmla="*/ 2147483647 h 395"/>
                  <a:gd name="T20" fmla="*/ 2147483647 w 454"/>
                  <a:gd name="T21" fmla="*/ 2147483647 h 395"/>
                  <a:gd name="T22" fmla="*/ 2147483647 w 454"/>
                  <a:gd name="T23" fmla="*/ 2147483647 h 395"/>
                  <a:gd name="T24" fmla="*/ 2147483647 w 454"/>
                  <a:gd name="T25" fmla="*/ 2147483647 h 395"/>
                  <a:gd name="T26" fmla="*/ 2147483647 w 454"/>
                  <a:gd name="T27" fmla="*/ 2147483647 h 395"/>
                  <a:gd name="T28" fmla="*/ 2147483647 w 454"/>
                  <a:gd name="T29" fmla="*/ 2147483647 h 395"/>
                  <a:gd name="T30" fmla="*/ 2147483647 w 454"/>
                  <a:gd name="T31" fmla="*/ 2147483647 h 395"/>
                  <a:gd name="T32" fmla="*/ 2147483647 w 454"/>
                  <a:gd name="T33" fmla="*/ 2147483647 h 395"/>
                  <a:gd name="T34" fmla="*/ 2147483647 w 454"/>
                  <a:gd name="T35" fmla="*/ 2147483647 h 395"/>
                  <a:gd name="T36" fmla="*/ 2147483647 w 454"/>
                  <a:gd name="T37" fmla="*/ 2147483647 h 395"/>
                  <a:gd name="T38" fmla="*/ 2147483647 w 454"/>
                  <a:gd name="T39" fmla="*/ 2147483647 h 395"/>
                  <a:gd name="T40" fmla="*/ 2147483647 w 454"/>
                  <a:gd name="T41" fmla="*/ 2147483647 h 395"/>
                  <a:gd name="T42" fmla="*/ 2147483647 w 454"/>
                  <a:gd name="T43" fmla="*/ 2147483647 h 395"/>
                  <a:gd name="T44" fmla="*/ 2147483647 w 454"/>
                  <a:gd name="T45" fmla="*/ 2147483647 h 395"/>
                  <a:gd name="T46" fmla="*/ 2147483647 w 454"/>
                  <a:gd name="T47" fmla="*/ 2147483647 h 395"/>
                  <a:gd name="T48" fmla="*/ 2147483647 w 454"/>
                  <a:gd name="T49" fmla="*/ 2147483647 h 395"/>
                  <a:gd name="T50" fmla="*/ 2147483647 w 454"/>
                  <a:gd name="T51" fmla="*/ 2147483647 h 395"/>
                  <a:gd name="T52" fmla="*/ 2147483647 w 454"/>
                  <a:gd name="T53" fmla="*/ 2147483647 h 395"/>
                  <a:gd name="T54" fmla="*/ 2147483647 w 454"/>
                  <a:gd name="T55" fmla="*/ 2147483647 h 395"/>
                  <a:gd name="T56" fmla="*/ 2147483647 w 454"/>
                  <a:gd name="T57" fmla="*/ 2147483647 h 395"/>
                  <a:gd name="T58" fmla="*/ 2147483647 w 454"/>
                  <a:gd name="T59" fmla="*/ 2147483647 h 395"/>
                  <a:gd name="T60" fmla="*/ 2147483647 w 454"/>
                  <a:gd name="T61" fmla="*/ 2147483647 h 395"/>
                  <a:gd name="T62" fmla="*/ 2147483647 w 454"/>
                  <a:gd name="T63" fmla="*/ 2147483647 h 395"/>
                  <a:gd name="T64" fmla="*/ 2147483647 w 454"/>
                  <a:gd name="T65" fmla="*/ 2147483647 h 39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454" h="395">
                    <a:moveTo>
                      <a:pt x="446" y="82"/>
                    </a:moveTo>
                    <a:cubicBezTo>
                      <a:pt x="436" y="76"/>
                      <a:pt x="351" y="28"/>
                      <a:pt x="350" y="28"/>
                    </a:cubicBezTo>
                    <a:cubicBezTo>
                      <a:pt x="347" y="26"/>
                      <a:pt x="342" y="27"/>
                      <a:pt x="339" y="31"/>
                    </a:cubicBezTo>
                    <a:cubicBezTo>
                      <a:pt x="337" y="35"/>
                      <a:pt x="339" y="39"/>
                      <a:pt x="342" y="42"/>
                    </a:cubicBezTo>
                    <a:cubicBezTo>
                      <a:pt x="343" y="42"/>
                      <a:pt x="415" y="83"/>
                      <a:pt x="434" y="93"/>
                    </a:cubicBezTo>
                    <a:cubicBezTo>
                      <a:pt x="426" y="98"/>
                      <a:pt x="407" y="109"/>
                      <a:pt x="382" y="123"/>
                    </a:cubicBezTo>
                    <a:cubicBezTo>
                      <a:pt x="381" y="123"/>
                      <a:pt x="381" y="123"/>
                      <a:pt x="381" y="123"/>
                    </a:cubicBezTo>
                    <a:cubicBezTo>
                      <a:pt x="245" y="47"/>
                      <a:pt x="245" y="47"/>
                      <a:pt x="245" y="47"/>
                    </a:cubicBezTo>
                    <a:cubicBezTo>
                      <a:pt x="292" y="20"/>
                      <a:pt x="292" y="20"/>
                      <a:pt x="292" y="20"/>
                    </a:cubicBezTo>
                    <a:cubicBezTo>
                      <a:pt x="297" y="17"/>
                      <a:pt x="301" y="20"/>
                      <a:pt x="302" y="20"/>
                    </a:cubicBezTo>
                    <a:cubicBezTo>
                      <a:pt x="302" y="20"/>
                      <a:pt x="302" y="20"/>
                      <a:pt x="302" y="20"/>
                    </a:cubicBezTo>
                    <a:cubicBezTo>
                      <a:pt x="316" y="27"/>
                      <a:pt x="316" y="27"/>
                      <a:pt x="316" y="27"/>
                    </a:cubicBezTo>
                    <a:cubicBezTo>
                      <a:pt x="320" y="30"/>
                      <a:pt x="325" y="28"/>
                      <a:pt x="327" y="24"/>
                    </a:cubicBezTo>
                    <a:cubicBezTo>
                      <a:pt x="329" y="20"/>
                      <a:pt x="328" y="16"/>
                      <a:pt x="324" y="13"/>
                    </a:cubicBezTo>
                    <a:cubicBezTo>
                      <a:pt x="310" y="6"/>
                      <a:pt x="310" y="6"/>
                      <a:pt x="310" y="6"/>
                    </a:cubicBezTo>
                    <a:cubicBezTo>
                      <a:pt x="306" y="3"/>
                      <a:pt x="295" y="0"/>
                      <a:pt x="284" y="6"/>
                    </a:cubicBezTo>
                    <a:cubicBezTo>
                      <a:pt x="9" y="163"/>
                      <a:pt x="9" y="163"/>
                      <a:pt x="9" y="163"/>
                    </a:cubicBezTo>
                    <a:cubicBezTo>
                      <a:pt x="5" y="165"/>
                      <a:pt x="0" y="169"/>
                      <a:pt x="0" y="175"/>
                    </a:cubicBezTo>
                    <a:cubicBezTo>
                      <a:pt x="0" y="178"/>
                      <a:pt x="1" y="183"/>
                      <a:pt x="9" y="188"/>
                    </a:cubicBezTo>
                    <a:cubicBezTo>
                      <a:pt x="73" y="224"/>
                      <a:pt x="73" y="224"/>
                      <a:pt x="73" y="224"/>
                    </a:cubicBezTo>
                    <a:cubicBezTo>
                      <a:pt x="73" y="295"/>
                      <a:pt x="73" y="295"/>
                      <a:pt x="73" y="295"/>
                    </a:cubicBezTo>
                    <a:cubicBezTo>
                      <a:pt x="73" y="300"/>
                      <a:pt x="75" y="309"/>
                      <a:pt x="84" y="314"/>
                    </a:cubicBezTo>
                    <a:cubicBezTo>
                      <a:pt x="219" y="392"/>
                      <a:pt x="219" y="392"/>
                      <a:pt x="219" y="392"/>
                    </a:cubicBezTo>
                    <a:cubicBezTo>
                      <a:pt x="219" y="392"/>
                      <a:pt x="219" y="392"/>
                      <a:pt x="219" y="392"/>
                    </a:cubicBezTo>
                    <a:cubicBezTo>
                      <a:pt x="223" y="394"/>
                      <a:pt x="227" y="395"/>
                      <a:pt x="231" y="395"/>
                    </a:cubicBezTo>
                    <a:cubicBezTo>
                      <a:pt x="231" y="395"/>
                      <a:pt x="231" y="395"/>
                      <a:pt x="231" y="395"/>
                    </a:cubicBezTo>
                    <a:cubicBezTo>
                      <a:pt x="231" y="395"/>
                      <a:pt x="231" y="395"/>
                      <a:pt x="231" y="395"/>
                    </a:cubicBezTo>
                    <a:cubicBezTo>
                      <a:pt x="238" y="395"/>
                      <a:pt x="242" y="393"/>
                      <a:pt x="243" y="392"/>
                    </a:cubicBezTo>
                    <a:cubicBezTo>
                      <a:pt x="243" y="392"/>
                      <a:pt x="244" y="392"/>
                      <a:pt x="244" y="392"/>
                    </a:cubicBezTo>
                    <a:cubicBezTo>
                      <a:pt x="378" y="314"/>
                      <a:pt x="378" y="314"/>
                      <a:pt x="378" y="314"/>
                    </a:cubicBezTo>
                    <a:cubicBezTo>
                      <a:pt x="383" y="312"/>
                      <a:pt x="389" y="306"/>
                      <a:pt x="389" y="295"/>
                    </a:cubicBezTo>
                    <a:cubicBezTo>
                      <a:pt x="389" y="137"/>
                      <a:pt x="389" y="137"/>
                      <a:pt x="389" y="137"/>
                    </a:cubicBezTo>
                    <a:cubicBezTo>
                      <a:pt x="420" y="120"/>
                      <a:pt x="442" y="107"/>
                      <a:pt x="445" y="105"/>
                    </a:cubicBezTo>
                    <a:cubicBezTo>
                      <a:pt x="449" y="103"/>
                      <a:pt x="454" y="99"/>
                      <a:pt x="454" y="94"/>
                    </a:cubicBezTo>
                    <a:cubicBezTo>
                      <a:pt x="454" y="91"/>
                      <a:pt x="453" y="86"/>
                      <a:pt x="446" y="82"/>
                    </a:cubicBezTo>
                    <a:close/>
                    <a:moveTo>
                      <a:pt x="20" y="175"/>
                    </a:moveTo>
                    <a:cubicBezTo>
                      <a:pt x="81" y="140"/>
                      <a:pt x="81" y="140"/>
                      <a:pt x="81" y="140"/>
                    </a:cubicBezTo>
                    <a:cubicBezTo>
                      <a:pt x="215" y="218"/>
                      <a:pt x="215" y="218"/>
                      <a:pt x="215" y="218"/>
                    </a:cubicBezTo>
                    <a:cubicBezTo>
                      <a:pt x="185" y="235"/>
                      <a:pt x="163" y="248"/>
                      <a:pt x="161" y="249"/>
                    </a:cubicBezTo>
                    <a:cubicBezTo>
                      <a:pt x="157" y="251"/>
                      <a:pt x="151" y="249"/>
                      <a:pt x="151" y="249"/>
                    </a:cubicBezTo>
                    <a:cubicBezTo>
                      <a:pt x="151" y="249"/>
                      <a:pt x="151" y="249"/>
                      <a:pt x="151" y="249"/>
                    </a:cubicBezTo>
                    <a:lnTo>
                      <a:pt x="20" y="175"/>
                    </a:lnTo>
                    <a:close/>
                    <a:moveTo>
                      <a:pt x="223" y="376"/>
                    </a:moveTo>
                    <a:cubicBezTo>
                      <a:pt x="92" y="300"/>
                      <a:pt x="92" y="300"/>
                      <a:pt x="92" y="300"/>
                    </a:cubicBezTo>
                    <a:cubicBezTo>
                      <a:pt x="89" y="299"/>
                      <a:pt x="89" y="296"/>
                      <a:pt x="89" y="296"/>
                    </a:cubicBezTo>
                    <a:cubicBezTo>
                      <a:pt x="89" y="233"/>
                      <a:pt x="89" y="233"/>
                      <a:pt x="89" y="233"/>
                    </a:cubicBezTo>
                    <a:cubicBezTo>
                      <a:pt x="144" y="263"/>
                      <a:pt x="144" y="263"/>
                      <a:pt x="144" y="263"/>
                    </a:cubicBezTo>
                    <a:cubicBezTo>
                      <a:pt x="146" y="264"/>
                      <a:pt x="151" y="266"/>
                      <a:pt x="157" y="266"/>
                    </a:cubicBezTo>
                    <a:cubicBezTo>
                      <a:pt x="161" y="266"/>
                      <a:pt x="165" y="265"/>
                      <a:pt x="169" y="263"/>
                    </a:cubicBezTo>
                    <a:cubicBezTo>
                      <a:pt x="171" y="261"/>
                      <a:pt x="193" y="249"/>
                      <a:pt x="223" y="232"/>
                    </a:cubicBezTo>
                    <a:lnTo>
                      <a:pt x="223" y="376"/>
                    </a:lnTo>
                    <a:close/>
                    <a:moveTo>
                      <a:pt x="223" y="204"/>
                    </a:moveTo>
                    <a:cubicBezTo>
                      <a:pt x="97" y="131"/>
                      <a:pt x="97" y="131"/>
                      <a:pt x="97" y="131"/>
                    </a:cubicBezTo>
                    <a:cubicBezTo>
                      <a:pt x="223" y="59"/>
                      <a:pt x="223" y="59"/>
                      <a:pt x="223" y="59"/>
                    </a:cubicBezTo>
                    <a:lnTo>
                      <a:pt x="223" y="204"/>
                    </a:lnTo>
                    <a:close/>
                    <a:moveTo>
                      <a:pt x="239" y="63"/>
                    </a:moveTo>
                    <a:cubicBezTo>
                      <a:pt x="364" y="132"/>
                      <a:pt x="364" y="132"/>
                      <a:pt x="364" y="132"/>
                    </a:cubicBezTo>
                    <a:cubicBezTo>
                      <a:pt x="239" y="204"/>
                      <a:pt x="239" y="204"/>
                      <a:pt x="239" y="204"/>
                    </a:cubicBezTo>
                    <a:lnTo>
                      <a:pt x="239" y="63"/>
                    </a:lnTo>
                    <a:close/>
                    <a:moveTo>
                      <a:pt x="373" y="295"/>
                    </a:moveTo>
                    <a:cubicBezTo>
                      <a:pt x="373" y="299"/>
                      <a:pt x="372" y="300"/>
                      <a:pt x="371" y="300"/>
                    </a:cubicBezTo>
                    <a:cubicBezTo>
                      <a:pt x="371" y="300"/>
                      <a:pt x="371" y="300"/>
                      <a:pt x="371" y="300"/>
                    </a:cubicBezTo>
                    <a:cubicBezTo>
                      <a:pt x="239" y="376"/>
                      <a:pt x="239" y="376"/>
                      <a:pt x="239" y="376"/>
                    </a:cubicBezTo>
                    <a:cubicBezTo>
                      <a:pt x="239" y="223"/>
                      <a:pt x="239" y="223"/>
                      <a:pt x="239" y="223"/>
                    </a:cubicBezTo>
                    <a:cubicBezTo>
                      <a:pt x="280" y="199"/>
                      <a:pt x="332" y="170"/>
                      <a:pt x="373" y="146"/>
                    </a:cubicBezTo>
                    <a:lnTo>
                      <a:pt x="373" y="2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38" name="Freeform 3"/>
              <p:cNvSpPr>
                <a:spLocks noChangeAspect="1" noEditPoints="1"/>
              </p:cNvSpPr>
              <p:nvPr/>
            </p:nvSpPr>
            <p:spPr bwMode="auto">
              <a:xfrm>
                <a:off x="4740824" y="2830941"/>
                <a:ext cx="149967" cy="146448"/>
              </a:xfrm>
              <a:custGeom>
                <a:avLst/>
                <a:gdLst>
                  <a:gd name="T0" fmla="*/ 2147483647 w 379"/>
                  <a:gd name="T1" fmla="*/ 2147483647 h 378"/>
                  <a:gd name="T2" fmla="*/ 2147483647 w 379"/>
                  <a:gd name="T3" fmla="*/ 0 h 378"/>
                  <a:gd name="T4" fmla="*/ 0 w 379"/>
                  <a:gd name="T5" fmla="*/ 2147483647 h 378"/>
                  <a:gd name="T6" fmla="*/ 2147483647 w 379"/>
                  <a:gd name="T7" fmla="*/ 2147483647 h 378"/>
                  <a:gd name="T8" fmla="*/ 2147483647 w 379"/>
                  <a:gd name="T9" fmla="*/ 2147483647 h 378"/>
                  <a:gd name="T10" fmla="*/ 2147483647 w 379"/>
                  <a:gd name="T11" fmla="*/ 2147483647 h 378"/>
                  <a:gd name="T12" fmla="*/ 2147483647 w 379"/>
                  <a:gd name="T13" fmla="*/ 2147483647 h 378"/>
                  <a:gd name="T14" fmla="*/ 2147483647 w 379"/>
                  <a:gd name="T15" fmla="*/ 2147483647 h 378"/>
                  <a:gd name="T16" fmla="*/ 2147483647 w 379"/>
                  <a:gd name="T17" fmla="*/ 2147483647 h 378"/>
                  <a:gd name="T18" fmla="*/ 2147483647 w 379"/>
                  <a:gd name="T19" fmla="*/ 2147483647 h 378"/>
                  <a:gd name="T20" fmla="*/ 2147483647 w 379"/>
                  <a:gd name="T21" fmla="*/ 2147483647 h 378"/>
                  <a:gd name="T22" fmla="*/ 2147483647 w 379"/>
                  <a:gd name="T23" fmla="*/ 2147483647 h 378"/>
                  <a:gd name="T24" fmla="*/ 2147483647 w 379"/>
                  <a:gd name="T25" fmla="*/ 2147483647 h 378"/>
                  <a:gd name="T26" fmla="*/ 2147483647 w 379"/>
                  <a:gd name="T27" fmla="*/ 2147483647 h 378"/>
                  <a:gd name="T28" fmla="*/ 2147483647 w 379"/>
                  <a:gd name="T29" fmla="*/ 2147483647 h 378"/>
                  <a:gd name="T30" fmla="*/ 2147483647 w 379"/>
                  <a:gd name="T31" fmla="*/ 2147483647 h 378"/>
                  <a:gd name="T32" fmla="*/ 2147483647 w 379"/>
                  <a:gd name="T33" fmla="*/ 2147483647 h 378"/>
                  <a:gd name="T34" fmla="*/ 2147483647 w 379"/>
                  <a:gd name="T35" fmla="*/ 2147483647 h 378"/>
                  <a:gd name="T36" fmla="*/ 2147483647 w 379"/>
                  <a:gd name="T37" fmla="*/ 2147483647 h 378"/>
                  <a:gd name="T38" fmla="*/ 2147483647 w 379"/>
                  <a:gd name="T39" fmla="*/ 2147483647 h 378"/>
                  <a:gd name="T40" fmla="*/ 2147483647 w 379"/>
                  <a:gd name="T41" fmla="*/ 2147483647 h 378"/>
                  <a:gd name="T42" fmla="*/ 2147483647 w 379"/>
                  <a:gd name="T43" fmla="*/ 2147483647 h 378"/>
                  <a:gd name="T44" fmla="*/ 2147483647 w 379"/>
                  <a:gd name="T45" fmla="*/ 2147483647 h 378"/>
                  <a:gd name="T46" fmla="*/ 2147483647 w 379"/>
                  <a:gd name="T47" fmla="*/ 2147483647 h 378"/>
                  <a:gd name="T48" fmla="*/ 2147483647 w 379"/>
                  <a:gd name="T49" fmla="*/ 2147483647 h 378"/>
                  <a:gd name="T50" fmla="*/ 2147483647 w 379"/>
                  <a:gd name="T51" fmla="*/ 2147483647 h 378"/>
                  <a:gd name="T52" fmla="*/ 2147483647 w 379"/>
                  <a:gd name="T53" fmla="*/ 2147483647 h 378"/>
                  <a:gd name="T54" fmla="*/ 2147483647 w 379"/>
                  <a:gd name="T55" fmla="*/ 2147483647 h 378"/>
                  <a:gd name="T56" fmla="*/ 2147483647 w 379"/>
                  <a:gd name="T57" fmla="*/ 2147483647 h 378"/>
                  <a:gd name="T58" fmla="*/ 2147483647 w 379"/>
                  <a:gd name="T59" fmla="*/ 2147483647 h 378"/>
                  <a:gd name="T60" fmla="*/ 2147483647 w 379"/>
                  <a:gd name="T61" fmla="*/ 2147483647 h 378"/>
                  <a:gd name="T62" fmla="*/ 2147483647 w 379"/>
                  <a:gd name="T63" fmla="*/ 2147483647 h 378"/>
                  <a:gd name="T64" fmla="*/ 2147483647 w 379"/>
                  <a:gd name="T65" fmla="*/ 2147483647 h 378"/>
                  <a:gd name="T66" fmla="*/ 2147483647 w 379"/>
                  <a:gd name="T67" fmla="*/ 2147483647 h 378"/>
                  <a:gd name="T68" fmla="*/ 2147483647 w 379"/>
                  <a:gd name="T69" fmla="*/ 2147483647 h 378"/>
                  <a:gd name="T70" fmla="*/ 2147483647 w 379"/>
                  <a:gd name="T71" fmla="*/ 2147483647 h 378"/>
                  <a:gd name="T72" fmla="*/ 2147483647 w 379"/>
                  <a:gd name="T73" fmla="*/ 2147483647 h 378"/>
                  <a:gd name="T74" fmla="*/ 2147483647 w 379"/>
                  <a:gd name="T75" fmla="*/ 2147483647 h 378"/>
                  <a:gd name="T76" fmla="*/ 2147483647 w 379"/>
                  <a:gd name="T77" fmla="*/ 2147483647 h 378"/>
                  <a:gd name="T78" fmla="*/ 2147483647 w 379"/>
                  <a:gd name="T79" fmla="*/ 2147483647 h 378"/>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379" h="378">
                    <a:moveTo>
                      <a:pt x="371" y="41"/>
                    </a:moveTo>
                    <a:cubicBezTo>
                      <a:pt x="375" y="41"/>
                      <a:pt x="379" y="37"/>
                      <a:pt x="379" y="32"/>
                    </a:cubicBezTo>
                    <a:cubicBezTo>
                      <a:pt x="379" y="25"/>
                      <a:pt x="379" y="25"/>
                      <a:pt x="379" y="25"/>
                    </a:cubicBezTo>
                    <a:cubicBezTo>
                      <a:pt x="379" y="11"/>
                      <a:pt x="368" y="0"/>
                      <a:pt x="354" y="0"/>
                    </a:cubicBezTo>
                    <a:cubicBezTo>
                      <a:pt x="24" y="0"/>
                      <a:pt x="24" y="0"/>
                      <a:pt x="24" y="0"/>
                    </a:cubicBezTo>
                    <a:cubicBezTo>
                      <a:pt x="11" y="0"/>
                      <a:pt x="0" y="11"/>
                      <a:pt x="0" y="25"/>
                    </a:cubicBezTo>
                    <a:cubicBezTo>
                      <a:pt x="0" y="236"/>
                      <a:pt x="0" y="236"/>
                      <a:pt x="0" y="236"/>
                    </a:cubicBezTo>
                    <a:cubicBezTo>
                      <a:pt x="0" y="250"/>
                      <a:pt x="11" y="261"/>
                      <a:pt x="24" y="261"/>
                    </a:cubicBezTo>
                    <a:cubicBezTo>
                      <a:pt x="94" y="261"/>
                      <a:pt x="94" y="261"/>
                      <a:pt x="94" y="261"/>
                    </a:cubicBezTo>
                    <a:cubicBezTo>
                      <a:pt x="92" y="268"/>
                      <a:pt x="90" y="276"/>
                      <a:pt x="90" y="285"/>
                    </a:cubicBezTo>
                    <a:cubicBezTo>
                      <a:pt x="90" y="358"/>
                      <a:pt x="90" y="358"/>
                      <a:pt x="90" y="358"/>
                    </a:cubicBezTo>
                    <a:cubicBezTo>
                      <a:pt x="90" y="366"/>
                      <a:pt x="96" y="378"/>
                      <a:pt x="111" y="378"/>
                    </a:cubicBezTo>
                    <a:cubicBezTo>
                      <a:pt x="268" y="378"/>
                      <a:pt x="268" y="378"/>
                      <a:pt x="268" y="378"/>
                    </a:cubicBezTo>
                    <a:cubicBezTo>
                      <a:pt x="276" y="378"/>
                      <a:pt x="288" y="372"/>
                      <a:pt x="288" y="358"/>
                    </a:cubicBezTo>
                    <a:cubicBezTo>
                      <a:pt x="288" y="285"/>
                      <a:pt x="288" y="285"/>
                      <a:pt x="288" y="285"/>
                    </a:cubicBezTo>
                    <a:cubicBezTo>
                      <a:pt x="288" y="276"/>
                      <a:pt x="287" y="268"/>
                      <a:pt x="284" y="261"/>
                    </a:cubicBezTo>
                    <a:cubicBezTo>
                      <a:pt x="354" y="261"/>
                      <a:pt x="354" y="261"/>
                      <a:pt x="354" y="261"/>
                    </a:cubicBezTo>
                    <a:cubicBezTo>
                      <a:pt x="368" y="261"/>
                      <a:pt x="379" y="250"/>
                      <a:pt x="379" y="236"/>
                    </a:cubicBezTo>
                    <a:cubicBezTo>
                      <a:pt x="379" y="65"/>
                      <a:pt x="379" y="65"/>
                      <a:pt x="379" y="65"/>
                    </a:cubicBezTo>
                    <a:cubicBezTo>
                      <a:pt x="379" y="60"/>
                      <a:pt x="375" y="56"/>
                      <a:pt x="371" y="56"/>
                    </a:cubicBezTo>
                    <a:cubicBezTo>
                      <a:pt x="366" y="56"/>
                      <a:pt x="362" y="60"/>
                      <a:pt x="362" y="65"/>
                    </a:cubicBezTo>
                    <a:cubicBezTo>
                      <a:pt x="362" y="236"/>
                      <a:pt x="362" y="236"/>
                      <a:pt x="362" y="236"/>
                    </a:cubicBezTo>
                    <a:cubicBezTo>
                      <a:pt x="362" y="241"/>
                      <a:pt x="359" y="244"/>
                      <a:pt x="354" y="244"/>
                    </a:cubicBezTo>
                    <a:cubicBezTo>
                      <a:pt x="276" y="244"/>
                      <a:pt x="276" y="244"/>
                      <a:pt x="276" y="244"/>
                    </a:cubicBezTo>
                    <a:cubicBezTo>
                      <a:pt x="268" y="231"/>
                      <a:pt x="256" y="222"/>
                      <a:pt x="245" y="215"/>
                    </a:cubicBezTo>
                    <a:cubicBezTo>
                      <a:pt x="260" y="200"/>
                      <a:pt x="270" y="180"/>
                      <a:pt x="270" y="157"/>
                    </a:cubicBezTo>
                    <a:cubicBezTo>
                      <a:pt x="270" y="112"/>
                      <a:pt x="234" y="76"/>
                      <a:pt x="189" y="76"/>
                    </a:cubicBezTo>
                    <a:cubicBezTo>
                      <a:pt x="145" y="76"/>
                      <a:pt x="108" y="112"/>
                      <a:pt x="108" y="157"/>
                    </a:cubicBezTo>
                    <a:cubicBezTo>
                      <a:pt x="108" y="180"/>
                      <a:pt x="118" y="200"/>
                      <a:pt x="133" y="215"/>
                    </a:cubicBezTo>
                    <a:cubicBezTo>
                      <a:pt x="123" y="222"/>
                      <a:pt x="111" y="231"/>
                      <a:pt x="102" y="244"/>
                    </a:cubicBezTo>
                    <a:cubicBezTo>
                      <a:pt x="24" y="244"/>
                      <a:pt x="24" y="244"/>
                      <a:pt x="24" y="244"/>
                    </a:cubicBezTo>
                    <a:cubicBezTo>
                      <a:pt x="20" y="244"/>
                      <a:pt x="16" y="241"/>
                      <a:pt x="16" y="236"/>
                    </a:cubicBezTo>
                    <a:cubicBezTo>
                      <a:pt x="16" y="25"/>
                      <a:pt x="16" y="25"/>
                      <a:pt x="16" y="25"/>
                    </a:cubicBezTo>
                    <a:cubicBezTo>
                      <a:pt x="16" y="20"/>
                      <a:pt x="20" y="16"/>
                      <a:pt x="24" y="16"/>
                    </a:cubicBezTo>
                    <a:cubicBezTo>
                      <a:pt x="354" y="16"/>
                      <a:pt x="354" y="16"/>
                      <a:pt x="354" y="16"/>
                    </a:cubicBezTo>
                    <a:cubicBezTo>
                      <a:pt x="359" y="16"/>
                      <a:pt x="362" y="20"/>
                      <a:pt x="362" y="25"/>
                    </a:cubicBezTo>
                    <a:cubicBezTo>
                      <a:pt x="362" y="32"/>
                      <a:pt x="362" y="32"/>
                      <a:pt x="362" y="32"/>
                    </a:cubicBezTo>
                    <a:cubicBezTo>
                      <a:pt x="362" y="37"/>
                      <a:pt x="366" y="41"/>
                      <a:pt x="371" y="41"/>
                    </a:cubicBezTo>
                    <a:close/>
                    <a:moveTo>
                      <a:pt x="124" y="157"/>
                    </a:moveTo>
                    <a:cubicBezTo>
                      <a:pt x="124" y="121"/>
                      <a:pt x="153" y="92"/>
                      <a:pt x="189" y="92"/>
                    </a:cubicBezTo>
                    <a:cubicBezTo>
                      <a:pt x="225" y="92"/>
                      <a:pt x="254" y="121"/>
                      <a:pt x="254" y="157"/>
                    </a:cubicBezTo>
                    <a:cubicBezTo>
                      <a:pt x="254" y="192"/>
                      <a:pt x="225" y="222"/>
                      <a:pt x="189" y="222"/>
                    </a:cubicBezTo>
                    <a:cubicBezTo>
                      <a:pt x="153" y="222"/>
                      <a:pt x="124" y="192"/>
                      <a:pt x="124" y="157"/>
                    </a:cubicBezTo>
                    <a:close/>
                    <a:moveTo>
                      <a:pt x="106" y="285"/>
                    </a:moveTo>
                    <a:cubicBezTo>
                      <a:pt x="106" y="253"/>
                      <a:pt x="130" y="234"/>
                      <a:pt x="147" y="226"/>
                    </a:cubicBezTo>
                    <a:cubicBezTo>
                      <a:pt x="160" y="233"/>
                      <a:pt x="174" y="238"/>
                      <a:pt x="189" y="238"/>
                    </a:cubicBezTo>
                    <a:cubicBezTo>
                      <a:pt x="205" y="238"/>
                      <a:pt x="219" y="233"/>
                      <a:pt x="231" y="226"/>
                    </a:cubicBezTo>
                    <a:cubicBezTo>
                      <a:pt x="248" y="234"/>
                      <a:pt x="272" y="252"/>
                      <a:pt x="272" y="285"/>
                    </a:cubicBezTo>
                    <a:cubicBezTo>
                      <a:pt x="272" y="358"/>
                      <a:pt x="272" y="358"/>
                      <a:pt x="272" y="358"/>
                    </a:cubicBezTo>
                    <a:cubicBezTo>
                      <a:pt x="272" y="359"/>
                      <a:pt x="272" y="362"/>
                      <a:pt x="268" y="362"/>
                    </a:cubicBezTo>
                    <a:cubicBezTo>
                      <a:pt x="255" y="362"/>
                      <a:pt x="255" y="362"/>
                      <a:pt x="255" y="362"/>
                    </a:cubicBezTo>
                    <a:cubicBezTo>
                      <a:pt x="255" y="277"/>
                      <a:pt x="255" y="277"/>
                      <a:pt x="255" y="277"/>
                    </a:cubicBezTo>
                    <a:cubicBezTo>
                      <a:pt x="255" y="273"/>
                      <a:pt x="252" y="269"/>
                      <a:pt x="247" y="269"/>
                    </a:cubicBezTo>
                    <a:cubicBezTo>
                      <a:pt x="243" y="269"/>
                      <a:pt x="239" y="273"/>
                      <a:pt x="239" y="277"/>
                    </a:cubicBezTo>
                    <a:cubicBezTo>
                      <a:pt x="239" y="362"/>
                      <a:pt x="239" y="362"/>
                      <a:pt x="239" y="362"/>
                    </a:cubicBezTo>
                    <a:cubicBezTo>
                      <a:pt x="139" y="362"/>
                      <a:pt x="139" y="362"/>
                      <a:pt x="139" y="362"/>
                    </a:cubicBezTo>
                    <a:cubicBezTo>
                      <a:pt x="139" y="277"/>
                      <a:pt x="139" y="277"/>
                      <a:pt x="139" y="277"/>
                    </a:cubicBezTo>
                    <a:cubicBezTo>
                      <a:pt x="139" y="273"/>
                      <a:pt x="136" y="269"/>
                      <a:pt x="131" y="269"/>
                    </a:cubicBezTo>
                    <a:cubicBezTo>
                      <a:pt x="127" y="269"/>
                      <a:pt x="123" y="273"/>
                      <a:pt x="123" y="277"/>
                    </a:cubicBezTo>
                    <a:cubicBezTo>
                      <a:pt x="123" y="362"/>
                      <a:pt x="123" y="362"/>
                      <a:pt x="123" y="362"/>
                    </a:cubicBezTo>
                    <a:cubicBezTo>
                      <a:pt x="111" y="362"/>
                      <a:pt x="111" y="362"/>
                      <a:pt x="111" y="362"/>
                    </a:cubicBezTo>
                    <a:cubicBezTo>
                      <a:pt x="109" y="362"/>
                      <a:pt x="107" y="362"/>
                      <a:pt x="106" y="358"/>
                    </a:cubicBezTo>
                    <a:lnTo>
                      <a:pt x="106" y="285"/>
                    </a:lnTo>
                    <a:close/>
                    <a:moveTo>
                      <a:pt x="287" y="176"/>
                    </a:moveTo>
                    <a:cubicBezTo>
                      <a:pt x="289" y="178"/>
                      <a:pt x="291" y="179"/>
                      <a:pt x="293" y="179"/>
                    </a:cubicBezTo>
                    <a:cubicBezTo>
                      <a:pt x="294" y="179"/>
                      <a:pt x="294" y="179"/>
                      <a:pt x="295" y="179"/>
                    </a:cubicBezTo>
                    <a:cubicBezTo>
                      <a:pt x="308" y="176"/>
                      <a:pt x="331" y="163"/>
                      <a:pt x="328" y="136"/>
                    </a:cubicBezTo>
                    <a:cubicBezTo>
                      <a:pt x="325" y="112"/>
                      <a:pt x="304" y="105"/>
                      <a:pt x="289" y="105"/>
                    </a:cubicBezTo>
                    <a:cubicBezTo>
                      <a:pt x="270" y="68"/>
                      <a:pt x="233" y="44"/>
                      <a:pt x="189" y="44"/>
                    </a:cubicBezTo>
                    <a:cubicBezTo>
                      <a:pt x="189" y="44"/>
                      <a:pt x="189" y="44"/>
                      <a:pt x="189" y="44"/>
                    </a:cubicBezTo>
                    <a:cubicBezTo>
                      <a:pt x="145" y="44"/>
                      <a:pt x="107" y="69"/>
                      <a:pt x="89" y="105"/>
                    </a:cubicBezTo>
                    <a:cubicBezTo>
                      <a:pt x="74" y="105"/>
                      <a:pt x="53" y="112"/>
                      <a:pt x="50" y="136"/>
                    </a:cubicBezTo>
                    <a:cubicBezTo>
                      <a:pt x="47" y="163"/>
                      <a:pt x="70" y="176"/>
                      <a:pt x="83" y="179"/>
                    </a:cubicBezTo>
                    <a:cubicBezTo>
                      <a:pt x="86" y="179"/>
                      <a:pt x="89" y="178"/>
                      <a:pt x="91" y="176"/>
                    </a:cubicBezTo>
                    <a:cubicBezTo>
                      <a:pt x="93" y="175"/>
                      <a:pt x="93" y="172"/>
                      <a:pt x="93" y="169"/>
                    </a:cubicBezTo>
                    <a:cubicBezTo>
                      <a:pt x="92" y="163"/>
                      <a:pt x="92" y="157"/>
                      <a:pt x="92" y="157"/>
                    </a:cubicBezTo>
                    <a:cubicBezTo>
                      <a:pt x="92" y="103"/>
                      <a:pt x="135" y="60"/>
                      <a:pt x="189" y="60"/>
                    </a:cubicBezTo>
                    <a:cubicBezTo>
                      <a:pt x="243" y="60"/>
                      <a:pt x="286" y="103"/>
                      <a:pt x="286" y="157"/>
                    </a:cubicBezTo>
                    <a:cubicBezTo>
                      <a:pt x="286" y="157"/>
                      <a:pt x="286" y="163"/>
                      <a:pt x="285" y="169"/>
                    </a:cubicBezTo>
                    <a:cubicBezTo>
                      <a:pt x="285" y="172"/>
                      <a:pt x="285" y="175"/>
                      <a:pt x="287" y="1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39" name="Freeform 3"/>
              <p:cNvSpPr>
                <a:spLocks noChangeAspect="1" noEditPoints="1"/>
              </p:cNvSpPr>
              <p:nvPr/>
            </p:nvSpPr>
            <p:spPr bwMode="auto">
              <a:xfrm>
                <a:off x="5468029" y="3055760"/>
                <a:ext cx="156671" cy="146119"/>
              </a:xfrm>
              <a:custGeom>
                <a:avLst/>
                <a:gdLst>
                  <a:gd name="T0" fmla="*/ 2147483647 w 396"/>
                  <a:gd name="T1" fmla="*/ 2147483647 h 377"/>
                  <a:gd name="T2" fmla="*/ 2147483647 w 396"/>
                  <a:gd name="T3" fmla="*/ 2147483647 h 377"/>
                  <a:gd name="T4" fmla="*/ 2147483647 w 396"/>
                  <a:gd name="T5" fmla="*/ 2147483647 h 377"/>
                  <a:gd name="T6" fmla="*/ 2147483647 w 396"/>
                  <a:gd name="T7" fmla="*/ 2147483647 h 377"/>
                  <a:gd name="T8" fmla="*/ 2147483647 w 396"/>
                  <a:gd name="T9" fmla="*/ 2147483647 h 377"/>
                  <a:gd name="T10" fmla="*/ 2147483647 w 396"/>
                  <a:gd name="T11" fmla="*/ 2147483647 h 377"/>
                  <a:gd name="T12" fmla="*/ 2147483647 w 396"/>
                  <a:gd name="T13" fmla="*/ 2147483647 h 377"/>
                  <a:gd name="T14" fmla="*/ 2147483647 w 396"/>
                  <a:gd name="T15" fmla="*/ 2147483647 h 377"/>
                  <a:gd name="T16" fmla="*/ 2147483647 w 396"/>
                  <a:gd name="T17" fmla="*/ 2147483647 h 377"/>
                  <a:gd name="T18" fmla="*/ 2147483647 w 396"/>
                  <a:gd name="T19" fmla="*/ 2147483647 h 377"/>
                  <a:gd name="T20" fmla="*/ 2147483647 w 396"/>
                  <a:gd name="T21" fmla="*/ 2147483647 h 377"/>
                  <a:gd name="T22" fmla="*/ 2147483647 w 396"/>
                  <a:gd name="T23" fmla="*/ 2147483647 h 377"/>
                  <a:gd name="T24" fmla="*/ 2147483647 w 396"/>
                  <a:gd name="T25" fmla="*/ 2147483647 h 377"/>
                  <a:gd name="T26" fmla="*/ 2147483647 w 396"/>
                  <a:gd name="T27" fmla="*/ 2147483647 h 377"/>
                  <a:gd name="T28" fmla="*/ 2147483647 w 396"/>
                  <a:gd name="T29" fmla="*/ 2147483647 h 377"/>
                  <a:gd name="T30" fmla="*/ 2147483647 w 396"/>
                  <a:gd name="T31" fmla="*/ 2147483647 h 377"/>
                  <a:gd name="T32" fmla="*/ 2147483647 w 396"/>
                  <a:gd name="T33" fmla="*/ 2147483647 h 377"/>
                  <a:gd name="T34" fmla="*/ 2147483647 w 396"/>
                  <a:gd name="T35" fmla="*/ 2147483647 h 377"/>
                  <a:gd name="T36" fmla="*/ 2147483647 w 396"/>
                  <a:gd name="T37" fmla="*/ 2147483647 h 377"/>
                  <a:gd name="T38" fmla="*/ 2147483647 w 396"/>
                  <a:gd name="T39" fmla="*/ 2147483647 h 377"/>
                  <a:gd name="T40" fmla="*/ 2147483647 w 396"/>
                  <a:gd name="T41" fmla="*/ 2147483647 h 377"/>
                  <a:gd name="T42" fmla="*/ 2147483647 w 396"/>
                  <a:gd name="T43" fmla="*/ 2147483647 h 377"/>
                  <a:gd name="T44" fmla="*/ 2147483647 w 396"/>
                  <a:gd name="T45" fmla="*/ 2147483647 h 377"/>
                  <a:gd name="T46" fmla="*/ 2147483647 w 396"/>
                  <a:gd name="T47" fmla="*/ 2147483647 h 377"/>
                  <a:gd name="T48" fmla="*/ 2147483647 w 396"/>
                  <a:gd name="T49" fmla="*/ 2147483647 h 377"/>
                  <a:gd name="T50" fmla="*/ 2147483647 w 396"/>
                  <a:gd name="T51" fmla="*/ 2147483647 h 377"/>
                  <a:gd name="T52" fmla="*/ 2147483647 w 396"/>
                  <a:gd name="T53" fmla="*/ 2147483647 h 377"/>
                  <a:gd name="T54" fmla="*/ 2147483647 w 396"/>
                  <a:gd name="T55" fmla="*/ 2147483647 h 377"/>
                  <a:gd name="T56" fmla="*/ 2147483647 w 396"/>
                  <a:gd name="T57" fmla="*/ 2147483647 h 377"/>
                  <a:gd name="T58" fmla="*/ 2147483647 w 396"/>
                  <a:gd name="T59" fmla="*/ 2147483647 h 377"/>
                  <a:gd name="T60" fmla="*/ 2147483647 w 396"/>
                  <a:gd name="T61" fmla="*/ 2147483647 h 377"/>
                  <a:gd name="T62" fmla="*/ 2147483647 w 396"/>
                  <a:gd name="T63" fmla="*/ 2147483647 h 377"/>
                  <a:gd name="T64" fmla="*/ 2147483647 w 396"/>
                  <a:gd name="T65" fmla="*/ 2147483647 h 377"/>
                  <a:gd name="T66" fmla="*/ 2147483647 w 396"/>
                  <a:gd name="T67" fmla="*/ 2147483647 h 377"/>
                  <a:gd name="T68" fmla="*/ 2147483647 w 396"/>
                  <a:gd name="T69" fmla="*/ 2147483647 h 377"/>
                  <a:gd name="T70" fmla="*/ 2147483647 w 396"/>
                  <a:gd name="T71" fmla="*/ 2147483647 h 377"/>
                  <a:gd name="T72" fmla="*/ 2147483647 w 396"/>
                  <a:gd name="T73" fmla="*/ 2147483647 h 377"/>
                  <a:gd name="T74" fmla="*/ 2147483647 w 396"/>
                  <a:gd name="T75" fmla="*/ 2147483647 h 377"/>
                  <a:gd name="T76" fmla="*/ 2147483647 w 396"/>
                  <a:gd name="T77" fmla="*/ 2147483647 h 377"/>
                  <a:gd name="T78" fmla="*/ 2147483647 w 396"/>
                  <a:gd name="T79" fmla="*/ 2147483647 h 377"/>
                  <a:gd name="T80" fmla="*/ 2147483647 w 396"/>
                  <a:gd name="T81" fmla="*/ 2147483647 h 377"/>
                  <a:gd name="T82" fmla="*/ 2147483647 w 396"/>
                  <a:gd name="T83" fmla="*/ 2147483647 h 377"/>
                  <a:gd name="T84" fmla="*/ 2147483647 w 396"/>
                  <a:gd name="T85" fmla="*/ 2147483647 h 377"/>
                  <a:gd name="T86" fmla="*/ 2147483647 w 396"/>
                  <a:gd name="T87" fmla="*/ 2147483647 h 377"/>
                  <a:gd name="T88" fmla="*/ 2147483647 w 396"/>
                  <a:gd name="T89" fmla="*/ 2147483647 h 377"/>
                  <a:gd name="T90" fmla="*/ 2147483647 w 396"/>
                  <a:gd name="T91" fmla="*/ 2147483647 h 377"/>
                  <a:gd name="T92" fmla="*/ 2147483647 w 396"/>
                  <a:gd name="T93" fmla="*/ 2147483647 h 377"/>
                  <a:gd name="T94" fmla="*/ 2147483647 w 396"/>
                  <a:gd name="T95" fmla="*/ 2147483647 h 377"/>
                  <a:gd name="T96" fmla="*/ 2147483647 w 396"/>
                  <a:gd name="T97" fmla="*/ 2147483647 h 377"/>
                  <a:gd name="T98" fmla="*/ 2147483647 w 396"/>
                  <a:gd name="T99" fmla="*/ 2147483647 h 377"/>
                  <a:gd name="T100" fmla="*/ 2147483647 w 396"/>
                  <a:gd name="T101" fmla="*/ 2147483647 h 377"/>
                  <a:gd name="T102" fmla="*/ 2147483647 w 396"/>
                  <a:gd name="T103" fmla="*/ 2147483647 h 377"/>
                  <a:gd name="T104" fmla="*/ 2147483647 w 396"/>
                  <a:gd name="T105" fmla="*/ 2147483647 h 377"/>
                  <a:gd name="T106" fmla="*/ 2147483647 w 396"/>
                  <a:gd name="T107" fmla="*/ 2147483647 h 37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396" h="377">
                    <a:moveTo>
                      <a:pt x="388" y="64"/>
                    </a:moveTo>
                    <a:cubicBezTo>
                      <a:pt x="392" y="64"/>
                      <a:pt x="396" y="60"/>
                      <a:pt x="396" y="56"/>
                    </a:cubicBezTo>
                    <a:cubicBezTo>
                      <a:pt x="396" y="39"/>
                      <a:pt x="396" y="39"/>
                      <a:pt x="396" y="39"/>
                    </a:cubicBezTo>
                    <a:cubicBezTo>
                      <a:pt x="396" y="28"/>
                      <a:pt x="389" y="19"/>
                      <a:pt x="377" y="17"/>
                    </a:cubicBezTo>
                    <a:cubicBezTo>
                      <a:pt x="279" y="0"/>
                      <a:pt x="211" y="31"/>
                      <a:pt x="204" y="35"/>
                    </a:cubicBezTo>
                    <a:cubicBezTo>
                      <a:pt x="201" y="36"/>
                      <a:pt x="200" y="37"/>
                      <a:pt x="198" y="37"/>
                    </a:cubicBezTo>
                    <a:cubicBezTo>
                      <a:pt x="197" y="37"/>
                      <a:pt x="195" y="36"/>
                      <a:pt x="193" y="35"/>
                    </a:cubicBezTo>
                    <a:cubicBezTo>
                      <a:pt x="185" y="31"/>
                      <a:pt x="118" y="0"/>
                      <a:pt x="19" y="17"/>
                    </a:cubicBezTo>
                    <a:cubicBezTo>
                      <a:pt x="7" y="19"/>
                      <a:pt x="1" y="28"/>
                      <a:pt x="1" y="39"/>
                    </a:cubicBezTo>
                    <a:cubicBezTo>
                      <a:pt x="1" y="254"/>
                      <a:pt x="1" y="254"/>
                      <a:pt x="1" y="254"/>
                    </a:cubicBezTo>
                    <a:cubicBezTo>
                      <a:pt x="1" y="261"/>
                      <a:pt x="3" y="267"/>
                      <a:pt x="7" y="270"/>
                    </a:cubicBezTo>
                    <a:cubicBezTo>
                      <a:pt x="9" y="273"/>
                      <a:pt x="14" y="275"/>
                      <a:pt x="21" y="275"/>
                    </a:cubicBezTo>
                    <a:cubicBezTo>
                      <a:pt x="109" y="270"/>
                      <a:pt x="178" y="292"/>
                      <a:pt x="190" y="296"/>
                    </a:cubicBezTo>
                    <a:cubicBezTo>
                      <a:pt x="193" y="297"/>
                      <a:pt x="196" y="297"/>
                      <a:pt x="198" y="297"/>
                    </a:cubicBezTo>
                    <a:cubicBezTo>
                      <a:pt x="201" y="297"/>
                      <a:pt x="203" y="297"/>
                      <a:pt x="206" y="296"/>
                    </a:cubicBezTo>
                    <a:cubicBezTo>
                      <a:pt x="219" y="292"/>
                      <a:pt x="287" y="270"/>
                      <a:pt x="375" y="275"/>
                    </a:cubicBezTo>
                    <a:cubicBezTo>
                      <a:pt x="382" y="275"/>
                      <a:pt x="387" y="273"/>
                      <a:pt x="390" y="270"/>
                    </a:cubicBezTo>
                    <a:cubicBezTo>
                      <a:pt x="394" y="267"/>
                      <a:pt x="396" y="261"/>
                      <a:pt x="396" y="254"/>
                    </a:cubicBezTo>
                    <a:cubicBezTo>
                      <a:pt x="396" y="88"/>
                      <a:pt x="396" y="88"/>
                      <a:pt x="396" y="88"/>
                    </a:cubicBezTo>
                    <a:cubicBezTo>
                      <a:pt x="396" y="83"/>
                      <a:pt x="392" y="80"/>
                      <a:pt x="388" y="80"/>
                    </a:cubicBezTo>
                    <a:cubicBezTo>
                      <a:pt x="383" y="80"/>
                      <a:pt x="380" y="83"/>
                      <a:pt x="380" y="88"/>
                    </a:cubicBezTo>
                    <a:cubicBezTo>
                      <a:pt x="380" y="254"/>
                      <a:pt x="380" y="254"/>
                      <a:pt x="380" y="254"/>
                    </a:cubicBezTo>
                    <a:cubicBezTo>
                      <a:pt x="380" y="257"/>
                      <a:pt x="379" y="258"/>
                      <a:pt x="379" y="258"/>
                    </a:cubicBezTo>
                    <a:cubicBezTo>
                      <a:pt x="379" y="258"/>
                      <a:pt x="378" y="259"/>
                      <a:pt x="376" y="259"/>
                    </a:cubicBezTo>
                    <a:cubicBezTo>
                      <a:pt x="285" y="254"/>
                      <a:pt x="214" y="276"/>
                      <a:pt x="201" y="281"/>
                    </a:cubicBezTo>
                    <a:cubicBezTo>
                      <a:pt x="199" y="282"/>
                      <a:pt x="197" y="282"/>
                      <a:pt x="196" y="281"/>
                    </a:cubicBezTo>
                    <a:cubicBezTo>
                      <a:pt x="182" y="276"/>
                      <a:pt x="111" y="254"/>
                      <a:pt x="20" y="259"/>
                    </a:cubicBezTo>
                    <a:cubicBezTo>
                      <a:pt x="18" y="259"/>
                      <a:pt x="17" y="258"/>
                      <a:pt x="17" y="258"/>
                    </a:cubicBezTo>
                    <a:cubicBezTo>
                      <a:pt x="17" y="258"/>
                      <a:pt x="17" y="257"/>
                      <a:pt x="17" y="254"/>
                    </a:cubicBezTo>
                    <a:cubicBezTo>
                      <a:pt x="17" y="39"/>
                      <a:pt x="17" y="39"/>
                      <a:pt x="17" y="39"/>
                    </a:cubicBezTo>
                    <a:cubicBezTo>
                      <a:pt x="17" y="35"/>
                      <a:pt x="18" y="34"/>
                      <a:pt x="22" y="33"/>
                    </a:cubicBezTo>
                    <a:cubicBezTo>
                      <a:pt x="115" y="16"/>
                      <a:pt x="179" y="46"/>
                      <a:pt x="186" y="49"/>
                    </a:cubicBezTo>
                    <a:cubicBezTo>
                      <a:pt x="192" y="52"/>
                      <a:pt x="195" y="53"/>
                      <a:pt x="195" y="53"/>
                    </a:cubicBezTo>
                    <a:cubicBezTo>
                      <a:pt x="197" y="54"/>
                      <a:pt x="199" y="54"/>
                      <a:pt x="201" y="53"/>
                    </a:cubicBezTo>
                    <a:cubicBezTo>
                      <a:pt x="201" y="53"/>
                      <a:pt x="205" y="52"/>
                      <a:pt x="211" y="49"/>
                    </a:cubicBezTo>
                    <a:cubicBezTo>
                      <a:pt x="217" y="46"/>
                      <a:pt x="281" y="16"/>
                      <a:pt x="375" y="33"/>
                    </a:cubicBezTo>
                    <a:cubicBezTo>
                      <a:pt x="378" y="34"/>
                      <a:pt x="380" y="35"/>
                      <a:pt x="380" y="39"/>
                    </a:cubicBezTo>
                    <a:cubicBezTo>
                      <a:pt x="380" y="56"/>
                      <a:pt x="380" y="56"/>
                      <a:pt x="380" y="56"/>
                    </a:cubicBezTo>
                    <a:cubicBezTo>
                      <a:pt x="380" y="60"/>
                      <a:pt x="383" y="64"/>
                      <a:pt x="388" y="64"/>
                    </a:cubicBezTo>
                    <a:moveTo>
                      <a:pt x="389" y="299"/>
                    </a:moveTo>
                    <a:cubicBezTo>
                      <a:pt x="295" y="291"/>
                      <a:pt x="221" y="314"/>
                      <a:pt x="201" y="321"/>
                    </a:cubicBezTo>
                    <a:cubicBezTo>
                      <a:pt x="199" y="321"/>
                      <a:pt x="197" y="321"/>
                      <a:pt x="196" y="321"/>
                    </a:cubicBezTo>
                    <a:cubicBezTo>
                      <a:pt x="175" y="314"/>
                      <a:pt x="101" y="291"/>
                      <a:pt x="8" y="299"/>
                    </a:cubicBezTo>
                    <a:cubicBezTo>
                      <a:pt x="3" y="300"/>
                      <a:pt x="0" y="304"/>
                      <a:pt x="1" y="308"/>
                    </a:cubicBezTo>
                    <a:cubicBezTo>
                      <a:pt x="1" y="313"/>
                      <a:pt x="5" y="316"/>
                      <a:pt x="9" y="315"/>
                    </a:cubicBezTo>
                    <a:cubicBezTo>
                      <a:pt x="99" y="307"/>
                      <a:pt x="171" y="329"/>
                      <a:pt x="190" y="336"/>
                    </a:cubicBezTo>
                    <a:cubicBezTo>
                      <a:pt x="193" y="337"/>
                      <a:pt x="196" y="337"/>
                      <a:pt x="198" y="337"/>
                    </a:cubicBezTo>
                    <a:cubicBezTo>
                      <a:pt x="201" y="337"/>
                      <a:pt x="203" y="337"/>
                      <a:pt x="206" y="336"/>
                    </a:cubicBezTo>
                    <a:cubicBezTo>
                      <a:pt x="226" y="329"/>
                      <a:pt x="297" y="307"/>
                      <a:pt x="387" y="315"/>
                    </a:cubicBezTo>
                    <a:cubicBezTo>
                      <a:pt x="392" y="316"/>
                      <a:pt x="395" y="313"/>
                      <a:pt x="396" y="308"/>
                    </a:cubicBezTo>
                    <a:cubicBezTo>
                      <a:pt x="396" y="304"/>
                      <a:pt x="393" y="300"/>
                      <a:pt x="389" y="299"/>
                    </a:cubicBezTo>
                    <a:moveTo>
                      <a:pt x="389" y="339"/>
                    </a:moveTo>
                    <a:cubicBezTo>
                      <a:pt x="295" y="331"/>
                      <a:pt x="221" y="354"/>
                      <a:pt x="200" y="361"/>
                    </a:cubicBezTo>
                    <a:cubicBezTo>
                      <a:pt x="199" y="361"/>
                      <a:pt x="197" y="361"/>
                      <a:pt x="196" y="361"/>
                    </a:cubicBezTo>
                    <a:cubicBezTo>
                      <a:pt x="176" y="354"/>
                      <a:pt x="101" y="331"/>
                      <a:pt x="8" y="339"/>
                    </a:cubicBezTo>
                    <a:cubicBezTo>
                      <a:pt x="3" y="340"/>
                      <a:pt x="0" y="344"/>
                      <a:pt x="1" y="348"/>
                    </a:cubicBezTo>
                    <a:cubicBezTo>
                      <a:pt x="1" y="352"/>
                      <a:pt x="5" y="356"/>
                      <a:pt x="9" y="355"/>
                    </a:cubicBezTo>
                    <a:cubicBezTo>
                      <a:pt x="100" y="347"/>
                      <a:pt x="171" y="369"/>
                      <a:pt x="191" y="376"/>
                    </a:cubicBezTo>
                    <a:cubicBezTo>
                      <a:pt x="193" y="377"/>
                      <a:pt x="196" y="377"/>
                      <a:pt x="198" y="377"/>
                    </a:cubicBezTo>
                    <a:cubicBezTo>
                      <a:pt x="201" y="377"/>
                      <a:pt x="203" y="377"/>
                      <a:pt x="206" y="376"/>
                    </a:cubicBezTo>
                    <a:cubicBezTo>
                      <a:pt x="225" y="369"/>
                      <a:pt x="297" y="347"/>
                      <a:pt x="387" y="355"/>
                    </a:cubicBezTo>
                    <a:cubicBezTo>
                      <a:pt x="392" y="356"/>
                      <a:pt x="395" y="352"/>
                      <a:pt x="396" y="348"/>
                    </a:cubicBezTo>
                    <a:cubicBezTo>
                      <a:pt x="396" y="344"/>
                      <a:pt x="393" y="340"/>
                      <a:pt x="389" y="339"/>
                    </a:cubicBezTo>
                    <a:moveTo>
                      <a:pt x="180" y="210"/>
                    </a:moveTo>
                    <a:cubicBezTo>
                      <a:pt x="170" y="220"/>
                      <a:pt x="170" y="236"/>
                      <a:pt x="180" y="246"/>
                    </a:cubicBezTo>
                    <a:cubicBezTo>
                      <a:pt x="190" y="256"/>
                      <a:pt x="206" y="256"/>
                      <a:pt x="216" y="246"/>
                    </a:cubicBezTo>
                    <a:cubicBezTo>
                      <a:pt x="226" y="236"/>
                      <a:pt x="226" y="220"/>
                      <a:pt x="216" y="210"/>
                    </a:cubicBezTo>
                    <a:cubicBezTo>
                      <a:pt x="206" y="200"/>
                      <a:pt x="190" y="200"/>
                      <a:pt x="180" y="210"/>
                    </a:cubicBezTo>
                    <a:moveTo>
                      <a:pt x="237" y="190"/>
                    </a:moveTo>
                    <a:cubicBezTo>
                      <a:pt x="239" y="190"/>
                      <a:pt x="241" y="189"/>
                      <a:pt x="243" y="187"/>
                    </a:cubicBezTo>
                    <a:cubicBezTo>
                      <a:pt x="246" y="184"/>
                      <a:pt x="246" y="179"/>
                      <a:pt x="243" y="176"/>
                    </a:cubicBezTo>
                    <a:cubicBezTo>
                      <a:pt x="230" y="164"/>
                      <a:pt x="214" y="158"/>
                      <a:pt x="198" y="158"/>
                    </a:cubicBezTo>
                    <a:cubicBezTo>
                      <a:pt x="182" y="158"/>
                      <a:pt x="166" y="164"/>
                      <a:pt x="154" y="176"/>
                    </a:cubicBezTo>
                    <a:cubicBezTo>
                      <a:pt x="151" y="179"/>
                      <a:pt x="151" y="184"/>
                      <a:pt x="154" y="187"/>
                    </a:cubicBezTo>
                    <a:cubicBezTo>
                      <a:pt x="157" y="191"/>
                      <a:pt x="162" y="191"/>
                      <a:pt x="165" y="187"/>
                    </a:cubicBezTo>
                    <a:cubicBezTo>
                      <a:pt x="174" y="178"/>
                      <a:pt x="186" y="174"/>
                      <a:pt x="198" y="174"/>
                    </a:cubicBezTo>
                    <a:cubicBezTo>
                      <a:pt x="210" y="174"/>
                      <a:pt x="222" y="178"/>
                      <a:pt x="231" y="187"/>
                    </a:cubicBezTo>
                    <a:cubicBezTo>
                      <a:pt x="233" y="189"/>
                      <a:pt x="235" y="190"/>
                      <a:pt x="237" y="190"/>
                    </a:cubicBezTo>
                    <a:moveTo>
                      <a:pt x="290" y="129"/>
                    </a:moveTo>
                    <a:cubicBezTo>
                      <a:pt x="291" y="131"/>
                      <a:pt x="293" y="132"/>
                      <a:pt x="295" y="132"/>
                    </a:cubicBezTo>
                    <a:cubicBezTo>
                      <a:pt x="298" y="132"/>
                      <a:pt x="300" y="131"/>
                      <a:pt x="301" y="129"/>
                    </a:cubicBezTo>
                    <a:cubicBezTo>
                      <a:pt x="304" y="126"/>
                      <a:pt x="304" y="121"/>
                      <a:pt x="301" y="118"/>
                    </a:cubicBezTo>
                    <a:cubicBezTo>
                      <a:pt x="296" y="113"/>
                      <a:pt x="291" y="109"/>
                      <a:pt x="286" y="105"/>
                    </a:cubicBezTo>
                    <a:cubicBezTo>
                      <a:pt x="284" y="103"/>
                      <a:pt x="282" y="102"/>
                      <a:pt x="281" y="101"/>
                    </a:cubicBezTo>
                    <a:cubicBezTo>
                      <a:pt x="277" y="98"/>
                      <a:pt x="272" y="99"/>
                      <a:pt x="269" y="103"/>
                    </a:cubicBezTo>
                    <a:cubicBezTo>
                      <a:pt x="267" y="106"/>
                      <a:pt x="268" y="111"/>
                      <a:pt x="272" y="114"/>
                    </a:cubicBezTo>
                    <a:cubicBezTo>
                      <a:pt x="273" y="115"/>
                      <a:pt x="275" y="116"/>
                      <a:pt x="276" y="118"/>
                    </a:cubicBezTo>
                    <a:cubicBezTo>
                      <a:pt x="281" y="121"/>
                      <a:pt x="286" y="125"/>
                      <a:pt x="290" y="129"/>
                    </a:cubicBezTo>
                    <a:moveTo>
                      <a:pt x="245" y="100"/>
                    </a:moveTo>
                    <a:cubicBezTo>
                      <a:pt x="249" y="102"/>
                      <a:pt x="254" y="100"/>
                      <a:pt x="255" y="95"/>
                    </a:cubicBezTo>
                    <a:cubicBezTo>
                      <a:pt x="257" y="91"/>
                      <a:pt x="255" y="87"/>
                      <a:pt x="251" y="85"/>
                    </a:cubicBezTo>
                    <a:cubicBezTo>
                      <a:pt x="234" y="79"/>
                      <a:pt x="216" y="75"/>
                      <a:pt x="198" y="75"/>
                    </a:cubicBezTo>
                    <a:cubicBezTo>
                      <a:pt x="159" y="75"/>
                      <a:pt x="123" y="90"/>
                      <a:pt x="95" y="118"/>
                    </a:cubicBezTo>
                    <a:cubicBezTo>
                      <a:pt x="92" y="121"/>
                      <a:pt x="92" y="126"/>
                      <a:pt x="95" y="129"/>
                    </a:cubicBezTo>
                    <a:cubicBezTo>
                      <a:pt x="97" y="131"/>
                      <a:pt x="99" y="132"/>
                      <a:pt x="101" y="132"/>
                    </a:cubicBezTo>
                    <a:cubicBezTo>
                      <a:pt x="103" y="132"/>
                      <a:pt x="105" y="131"/>
                      <a:pt x="107" y="129"/>
                    </a:cubicBezTo>
                    <a:cubicBezTo>
                      <a:pt x="131" y="105"/>
                      <a:pt x="164" y="91"/>
                      <a:pt x="198" y="91"/>
                    </a:cubicBezTo>
                    <a:cubicBezTo>
                      <a:pt x="214" y="91"/>
                      <a:pt x="230" y="94"/>
                      <a:pt x="245" y="100"/>
                    </a:cubicBezTo>
                    <a:moveTo>
                      <a:pt x="266" y="161"/>
                    </a:moveTo>
                    <a:cubicBezTo>
                      <a:pt x="268" y="161"/>
                      <a:pt x="270" y="160"/>
                      <a:pt x="272" y="159"/>
                    </a:cubicBezTo>
                    <a:cubicBezTo>
                      <a:pt x="275" y="155"/>
                      <a:pt x="275" y="150"/>
                      <a:pt x="272" y="147"/>
                    </a:cubicBezTo>
                    <a:cubicBezTo>
                      <a:pt x="251" y="127"/>
                      <a:pt x="225" y="117"/>
                      <a:pt x="198" y="117"/>
                    </a:cubicBezTo>
                    <a:cubicBezTo>
                      <a:pt x="172" y="117"/>
                      <a:pt x="145" y="127"/>
                      <a:pt x="125" y="147"/>
                    </a:cubicBezTo>
                    <a:cubicBezTo>
                      <a:pt x="122" y="150"/>
                      <a:pt x="122" y="155"/>
                      <a:pt x="125" y="159"/>
                    </a:cubicBezTo>
                    <a:cubicBezTo>
                      <a:pt x="128" y="162"/>
                      <a:pt x="133" y="162"/>
                      <a:pt x="136" y="159"/>
                    </a:cubicBezTo>
                    <a:cubicBezTo>
                      <a:pt x="136" y="159"/>
                      <a:pt x="136" y="159"/>
                      <a:pt x="136" y="159"/>
                    </a:cubicBezTo>
                    <a:cubicBezTo>
                      <a:pt x="153" y="141"/>
                      <a:pt x="176" y="133"/>
                      <a:pt x="198" y="133"/>
                    </a:cubicBezTo>
                    <a:cubicBezTo>
                      <a:pt x="221" y="133"/>
                      <a:pt x="243" y="141"/>
                      <a:pt x="260" y="159"/>
                    </a:cubicBezTo>
                    <a:cubicBezTo>
                      <a:pt x="262" y="160"/>
                      <a:pt x="264" y="161"/>
                      <a:pt x="266" y="16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40" name="Freeform 3"/>
              <p:cNvSpPr>
                <a:spLocks noChangeAspect="1" noEditPoints="1"/>
              </p:cNvSpPr>
              <p:nvPr/>
            </p:nvSpPr>
            <p:spPr bwMode="auto">
              <a:xfrm>
                <a:off x="5447318" y="2899354"/>
                <a:ext cx="170075" cy="133327"/>
              </a:xfrm>
              <a:custGeom>
                <a:avLst/>
                <a:gdLst>
                  <a:gd name="T0" fmla="*/ 2147483647 w 430"/>
                  <a:gd name="T1" fmla="*/ 2147483647 h 344"/>
                  <a:gd name="T2" fmla="*/ 2147483647 w 430"/>
                  <a:gd name="T3" fmla="*/ 2147483647 h 344"/>
                  <a:gd name="T4" fmla="*/ 2147483647 w 430"/>
                  <a:gd name="T5" fmla="*/ 2147483647 h 344"/>
                  <a:gd name="T6" fmla="*/ 2147483647 w 430"/>
                  <a:gd name="T7" fmla="*/ 2147483647 h 344"/>
                  <a:gd name="T8" fmla="*/ 2147483647 w 430"/>
                  <a:gd name="T9" fmla="*/ 2147483647 h 344"/>
                  <a:gd name="T10" fmla="*/ 2147483647 w 430"/>
                  <a:gd name="T11" fmla="*/ 2147483647 h 344"/>
                  <a:gd name="T12" fmla="*/ 2147483647 w 430"/>
                  <a:gd name="T13" fmla="*/ 2147483647 h 344"/>
                  <a:gd name="T14" fmla="*/ 2147483647 w 430"/>
                  <a:gd name="T15" fmla="*/ 2147483647 h 344"/>
                  <a:gd name="T16" fmla="*/ 2147483647 w 430"/>
                  <a:gd name="T17" fmla="*/ 2147483647 h 344"/>
                  <a:gd name="T18" fmla="*/ 2147483647 w 430"/>
                  <a:gd name="T19" fmla="*/ 2147483647 h 344"/>
                  <a:gd name="T20" fmla="*/ 2147483647 w 430"/>
                  <a:gd name="T21" fmla="*/ 2147483647 h 344"/>
                  <a:gd name="T22" fmla="*/ 2147483647 w 430"/>
                  <a:gd name="T23" fmla="*/ 2147483647 h 344"/>
                  <a:gd name="T24" fmla="*/ 2147483647 w 430"/>
                  <a:gd name="T25" fmla="*/ 2147483647 h 344"/>
                  <a:gd name="T26" fmla="*/ 2147483647 w 430"/>
                  <a:gd name="T27" fmla="*/ 2147483647 h 344"/>
                  <a:gd name="T28" fmla="*/ 2147483647 w 430"/>
                  <a:gd name="T29" fmla="*/ 2147483647 h 344"/>
                  <a:gd name="T30" fmla="*/ 2147483647 w 430"/>
                  <a:gd name="T31" fmla="*/ 2147483647 h 344"/>
                  <a:gd name="T32" fmla="*/ 2147483647 w 430"/>
                  <a:gd name="T33" fmla="*/ 2147483647 h 344"/>
                  <a:gd name="T34" fmla="*/ 2147483647 w 430"/>
                  <a:gd name="T35" fmla="*/ 2147483647 h 344"/>
                  <a:gd name="T36" fmla="*/ 2147483647 w 430"/>
                  <a:gd name="T37" fmla="*/ 2147483647 h 344"/>
                  <a:gd name="T38" fmla="*/ 2147483647 w 430"/>
                  <a:gd name="T39" fmla="*/ 2147483647 h 344"/>
                  <a:gd name="T40" fmla="*/ 2147483647 w 430"/>
                  <a:gd name="T41" fmla="*/ 2147483647 h 344"/>
                  <a:gd name="T42" fmla="*/ 2147483647 w 430"/>
                  <a:gd name="T43" fmla="*/ 2147483647 h 344"/>
                  <a:gd name="T44" fmla="*/ 2147483647 w 430"/>
                  <a:gd name="T45" fmla="*/ 0 h 344"/>
                  <a:gd name="T46" fmla="*/ 0 w 430"/>
                  <a:gd name="T47" fmla="*/ 2147483647 h 344"/>
                  <a:gd name="T48" fmla="*/ 2147483647 w 430"/>
                  <a:gd name="T49" fmla="*/ 2147483647 h 344"/>
                  <a:gd name="T50" fmla="*/ 2147483647 w 430"/>
                  <a:gd name="T51" fmla="*/ 2147483647 h 344"/>
                  <a:gd name="T52" fmla="*/ 2147483647 w 430"/>
                  <a:gd name="T53" fmla="*/ 2147483647 h 344"/>
                  <a:gd name="T54" fmla="*/ 2147483647 w 430"/>
                  <a:gd name="T55" fmla="*/ 2147483647 h 344"/>
                  <a:gd name="T56" fmla="*/ 2147483647 w 430"/>
                  <a:gd name="T57" fmla="*/ 2147483647 h 344"/>
                  <a:gd name="T58" fmla="*/ 2147483647 w 430"/>
                  <a:gd name="T59" fmla="*/ 2147483647 h 344"/>
                  <a:gd name="T60" fmla="*/ 2147483647 w 430"/>
                  <a:gd name="T61" fmla="*/ 2147483647 h 344"/>
                  <a:gd name="T62" fmla="*/ 2147483647 w 430"/>
                  <a:gd name="T63" fmla="*/ 2147483647 h 344"/>
                  <a:gd name="T64" fmla="*/ 2147483647 w 430"/>
                  <a:gd name="T65" fmla="*/ 2147483647 h 344"/>
                  <a:gd name="T66" fmla="*/ 2147483647 w 430"/>
                  <a:gd name="T67" fmla="*/ 2147483647 h 344"/>
                  <a:gd name="T68" fmla="*/ 2147483647 w 430"/>
                  <a:gd name="T69" fmla="*/ 2147483647 h 344"/>
                  <a:gd name="T70" fmla="*/ 2147483647 w 430"/>
                  <a:gd name="T71" fmla="*/ 2147483647 h 344"/>
                  <a:gd name="T72" fmla="*/ 2147483647 w 430"/>
                  <a:gd name="T73" fmla="*/ 2147483647 h 344"/>
                  <a:gd name="T74" fmla="*/ 2147483647 w 430"/>
                  <a:gd name="T75" fmla="*/ 2147483647 h 344"/>
                  <a:gd name="T76" fmla="*/ 2147483647 w 430"/>
                  <a:gd name="T77" fmla="*/ 2147483647 h 34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430" h="344">
                    <a:moveTo>
                      <a:pt x="177" y="99"/>
                    </a:moveTo>
                    <a:cubicBezTo>
                      <a:pt x="177" y="90"/>
                      <a:pt x="169" y="82"/>
                      <a:pt x="160" y="82"/>
                    </a:cubicBezTo>
                    <a:cubicBezTo>
                      <a:pt x="139" y="82"/>
                      <a:pt x="139" y="82"/>
                      <a:pt x="139" y="82"/>
                    </a:cubicBezTo>
                    <a:cubicBezTo>
                      <a:pt x="130" y="82"/>
                      <a:pt x="122" y="90"/>
                      <a:pt x="122" y="99"/>
                    </a:cubicBezTo>
                    <a:cubicBezTo>
                      <a:pt x="122" y="118"/>
                      <a:pt x="122" y="118"/>
                      <a:pt x="122" y="118"/>
                    </a:cubicBezTo>
                    <a:cubicBezTo>
                      <a:pt x="122" y="128"/>
                      <a:pt x="130" y="135"/>
                      <a:pt x="139" y="135"/>
                    </a:cubicBezTo>
                    <a:cubicBezTo>
                      <a:pt x="160" y="135"/>
                      <a:pt x="160" y="135"/>
                      <a:pt x="160" y="135"/>
                    </a:cubicBezTo>
                    <a:cubicBezTo>
                      <a:pt x="169" y="135"/>
                      <a:pt x="177" y="128"/>
                      <a:pt x="177" y="118"/>
                    </a:cubicBezTo>
                    <a:lnTo>
                      <a:pt x="177" y="99"/>
                    </a:lnTo>
                    <a:close/>
                    <a:moveTo>
                      <a:pt x="79" y="82"/>
                    </a:moveTo>
                    <a:cubicBezTo>
                      <a:pt x="59" y="82"/>
                      <a:pt x="59" y="82"/>
                      <a:pt x="59" y="82"/>
                    </a:cubicBezTo>
                    <a:cubicBezTo>
                      <a:pt x="50" y="82"/>
                      <a:pt x="42" y="90"/>
                      <a:pt x="42" y="99"/>
                    </a:cubicBezTo>
                    <a:cubicBezTo>
                      <a:pt x="42" y="118"/>
                      <a:pt x="42" y="118"/>
                      <a:pt x="42" y="118"/>
                    </a:cubicBezTo>
                    <a:cubicBezTo>
                      <a:pt x="42" y="128"/>
                      <a:pt x="50" y="135"/>
                      <a:pt x="59" y="135"/>
                    </a:cubicBezTo>
                    <a:cubicBezTo>
                      <a:pt x="79" y="135"/>
                      <a:pt x="79" y="135"/>
                      <a:pt x="79" y="135"/>
                    </a:cubicBezTo>
                    <a:cubicBezTo>
                      <a:pt x="89" y="135"/>
                      <a:pt x="96" y="128"/>
                      <a:pt x="96" y="118"/>
                    </a:cubicBezTo>
                    <a:cubicBezTo>
                      <a:pt x="96" y="99"/>
                      <a:pt x="96" y="99"/>
                      <a:pt x="96" y="99"/>
                    </a:cubicBezTo>
                    <a:cubicBezTo>
                      <a:pt x="96" y="90"/>
                      <a:pt x="89" y="82"/>
                      <a:pt x="79" y="82"/>
                    </a:cubicBezTo>
                    <a:moveTo>
                      <a:pt x="414" y="87"/>
                    </a:moveTo>
                    <a:cubicBezTo>
                      <a:pt x="398" y="87"/>
                      <a:pt x="398" y="87"/>
                      <a:pt x="398" y="87"/>
                    </a:cubicBezTo>
                    <a:cubicBezTo>
                      <a:pt x="398" y="87"/>
                      <a:pt x="398" y="87"/>
                      <a:pt x="398" y="87"/>
                    </a:cubicBezTo>
                    <a:cubicBezTo>
                      <a:pt x="398" y="17"/>
                      <a:pt x="398" y="17"/>
                      <a:pt x="398" y="17"/>
                    </a:cubicBezTo>
                    <a:cubicBezTo>
                      <a:pt x="398" y="8"/>
                      <a:pt x="391" y="1"/>
                      <a:pt x="382" y="1"/>
                    </a:cubicBezTo>
                    <a:cubicBezTo>
                      <a:pt x="374" y="1"/>
                      <a:pt x="374" y="1"/>
                      <a:pt x="374" y="1"/>
                    </a:cubicBezTo>
                    <a:cubicBezTo>
                      <a:pt x="365" y="1"/>
                      <a:pt x="358" y="8"/>
                      <a:pt x="358" y="17"/>
                    </a:cubicBezTo>
                    <a:cubicBezTo>
                      <a:pt x="358" y="87"/>
                      <a:pt x="358" y="87"/>
                      <a:pt x="358" y="87"/>
                    </a:cubicBezTo>
                    <a:cubicBezTo>
                      <a:pt x="358" y="87"/>
                      <a:pt x="358" y="87"/>
                      <a:pt x="358" y="87"/>
                    </a:cubicBezTo>
                    <a:cubicBezTo>
                      <a:pt x="327" y="87"/>
                      <a:pt x="327" y="87"/>
                      <a:pt x="327" y="87"/>
                    </a:cubicBezTo>
                    <a:cubicBezTo>
                      <a:pt x="327" y="87"/>
                      <a:pt x="327" y="87"/>
                      <a:pt x="327" y="87"/>
                    </a:cubicBezTo>
                    <a:cubicBezTo>
                      <a:pt x="327" y="17"/>
                      <a:pt x="327" y="17"/>
                      <a:pt x="327" y="17"/>
                    </a:cubicBezTo>
                    <a:cubicBezTo>
                      <a:pt x="327" y="8"/>
                      <a:pt x="320" y="1"/>
                      <a:pt x="311" y="1"/>
                    </a:cubicBezTo>
                    <a:cubicBezTo>
                      <a:pt x="303" y="1"/>
                      <a:pt x="303" y="1"/>
                      <a:pt x="303" y="1"/>
                    </a:cubicBezTo>
                    <a:cubicBezTo>
                      <a:pt x="294" y="1"/>
                      <a:pt x="287" y="8"/>
                      <a:pt x="287" y="17"/>
                    </a:cubicBezTo>
                    <a:cubicBezTo>
                      <a:pt x="287" y="87"/>
                      <a:pt x="287" y="87"/>
                      <a:pt x="287" y="87"/>
                    </a:cubicBezTo>
                    <a:cubicBezTo>
                      <a:pt x="287" y="87"/>
                      <a:pt x="287" y="87"/>
                      <a:pt x="287" y="87"/>
                    </a:cubicBezTo>
                    <a:cubicBezTo>
                      <a:pt x="270" y="87"/>
                      <a:pt x="270" y="87"/>
                      <a:pt x="270" y="87"/>
                    </a:cubicBezTo>
                    <a:cubicBezTo>
                      <a:pt x="261" y="87"/>
                      <a:pt x="254" y="94"/>
                      <a:pt x="254" y="103"/>
                    </a:cubicBezTo>
                    <a:cubicBezTo>
                      <a:pt x="254" y="131"/>
                      <a:pt x="254" y="131"/>
                      <a:pt x="254" y="131"/>
                    </a:cubicBezTo>
                    <a:cubicBezTo>
                      <a:pt x="254" y="180"/>
                      <a:pt x="293" y="219"/>
                      <a:pt x="341" y="220"/>
                    </a:cubicBezTo>
                    <a:cubicBezTo>
                      <a:pt x="339" y="280"/>
                      <a:pt x="290" y="328"/>
                      <a:pt x="229" y="328"/>
                    </a:cubicBezTo>
                    <a:cubicBezTo>
                      <a:pt x="168" y="328"/>
                      <a:pt x="118" y="279"/>
                      <a:pt x="117" y="218"/>
                    </a:cubicBezTo>
                    <a:cubicBezTo>
                      <a:pt x="185" y="218"/>
                      <a:pt x="185" y="218"/>
                      <a:pt x="185" y="218"/>
                    </a:cubicBezTo>
                    <a:cubicBezTo>
                      <a:pt x="203" y="218"/>
                      <a:pt x="219" y="202"/>
                      <a:pt x="219" y="184"/>
                    </a:cubicBezTo>
                    <a:cubicBezTo>
                      <a:pt x="219" y="34"/>
                      <a:pt x="219" y="34"/>
                      <a:pt x="219" y="34"/>
                    </a:cubicBezTo>
                    <a:cubicBezTo>
                      <a:pt x="219" y="15"/>
                      <a:pt x="203" y="0"/>
                      <a:pt x="185" y="0"/>
                    </a:cubicBezTo>
                    <a:cubicBezTo>
                      <a:pt x="34" y="0"/>
                      <a:pt x="34" y="0"/>
                      <a:pt x="34" y="0"/>
                    </a:cubicBezTo>
                    <a:cubicBezTo>
                      <a:pt x="15" y="0"/>
                      <a:pt x="0" y="15"/>
                      <a:pt x="0" y="34"/>
                    </a:cubicBezTo>
                    <a:cubicBezTo>
                      <a:pt x="0" y="184"/>
                      <a:pt x="0" y="184"/>
                      <a:pt x="0" y="184"/>
                    </a:cubicBezTo>
                    <a:cubicBezTo>
                      <a:pt x="0" y="202"/>
                      <a:pt x="15" y="218"/>
                      <a:pt x="34" y="218"/>
                    </a:cubicBezTo>
                    <a:cubicBezTo>
                      <a:pt x="101" y="218"/>
                      <a:pt x="101" y="218"/>
                      <a:pt x="101" y="218"/>
                    </a:cubicBezTo>
                    <a:cubicBezTo>
                      <a:pt x="102" y="287"/>
                      <a:pt x="159" y="344"/>
                      <a:pt x="229" y="344"/>
                    </a:cubicBezTo>
                    <a:cubicBezTo>
                      <a:pt x="299" y="344"/>
                      <a:pt x="356" y="288"/>
                      <a:pt x="357" y="218"/>
                    </a:cubicBezTo>
                    <a:cubicBezTo>
                      <a:pt x="390" y="213"/>
                      <a:pt x="418" y="188"/>
                      <a:pt x="427" y="155"/>
                    </a:cubicBezTo>
                    <a:cubicBezTo>
                      <a:pt x="428" y="151"/>
                      <a:pt x="426" y="147"/>
                      <a:pt x="422" y="145"/>
                    </a:cubicBezTo>
                    <a:cubicBezTo>
                      <a:pt x="417" y="144"/>
                      <a:pt x="413" y="147"/>
                      <a:pt x="412" y="151"/>
                    </a:cubicBezTo>
                    <a:cubicBezTo>
                      <a:pt x="403" y="182"/>
                      <a:pt x="374" y="204"/>
                      <a:pt x="342" y="204"/>
                    </a:cubicBezTo>
                    <a:cubicBezTo>
                      <a:pt x="302" y="204"/>
                      <a:pt x="270" y="171"/>
                      <a:pt x="270" y="131"/>
                    </a:cubicBezTo>
                    <a:cubicBezTo>
                      <a:pt x="270" y="103"/>
                      <a:pt x="270" y="103"/>
                      <a:pt x="270" y="103"/>
                    </a:cubicBezTo>
                    <a:cubicBezTo>
                      <a:pt x="414" y="103"/>
                      <a:pt x="414" y="103"/>
                      <a:pt x="414" y="103"/>
                    </a:cubicBezTo>
                    <a:cubicBezTo>
                      <a:pt x="414" y="121"/>
                      <a:pt x="414" y="121"/>
                      <a:pt x="414" y="121"/>
                    </a:cubicBezTo>
                    <a:cubicBezTo>
                      <a:pt x="414" y="126"/>
                      <a:pt x="418" y="129"/>
                      <a:pt x="422" y="129"/>
                    </a:cubicBezTo>
                    <a:cubicBezTo>
                      <a:pt x="427" y="129"/>
                      <a:pt x="430" y="126"/>
                      <a:pt x="430" y="121"/>
                    </a:cubicBezTo>
                    <a:cubicBezTo>
                      <a:pt x="430" y="103"/>
                      <a:pt x="430" y="103"/>
                      <a:pt x="430" y="103"/>
                    </a:cubicBezTo>
                    <a:cubicBezTo>
                      <a:pt x="430" y="94"/>
                      <a:pt x="423" y="87"/>
                      <a:pt x="414" y="87"/>
                    </a:cubicBezTo>
                    <a:moveTo>
                      <a:pt x="17" y="109"/>
                    </a:moveTo>
                    <a:cubicBezTo>
                      <a:pt x="17" y="58"/>
                      <a:pt x="58" y="16"/>
                      <a:pt x="109" y="16"/>
                    </a:cubicBezTo>
                    <a:cubicBezTo>
                      <a:pt x="161" y="16"/>
                      <a:pt x="202" y="58"/>
                      <a:pt x="202" y="109"/>
                    </a:cubicBezTo>
                    <a:cubicBezTo>
                      <a:pt x="202" y="160"/>
                      <a:pt x="161" y="201"/>
                      <a:pt x="109" y="201"/>
                    </a:cubicBezTo>
                    <a:cubicBezTo>
                      <a:pt x="58" y="201"/>
                      <a:pt x="17" y="160"/>
                      <a:pt x="17" y="109"/>
                    </a:cubicBezTo>
                    <a:moveTo>
                      <a:pt x="311" y="87"/>
                    </a:moveTo>
                    <a:cubicBezTo>
                      <a:pt x="303" y="87"/>
                      <a:pt x="303" y="87"/>
                      <a:pt x="303" y="87"/>
                    </a:cubicBezTo>
                    <a:cubicBezTo>
                      <a:pt x="303" y="17"/>
                      <a:pt x="303" y="17"/>
                      <a:pt x="303" y="17"/>
                    </a:cubicBezTo>
                    <a:cubicBezTo>
                      <a:pt x="311" y="17"/>
                      <a:pt x="311" y="17"/>
                      <a:pt x="311" y="17"/>
                    </a:cubicBezTo>
                    <a:lnTo>
                      <a:pt x="311" y="87"/>
                    </a:lnTo>
                    <a:close/>
                    <a:moveTo>
                      <a:pt x="382" y="87"/>
                    </a:moveTo>
                    <a:cubicBezTo>
                      <a:pt x="374" y="87"/>
                      <a:pt x="374" y="87"/>
                      <a:pt x="374" y="87"/>
                    </a:cubicBezTo>
                    <a:cubicBezTo>
                      <a:pt x="374" y="17"/>
                      <a:pt x="374" y="17"/>
                      <a:pt x="374" y="17"/>
                    </a:cubicBezTo>
                    <a:cubicBezTo>
                      <a:pt x="382" y="17"/>
                      <a:pt x="382" y="17"/>
                      <a:pt x="382" y="17"/>
                    </a:cubicBezTo>
                    <a:lnTo>
                      <a:pt x="382"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41" name="Freeform 3"/>
              <p:cNvSpPr>
                <a:spLocks noChangeAspect="1" noEditPoints="1"/>
              </p:cNvSpPr>
              <p:nvPr/>
            </p:nvSpPr>
            <p:spPr bwMode="auto">
              <a:xfrm>
                <a:off x="5188638" y="2497443"/>
                <a:ext cx="178956" cy="114795"/>
              </a:xfrm>
              <a:custGeom>
                <a:avLst/>
                <a:gdLst>
                  <a:gd name="T0" fmla="*/ 2147483647 w 452"/>
                  <a:gd name="T1" fmla="*/ 2147483647 h 296"/>
                  <a:gd name="T2" fmla="*/ 2147483647 w 452"/>
                  <a:gd name="T3" fmla="*/ 2147483647 h 296"/>
                  <a:gd name="T4" fmla="*/ 2147483647 w 452"/>
                  <a:gd name="T5" fmla="*/ 2147483647 h 296"/>
                  <a:gd name="T6" fmla="*/ 2147483647 w 452"/>
                  <a:gd name="T7" fmla="*/ 2147483647 h 296"/>
                  <a:gd name="T8" fmla="*/ 2147483647 w 452"/>
                  <a:gd name="T9" fmla="*/ 2147483647 h 296"/>
                  <a:gd name="T10" fmla="*/ 2147483647 w 452"/>
                  <a:gd name="T11" fmla="*/ 2147483647 h 296"/>
                  <a:gd name="T12" fmla="*/ 2147483647 w 452"/>
                  <a:gd name="T13" fmla="*/ 2147483647 h 296"/>
                  <a:gd name="T14" fmla="*/ 2147483647 w 452"/>
                  <a:gd name="T15" fmla="*/ 2147483647 h 296"/>
                  <a:gd name="T16" fmla="*/ 2147483647 w 452"/>
                  <a:gd name="T17" fmla="*/ 0 h 296"/>
                  <a:gd name="T18" fmla="*/ 2147483647 w 452"/>
                  <a:gd name="T19" fmla="*/ 2147483647 h 296"/>
                  <a:gd name="T20" fmla="*/ 2147483647 w 452"/>
                  <a:gd name="T21" fmla="*/ 2147483647 h 296"/>
                  <a:gd name="T22" fmla="*/ 2147483647 w 452"/>
                  <a:gd name="T23" fmla="*/ 2147483647 h 296"/>
                  <a:gd name="T24" fmla="*/ 0 w 452"/>
                  <a:gd name="T25" fmla="*/ 2147483647 h 296"/>
                  <a:gd name="T26" fmla="*/ 2147483647 w 452"/>
                  <a:gd name="T27" fmla="*/ 2147483647 h 296"/>
                  <a:gd name="T28" fmla="*/ 2147483647 w 452"/>
                  <a:gd name="T29" fmla="*/ 2147483647 h 296"/>
                  <a:gd name="T30" fmla="*/ 2147483647 w 452"/>
                  <a:gd name="T31" fmla="*/ 2147483647 h 296"/>
                  <a:gd name="T32" fmla="*/ 2147483647 w 452"/>
                  <a:gd name="T33" fmla="*/ 2147483647 h 296"/>
                  <a:gd name="T34" fmla="*/ 2147483647 w 452"/>
                  <a:gd name="T35" fmla="*/ 2147483647 h 296"/>
                  <a:gd name="T36" fmla="*/ 2147483647 w 452"/>
                  <a:gd name="T37" fmla="*/ 2147483647 h 296"/>
                  <a:gd name="T38" fmla="*/ 2147483647 w 452"/>
                  <a:gd name="T39" fmla="*/ 2147483647 h 296"/>
                  <a:gd name="T40" fmla="*/ 2147483647 w 452"/>
                  <a:gd name="T41" fmla="*/ 2147483647 h 296"/>
                  <a:gd name="T42" fmla="*/ 2147483647 w 452"/>
                  <a:gd name="T43" fmla="*/ 2147483647 h 296"/>
                  <a:gd name="T44" fmla="*/ 2147483647 w 452"/>
                  <a:gd name="T45" fmla="*/ 2147483647 h 296"/>
                  <a:gd name="T46" fmla="*/ 2147483647 w 452"/>
                  <a:gd name="T47" fmla="*/ 2147483647 h 296"/>
                  <a:gd name="T48" fmla="*/ 2147483647 w 452"/>
                  <a:gd name="T49" fmla="*/ 2147483647 h 296"/>
                  <a:gd name="T50" fmla="*/ 2147483647 w 452"/>
                  <a:gd name="T51" fmla="*/ 2147483647 h 296"/>
                  <a:gd name="T52" fmla="*/ 2147483647 w 452"/>
                  <a:gd name="T53" fmla="*/ 2147483647 h 296"/>
                  <a:gd name="T54" fmla="*/ 2147483647 w 452"/>
                  <a:gd name="T55" fmla="*/ 2147483647 h 296"/>
                  <a:gd name="T56" fmla="*/ 2147483647 w 452"/>
                  <a:gd name="T57" fmla="*/ 2147483647 h 296"/>
                  <a:gd name="T58" fmla="*/ 2147483647 w 452"/>
                  <a:gd name="T59" fmla="*/ 2147483647 h 296"/>
                  <a:gd name="T60" fmla="*/ 2147483647 w 452"/>
                  <a:gd name="T61" fmla="*/ 2147483647 h 296"/>
                  <a:gd name="T62" fmla="*/ 2147483647 w 452"/>
                  <a:gd name="T63" fmla="*/ 2147483647 h 29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452" h="296">
                    <a:moveTo>
                      <a:pt x="438" y="249"/>
                    </a:moveTo>
                    <a:cubicBezTo>
                      <a:pt x="421" y="249"/>
                      <a:pt x="421" y="249"/>
                      <a:pt x="421" y="249"/>
                    </a:cubicBezTo>
                    <a:cubicBezTo>
                      <a:pt x="421" y="249"/>
                      <a:pt x="421" y="248"/>
                      <a:pt x="421" y="248"/>
                    </a:cubicBezTo>
                    <a:cubicBezTo>
                      <a:pt x="421" y="70"/>
                      <a:pt x="421" y="70"/>
                      <a:pt x="421" y="70"/>
                    </a:cubicBezTo>
                    <a:cubicBezTo>
                      <a:pt x="421" y="65"/>
                      <a:pt x="418" y="62"/>
                      <a:pt x="413" y="62"/>
                    </a:cubicBezTo>
                    <a:cubicBezTo>
                      <a:pt x="409" y="62"/>
                      <a:pt x="405" y="65"/>
                      <a:pt x="405" y="70"/>
                    </a:cubicBezTo>
                    <a:cubicBezTo>
                      <a:pt x="405" y="248"/>
                      <a:pt x="405" y="248"/>
                      <a:pt x="405" y="248"/>
                    </a:cubicBezTo>
                    <a:cubicBezTo>
                      <a:pt x="405" y="248"/>
                      <a:pt x="406" y="249"/>
                      <a:pt x="406" y="249"/>
                    </a:cubicBezTo>
                    <a:cubicBezTo>
                      <a:pt x="47" y="249"/>
                      <a:pt x="47" y="249"/>
                      <a:pt x="47" y="249"/>
                    </a:cubicBezTo>
                    <a:cubicBezTo>
                      <a:pt x="47" y="228"/>
                      <a:pt x="47" y="228"/>
                      <a:pt x="47" y="228"/>
                    </a:cubicBezTo>
                    <a:cubicBezTo>
                      <a:pt x="47" y="211"/>
                      <a:pt x="47" y="211"/>
                      <a:pt x="47" y="211"/>
                    </a:cubicBezTo>
                    <a:cubicBezTo>
                      <a:pt x="47" y="16"/>
                      <a:pt x="47" y="16"/>
                      <a:pt x="47" y="16"/>
                    </a:cubicBezTo>
                    <a:cubicBezTo>
                      <a:pt x="405" y="16"/>
                      <a:pt x="405" y="16"/>
                      <a:pt x="405" y="16"/>
                    </a:cubicBezTo>
                    <a:cubicBezTo>
                      <a:pt x="405" y="37"/>
                      <a:pt x="405" y="37"/>
                      <a:pt x="405" y="37"/>
                    </a:cubicBezTo>
                    <a:cubicBezTo>
                      <a:pt x="405" y="42"/>
                      <a:pt x="409" y="45"/>
                      <a:pt x="413" y="45"/>
                    </a:cubicBezTo>
                    <a:cubicBezTo>
                      <a:pt x="418" y="45"/>
                      <a:pt x="421" y="42"/>
                      <a:pt x="421" y="37"/>
                    </a:cubicBezTo>
                    <a:cubicBezTo>
                      <a:pt x="421" y="14"/>
                      <a:pt x="421" y="14"/>
                      <a:pt x="421" y="14"/>
                    </a:cubicBezTo>
                    <a:cubicBezTo>
                      <a:pt x="421" y="6"/>
                      <a:pt x="415" y="0"/>
                      <a:pt x="408" y="0"/>
                    </a:cubicBezTo>
                    <a:cubicBezTo>
                      <a:pt x="45" y="0"/>
                      <a:pt x="45" y="0"/>
                      <a:pt x="45" y="0"/>
                    </a:cubicBezTo>
                    <a:cubicBezTo>
                      <a:pt x="37" y="0"/>
                      <a:pt x="31" y="6"/>
                      <a:pt x="31" y="14"/>
                    </a:cubicBezTo>
                    <a:cubicBezTo>
                      <a:pt x="31" y="211"/>
                      <a:pt x="31" y="211"/>
                      <a:pt x="31" y="211"/>
                    </a:cubicBezTo>
                    <a:cubicBezTo>
                      <a:pt x="31" y="228"/>
                      <a:pt x="31" y="228"/>
                      <a:pt x="31" y="228"/>
                    </a:cubicBezTo>
                    <a:cubicBezTo>
                      <a:pt x="31" y="249"/>
                      <a:pt x="31" y="249"/>
                      <a:pt x="31" y="249"/>
                    </a:cubicBezTo>
                    <a:cubicBezTo>
                      <a:pt x="14" y="249"/>
                      <a:pt x="14" y="249"/>
                      <a:pt x="14" y="249"/>
                    </a:cubicBezTo>
                    <a:cubicBezTo>
                      <a:pt x="7" y="249"/>
                      <a:pt x="0" y="255"/>
                      <a:pt x="0" y="263"/>
                    </a:cubicBezTo>
                    <a:cubicBezTo>
                      <a:pt x="0" y="282"/>
                      <a:pt x="0" y="282"/>
                      <a:pt x="0" y="282"/>
                    </a:cubicBezTo>
                    <a:cubicBezTo>
                      <a:pt x="0" y="289"/>
                      <a:pt x="7" y="296"/>
                      <a:pt x="14" y="296"/>
                    </a:cubicBezTo>
                    <a:cubicBezTo>
                      <a:pt x="438" y="296"/>
                      <a:pt x="438" y="296"/>
                      <a:pt x="438" y="296"/>
                    </a:cubicBezTo>
                    <a:cubicBezTo>
                      <a:pt x="446" y="296"/>
                      <a:pt x="452" y="289"/>
                      <a:pt x="452" y="282"/>
                    </a:cubicBezTo>
                    <a:cubicBezTo>
                      <a:pt x="452" y="263"/>
                      <a:pt x="452" y="263"/>
                      <a:pt x="452" y="263"/>
                    </a:cubicBezTo>
                    <a:cubicBezTo>
                      <a:pt x="452" y="255"/>
                      <a:pt x="446" y="249"/>
                      <a:pt x="438" y="249"/>
                    </a:cubicBezTo>
                    <a:close/>
                    <a:moveTo>
                      <a:pt x="436" y="280"/>
                    </a:moveTo>
                    <a:cubicBezTo>
                      <a:pt x="16" y="280"/>
                      <a:pt x="16" y="280"/>
                      <a:pt x="16" y="280"/>
                    </a:cubicBezTo>
                    <a:cubicBezTo>
                      <a:pt x="16" y="265"/>
                      <a:pt x="16" y="265"/>
                      <a:pt x="16" y="265"/>
                    </a:cubicBezTo>
                    <a:cubicBezTo>
                      <a:pt x="184" y="265"/>
                      <a:pt x="184" y="265"/>
                      <a:pt x="184" y="265"/>
                    </a:cubicBezTo>
                    <a:cubicBezTo>
                      <a:pt x="185" y="268"/>
                      <a:pt x="188" y="271"/>
                      <a:pt x="191" y="271"/>
                    </a:cubicBezTo>
                    <a:cubicBezTo>
                      <a:pt x="260" y="271"/>
                      <a:pt x="260" y="271"/>
                      <a:pt x="260" y="271"/>
                    </a:cubicBezTo>
                    <a:cubicBezTo>
                      <a:pt x="264" y="271"/>
                      <a:pt x="267" y="268"/>
                      <a:pt x="268" y="265"/>
                    </a:cubicBezTo>
                    <a:cubicBezTo>
                      <a:pt x="436" y="265"/>
                      <a:pt x="436" y="265"/>
                      <a:pt x="436" y="265"/>
                    </a:cubicBezTo>
                    <a:lnTo>
                      <a:pt x="436" y="280"/>
                    </a:lnTo>
                    <a:close/>
                    <a:moveTo>
                      <a:pt x="261" y="78"/>
                    </a:moveTo>
                    <a:cubicBezTo>
                      <a:pt x="261" y="65"/>
                      <a:pt x="250" y="55"/>
                      <a:pt x="237" y="55"/>
                    </a:cubicBezTo>
                    <a:cubicBezTo>
                      <a:pt x="224" y="55"/>
                      <a:pt x="214" y="65"/>
                      <a:pt x="214" y="78"/>
                    </a:cubicBezTo>
                    <a:cubicBezTo>
                      <a:pt x="214" y="91"/>
                      <a:pt x="224" y="102"/>
                      <a:pt x="237" y="102"/>
                    </a:cubicBezTo>
                    <a:cubicBezTo>
                      <a:pt x="250" y="102"/>
                      <a:pt x="261" y="91"/>
                      <a:pt x="261" y="78"/>
                    </a:cubicBezTo>
                    <a:close/>
                    <a:moveTo>
                      <a:pt x="146" y="136"/>
                    </a:moveTo>
                    <a:cubicBezTo>
                      <a:pt x="146" y="196"/>
                      <a:pt x="146" y="196"/>
                      <a:pt x="146" y="196"/>
                    </a:cubicBezTo>
                    <a:cubicBezTo>
                      <a:pt x="146" y="207"/>
                      <a:pt x="154" y="216"/>
                      <a:pt x="165" y="216"/>
                    </a:cubicBezTo>
                    <a:cubicBezTo>
                      <a:pt x="247" y="216"/>
                      <a:pt x="247" y="216"/>
                      <a:pt x="247" y="216"/>
                    </a:cubicBezTo>
                    <a:cubicBezTo>
                      <a:pt x="258" y="216"/>
                      <a:pt x="266" y="207"/>
                      <a:pt x="266" y="196"/>
                    </a:cubicBezTo>
                    <a:cubicBezTo>
                      <a:pt x="266" y="180"/>
                      <a:pt x="266" y="180"/>
                      <a:pt x="266" y="180"/>
                    </a:cubicBezTo>
                    <a:cubicBezTo>
                      <a:pt x="277" y="188"/>
                      <a:pt x="294" y="202"/>
                      <a:pt x="298" y="204"/>
                    </a:cubicBezTo>
                    <a:cubicBezTo>
                      <a:pt x="302" y="208"/>
                      <a:pt x="307" y="207"/>
                      <a:pt x="307" y="200"/>
                    </a:cubicBezTo>
                    <a:cubicBezTo>
                      <a:pt x="307" y="198"/>
                      <a:pt x="307" y="139"/>
                      <a:pt x="307" y="137"/>
                    </a:cubicBezTo>
                    <a:cubicBezTo>
                      <a:pt x="307" y="130"/>
                      <a:pt x="302" y="129"/>
                      <a:pt x="298" y="133"/>
                    </a:cubicBezTo>
                    <a:cubicBezTo>
                      <a:pt x="297" y="133"/>
                      <a:pt x="277" y="149"/>
                      <a:pt x="266" y="157"/>
                    </a:cubicBezTo>
                    <a:cubicBezTo>
                      <a:pt x="266" y="136"/>
                      <a:pt x="266" y="136"/>
                      <a:pt x="266" y="136"/>
                    </a:cubicBezTo>
                    <a:cubicBezTo>
                      <a:pt x="266" y="125"/>
                      <a:pt x="258" y="116"/>
                      <a:pt x="247" y="116"/>
                    </a:cubicBezTo>
                    <a:cubicBezTo>
                      <a:pt x="165" y="116"/>
                      <a:pt x="165" y="116"/>
                      <a:pt x="165" y="116"/>
                    </a:cubicBezTo>
                    <a:cubicBezTo>
                      <a:pt x="154" y="116"/>
                      <a:pt x="146" y="125"/>
                      <a:pt x="146" y="136"/>
                    </a:cubicBezTo>
                    <a:close/>
                    <a:moveTo>
                      <a:pt x="201" y="78"/>
                    </a:moveTo>
                    <a:cubicBezTo>
                      <a:pt x="201" y="65"/>
                      <a:pt x="190" y="55"/>
                      <a:pt x="178" y="55"/>
                    </a:cubicBezTo>
                    <a:cubicBezTo>
                      <a:pt x="165" y="55"/>
                      <a:pt x="154" y="65"/>
                      <a:pt x="154" y="78"/>
                    </a:cubicBezTo>
                    <a:cubicBezTo>
                      <a:pt x="154" y="91"/>
                      <a:pt x="165" y="102"/>
                      <a:pt x="178" y="102"/>
                    </a:cubicBezTo>
                    <a:cubicBezTo>
                      <a:pt x="190" y="102"/>
                      <a:pt x="201" y="91"/>
                      <a:pt x="201"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42" name="Freeform 3"/>
              <p:cNvSpPr>
                <a:spLocks noChangeAspect="1" noEditPoints="1"/>
              </p:cNvSpPr>
              <p:nvPr/>
            </p:nvSpPr>
            <p:spPr bwMode="auto">
              <a:xfrm>
                <a:off x="4445659" y="3038127"/>
                <a:ext cx="253185" cy="116270"/>
              </a:xfrm>
              <a:custGeom>
                <a:avLst/>
                <a:gdLst>
                  <a:gd name="T0" fmla="*/ 2147483647 w 640"/>
                  <a:gd name="T1" fmla="*/ 2147483647 h 300"/>
                  <a:gd name="T2" fmla="*/ 2147483647 w 640"/>
                  <a:gd name="T3" fmla="*/ 2147483647 h 300"/>
                  <a:gd name="T4" fmla="*/ 2147483647 w 640"/>
                  <a:gd name="T5" fmla="*/ 2147483647 h 300"/>
                  <a:gd name="T6" fmla="*/ 2147483647 w 640"/>
                  <a:gd name="T7" fmla="*/ 2147483647 h 300"/>
                  <a:gd name="T8" fmla="*/ 2147483647 w 640"/>
                  <a:gd name="T9" fmla="*/ 2147483647 h 300"/>
                  <a:gd name="T10" fmla="*/ 2147483647 w 640"/>
                  <a:gd name="T11" fmla="*/ 2147483647 h 300"/>
                  <a:gd name="T12" fmla="*/ 2147483647 w 640"/>
                  <a:gd name="T13" fmla="*/ 2147483647 h 300"/>
                  <a:gd name="T14" fmla="*/ 2147483647 w 640"/>
                  <a:gd name="T15" fmla="*/ 0 h 300"/>
                  <a:gd name="T16" fmla="*/ 2147483647 w 640"/>
                  <a:gd name="T17" fmla="*/ 2147483647 h 300"/>
                  <a:gd name="T18" fmla="*/ 2147483647 w 640"/>
                  <a:gd name="T19" fmla="*/ 2147483647 h 300"/>
                  <a:gd name="T20" fmla="*/ 2147483647 w 640"/>
                  <a:gd name="T21" fmla="*/ 2147483647 h 300"/>
                  <a:gd name="T22" fmla="*/ 2147483647 w 640"/>
                  <a:gd name="T23" fmla="*/ 2147483647 h 300"/>
                  <a:gd name="T24" fmla="*/ 2147483647 w 640"/>
                  <a:gd name="T25" fmla="*/ 2147483647 h 300"/>
                  <a:gd name="T26" fmla="*/ 2147483647 w 640"/>
                  <a:gd name="T27" fmla="*/ 2147483647 h 300"/>
                  <a:gd name="T28" fmla="*/ 2147483647 w 640"/>
                  <a:gd name="T29" fmla="*/ 2147483647 h 300"/>
                  <a:gd name="T30" fmla="*/ 2147483647 w 640"/>
                  <a:gd name="T31" fmla="*/ 2147483647 h 300"/>
                  <a:gd name="T32" fmla="*/ 2147483647 w 640"/>
                  <a:gd name="T33" fmla="*/ 2147483647 h 300"/>
                  <a:gd name="T34" fmla="*/ 2147483647 w 640"/>
                  <a:gd name="T35" fmla="*/ 2147483647 h 300"/>
                  <a:gd name="T36" fmla="*/ 2147483647 w 640"/>
                  <a:gd name="T37" fmla="*/ 2147483647 h 300"/>
                  <a:gd name="T38" fmla="*/ 2147483647 w 640"/>
                  <a:gd name="T39" fmla="*/ 2147483647 h 300"/>
                  <a:gd name="T40" fmla="*/ 2147483647 w 640"/>
                  <a:gd name="T41" fmla="*/ 2147483647 h 300"/>
                  <a:gd name="T42" fmla="*/ 2147483647 w 640"/>
                  <a:gd name="T43" fmla="*/ 2147483647 h 300"/>
                  <a:gd name="T44" fmla="*/ 2147483647 w 640"/>
                  <a:gd name="T45" fmla="*/ 2147483647 h 300"/>
                  <a:gd name="T46" fmla="*/ 2147483647 w 640"/>
                  <a:gd name="T47" fmla="*/ 2147483647 h 300"/>
                  <a:gd name="T48" fmla="*/ 2147483647 w 640"/>
                  <a:gd name="T49" fmla="*/ 2147483647 h 300"/>
                  <a:gd name="T50" fmla="*/ 2147483647 w 640"/>
                  <a:gd name="T51" fmla="*/ 2147483647 h 300"/>
                  <a:gd name="T52" fmla="*/ 2147483647 w 640"/>
                  <a:gd name="T53" fmla="*/ 2147483647 h 300"/>
                  <a:gd name="T54" fmla="*/ 2147483647 w 640"/>
                  <a:gd name="T55" fmla="*/ 2147483647 h 300"/>
                  <a:gd name="T56" fmla="*/ 2147483647 w 640"/>
                  <a:gd name="T57" fmla="*/ 2147483647 h 300"/>
                  <a:gd name="T58" fmla="*/ 2147483647 w 640"/>
                  <a:gd name="T59" fmla="*/ 2147483647 h 300"/>
                  <a:gd name="T60" fmla="*/ 2147483647 w 640"/>
                  <a:gd name="T61" fmla="*/ 2147483647 h 300"/>
                  <a:gd name="T62" fmla="*/ 2147483647 w 640"/>
                  <a:gd name="T63" fmla="*/ 2147483647 h 300"/>
                  <a:gd name="T64" fmla="*/ 2147483647 w 640"/>
                  <a:gd name="T65" fmla="*/ 2147483647 h 300"/>
                  <a:gd name="T66" fmla="*/ 2147483647 w 640"/>
                  <a:gd name="T67" fmla="*/ 2147483647 h 300"/>
                  <a:gd name="T68" fmla="*/ 2147483647 w 640"/>
                  <a:gd name="T69" fmla="*/ 2147483647 h 300"/>
                  <a:gd name="T70" fmla="*/ 2147483647 w 640"/>
                  <a:gd name="T71" fmla="*/ 2147483647 h 300"/>
                  <a:gd name="T72" fmla="*/ 2147483647 w 640"/>
                  <a:gd name="T73" fmla="*/ 2147483647 h 300"/>
                  <a:gd name="T74" fmla="*/ 2147483647 w 640"/>
                  <a:gd name="T75" fmla="*/ 2147483647 h 300"/>
                  <a:gd name="T76" fmla="*/ 2147483647 w 640"/>
                  <a:gd name="T77" fmla="*/ 2147483647 h 300"/>
                  <a:gd name="T78" fmla="*/ 2147483647 w 640"/>
                  <a:gd name="T79" fmla="*/ 2147483647 h 300"/>
                  <a:gd name="T80" fmla="*/ 2147483647 w 640"/>
                  <a:gd name="T81" fmla="*/ 2147483647 h 300"/>
                  <a:gd name="T82" fmla="*/ 2147483647 w 640"/>
                  <a:gd name="T83" fmla="*/ 2147483647 h 300"/>
                  <a:gd name="T84" fmla="*/ 2147483647 w 640"/>
                  <a:gd name="T85" fmla="*/ 2147483647 h 300"/>
                  <a:gd name="T86" fmla="*/ 2147483647 w 640"/>
                  <a:gd name="T87" fmla="*/ 2147483647 h 300"/>
                  <a:gd name="T88" fmla="*/ 2147483647 w 640"/>
                  <a:gd name="T89" fmla="*/ 2147483647 h 300"/>
                  <a:gd name="T90" fmla="*/ 2147483647 w 640"/>
                  <a:gd name="T91" fmla="*/ 2147483647 h 300"/>
                  <a:gd name="T92" fmla="*/ 2147483647 w 640"/>
                  <a:gd name="T93" fmla="*/ 2147483647 h 300"/>
                  <a:gd name="T94" fmla="*/ 2147483647 w 640"/>
                  <a:gd name="T95" fmla="*/ 2147483647 h 300"/>
                  <a:gd name="T96" fmla="*/ 2147483647 w 640"/>
                  <a:gd name="T97" fmla="*/ 2147483647 h 30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640" h="300">
                    <a:moveTo>
                      <a:pt x="624" y="26"/>
                    </a:moveTo>
                    <a:cubicBezTo>
                      <a:pt x="622" y="26"/>
                      <a:pt x="621" y="27"/>
                      <a:pt x="619" y="27"/>
                    </a:cubicBezTo>
                    <a:cubicBezTo>
                      <a:pt x="619" y="27"/>
                      <a:pt x="602" y="34"/>
                      <a:pt x="578" y="42"/>
                    </a:cubicBezTo>
                    <a:cubicBezTo>
                      <a:pt x="575" y="17"/>
                      <a:pt x="575" y="17"/>
                      <a:pt x="575" y="17"/>
                    </a:cubicBezTo>
                    <a:cubicBezTo>
                      <a:pt x="574" y="13"/>
                      <a:pt x="573" y="10"/>
                      <a:pt x="571" y="6"/>
                    </a:cubicBezTo>
                    <a:cubicBezTo>
                      <a:pt x="568" y="3"/>
                      <a:pt x="564" y="0"/>
                      <a:pt x="559" y="0"/>
                    </a:cubicBezTo>
                    <a:cubicBezTo>
                      <a:pt x="557" y="0"/>
                      <a:pt x="556" y="0"/>
                      <a:pt x="554" y="0"/>
                    </a:cubicBezTo>
                    <a:cubicBezTo>
                      <a:pt x="554" y="0"/>
                      <a:pt x="456" y="38"/>
                      <a:pt x="449" y="40"/>
                    </a:cubicBezTo>
                    <a:cubicBezTo>
                      <a:pt x="449" y="40"/>
                      <a:pt x="449" y="40"/>
                      <a:pt x="449" y="40"/>
                    </a:cubicBezTo>
                    <a:cubicBezTo>
                      <a:pt x="448" y="38"/>
                      <a:pt x="447" y="35"/>
                      <a:pt x="445" y="31"/>
                    </a:cubicBezTo>
                    <a:cubicBezTo>
                      <a:pt x="444" y="29"/>
                      <a:pt x="443" y="26"/>
                      <a:pt x="440" y="24"/>
                    </a:cubicBezTo>
                    <a:cubicBezTo>
                      <a:pt x="438" y="22"/>
                      <a:pt x="434" y="21"/>
                      <a:pt x="431" y="21"/>
                    </a:cubicBezTo>
                    <a:cubicBezTo>
                      <a:pt x="428" y="21"/>
                      <a:pt x="425" y="21"/>
                      <a:pt x="423" y="22"/>
                    </a:cubicBezTo>
                    <a:cubicBezTo>
                      <a:pt x="404" y="29"/>
                      <a:pt x="353" y="49"/>
                      <a:pt x="353" y="49"/>
                    </a:cubicBezTo>
                    <a:cubicBezTo>
                      <a:pt x="348" y="50"/>
                      <a:pt x="344" y="52"/>
                      <a:pt x="340" y="56"/>
                    </a:cubicBezTo>
                    <a:cubicBezTo>
                      <a:pt x="337" y="60"/>
                      <a:pt x="335" y="66"/>
                      <a:pt x="335" y="72"/>
                    </a:cubicBezTo>
                    <a:cubicBezTo>
                      <a:pt x="335" y="73"/>
                      <a:pt x="335" y="75"/>
                      <a:pt x="336" y="77"/>
                    </a:cubicBezTo>
                    <a:cubicBezTo>
                      <a:pt x="339" y="100"/>
                      <a:pt x="339" y="100"/>
                      <a:pt x="339" y="100"/>
                    </a:cubicBezTo>
                    <a:cubicBezTo>
                      <a:pt x="318" y="84"/>
                      <a:pt x="318" y="84"/>
                      <a:pt x="318" y="84"/>
                    </a:cubicBezTo>
                    <a:cubicBezTo>
                      <a:pt x="316" y="82"/>
                      <a:pt x="313" y="82"/>
                      <a:pt x="310" y="83"/>
                    </a:cubicBezTo>
                    <a:cubicBezTo>
                      <a:pt x="307" y="84"/>
                      <a:pt x="305" y="87"/>
                      <a:pt x="305" y="90"/>
                    </a:cubicBezTo>
                    <a:cubicBezTo>
                      <a:pt x="305" y="108"/>
                      <a:pt x="305" y="108"/>
                      <a:pt x="305" y="108"/>
                    </a:cubicBezTo>
                    <a:cubicBezTo>
                      <a:pt x="291" y="108"/>
                      <a:pt x="291" y="108"/>
                      <a:pt x="291" y="108"/>
                    </a:cubicBezTo>
                    <a:cubicBezTo>
                      <a:pt x="305" y="46"/>
                      <a:pt x="305" y="46"/>
                      <a:pt x="305" y="46"/>
                    </a:cubicBezTo>
                    <a:cubicBezTo>
                      <a:pt x="305" y="45"/>
                      <a:pt x="305" y="44"/>
                      <a:pt x="305" y="43"/>
                    </a:cubicBezTo>
                    <a:cubicBezTo>
                      <a:pt x="305" y="34"/>
                      <a:pt x="298" y="26"/>
                      <a:pt x="289" y="26"/>
                    </a:cubicBezTo>
                    <a:cubicBezTo>
                      <a:pt x="288" y="26"/>
                      <a:pt x="286" y="27"/>
                      <a:pt x="284" y="27"/>
                    </a:cubicBezTo>
                    <a:cubicBezTo>
                      <a:pt x="284" y="27"/>
                      <a:pt x="267" y="34"/>
                      <a:pt x="243" y="42"/>
                    </a:cubicBezTo>
                    <a:cubicBezTo>
                      <a:pt x="240" y="17"/>
                      <a:pt x="240" y="17"/>
                      <a:pt x="240" y="17"/>
                    </a:cubicBezTo>
                    <a:cubicBezTo>
                      <a:pt x="240" y="13"/>
                      <a:pt x="238" y="10"/>
                      <a:pt x="236" y="6"/>
                    </a:cubicBezTo>
                    <a:cubicBezTo>
                      <a:pt x="234" y="3"/>
                      <a:pt x="230" y="0"/>
                      <a:pt x="224" y="0"/>
                    </a:cubicBezTo>
                    <a:cubicBezTo>
                      <a:pt x="222" y="0"/>
                      <a:pt x="221" y="0"/>
                      <a:pt x="219" y="0"/>
                    </a:cubicBezTo>
                    <a:cubicBezTo>
                      <a:pt x="219" y="0"/>
                      <a:pt x="121" y="38"/>
                      <a:pt x="115" y="40"/>
                    </a:cubicBezTo>
                    <a:cubicBezTo>
                      <a:pt x="115" y="40"/>
                      <a:pt x="115" y="40"/>
                      <a:pt x="115" y="40"/>
                    </a:cubicBezTo>
                    <a:cubicBezTo>
                      <a:pt x="114" y="38"/>
                      <a:pt x="113" y="35"/>
                      <a:pt x="111" y="31"/>
                    </a:cubicBezTo>
                    <a:cubicBezTo>
                      <a:pt x="110" y="29"/>
                      <a:pt x="108" y="26"/>
                      <a:pt x="106" y="24"/>
                    </a:cubicBezTo>
                    <a:cubicBezTo>
                      <a:pt x="103" y="22"/>
                      <a:pt x="99" y="21"/>
                      <a:pt x="96" y="21"/>
                    </a:cubicBezTo>
                    <a:cubicBezTo>
                      <a:pt x="93" y="21"/>
                      <a:pt x="91" y="21"/>
                      <a:pt x="88" y="22"/>
                    </a:cubicBezTo>
                    <a:cubicBezTo>
                      <a:pt x="70" y="29"/>
                      <a:pt x="18" y="49"/>
                      <a:pt x="18" y="49"/>
                    </a:cubicBezTo>
                    <a:cubicBezTo>
                      <a:pt x="13" y="50"/>
                      <a:pt x="9" y="52"/>
                      <a:pt x="6" y="56"/>
                    </a:cubicBezTo>
                    <a:cubicBezTo>
                      <a:pt x="2" y="60"/>
                      <a:pt x="0" y="66"/>
                      <a:pt x="1" y="72"/>
                    </a:cubicBezTo>
                    <a:cubicBezTo>
                      <a:pt x="1" y="73"/>
                      <a:pt x="1" y="75"/>
                      <a:pt x="1" y="77"/>
                    </a:cubicBezTo>
                    <a:cubicBezTo>
                      <a:pt x="30" y="285"/>
                      <a:pt x="30" y="285"/>
                      <a:pt x="30" y="285"/>
                    </a:cubicBezTo>
                    <a:cubicBezTo>
                      <a:pt x="30" y="285"/>
                      <a:pt x="31" y="292"/>
                      <a:pt x="36" y="296"/>
                    </a:cubicBezTo>
                    <a:cubicBezTo>
                      <a:pt x="41" y="299"/>
                      <a:pt x="44" y="300"/>
                      <a:pt x="49" y="300"/>
                    </a:cubicBezTo>
                    <a:cubicBezTo>
                      <a:pt x="51" y="300"/>
                      <a:pt x="54" y="300"/>
                      <a:pt x="57" y="299"/>
                    </a:cubicBezTo>
                    <a:cubicBezTo>
                      <a:pt x="175" y="253"/>
                      <a:pt x="175" y="253"/>
                      <a:pt x="175" y="253"/>
                    </a:cubicBezTo>
                    <a:cubicBezTo>
                      <a:pt x="218" y="286"/>
                      <a:pt x="218" y="286"/>
                      <a:pt x="218" y="286"/>
                    </a:cubicBezTo>
                    <a:cubicBezTo>
                      <a:pt x="219" y="287"/>
                      <a:pt x="221" y="288"/>
                      <a:pt x="223" y="288"/>
                    </a:cubicBezTo>
                    <a:cubicBezTo>
                      <a:pt x="224" y="288"/>
                      <a:pt x="225" y="288"/>
                      <a:pt x="226" y="287"/>
                    </a:cubicBezTo>
                    <a:cubicBezTo>
                      <a:pt x="229" y="286"/>
                      <a:pt x="231" y="283"/>
                      <a:pt x="231" y="280"/>
                    </a:cubicBezTo>
                    <a:cubicBezTo>
                      <a:pt x="231" y="262"/>
                      <a:pt x="231" y="262"/>
                      <a:pt x="231" y="262"/>
                    </a:cubicBezTo>
                    <a:cubicBezTo>
                      <a:pt x="286" y="262"/>
                      <a:pt x="286" y="262"/>
                      <a:pt x="286" y="262"/>
                    </a:cubicBezTo>
                    <a:cubicBezTo>
                      <a:pt x="290" y="262"/>
                      <a:pt x="294" y="259"/>
                      <a:pt x="294" y="254"/>
                    </a:cubicBezTo>
                    <a:cubicBezTo>
                      <a:pt x="294" y="204"/>
                      <a:pt x="294" y="204"/>
                      <a:pt x="294" y="204"/>
                    </a:cubicBezTo>
                    <a:cubicBezTo>
                      <a:pt x="294" y="199"/>
                      <a:pt x="290" y="196"/>
                      <a:pt x="286" y="196"/>
                    </a:cubicBezTo>
                    <a:cubicBezTo>
                      <a:pt x="271" y="196"/>
                      <a:pt x="271" y="196"/>
                      <a:pt x="271" y="196"/>
                    </a:cubicBezTo>
                    <a:cubicBezTo>
                      <a:pt x="276" y="175"/>
                      <a:pt x="276" y="175"/>
                      <a:pt x="276" y="175"/>
                    </a:cubicBezTo>
                    <a:cubicBezTo>
                      <a:pt x="305" y="175"/>
                      <a:pt x="305" y="175"/>
                      <a:pt x="305" y="175"/>
                    </a:cubicBezTo>
                    <a:cubicBezTo>
                      <a:pt x="305" y="192"/>
                      <a:pt x="305" y="192"/>
                      <a:pt x="305" y="192"/>
                    </a:cubicBezTo>
                    <a:cubicBezTo>
                      <a:pt x="305" y="195"/>
                      <a:pt x="307" y="198"/>
                      <a:pt x="310" y="199"/>
                    </a:cubicBezTo>
                    <a:cubicBezTo>
                      <a:pt x="311" y="200"/>
                      <a:pt x="312" y="200"/>
                      <a:pt x="313" y="200"/>
                    </a:cubicBezTo>
                    <a:cubicBezTo>
                      <a:pt x="315" y="200"/>
                      <a:pt x="317" y="199"/>
                      <a:pt x="318" y="198"/>
                    </a:cubicBezTo>
                    <a:cubicBezTo>
                      <a:pt x="349" y="174"/>
                      <a:pt x="349" y="174"/>
                      <a:pt x="349" y="174"/>
                    </a:cubicBezTo>
                    <a:cubicBezTo>
                      <a:pt x="365" y="285"/>
                      <a:pt x="365" y="285"/>
                      <a:pt x="365" y="285"/>
                    </a:cubicBezTo>
                    <a:cubicBezTo>
                      <a:pt x="365" y="285"/>
                      <a:pt x="366" y="292"/>
                      <a:pt x="371" y="296"/>
                    </a:cubicBezTo>
                    <a:cubicBezTo>
                      <a:pt x="376" y="299"/>
                      <a:pt x="379" y="300"/>
                      <a:pt x="383" y="300"/>
                    </a:cubicBezTo>
                    <a:cubicBezTo>
                      <a:pt x="386" y="300"/>
                      <a:pt x="389" y="300"/>
                      <a:pt x="391" y="299"/>
                    </a:cubicBezTo>
                    <a:cubicBezTo>
                      <a:pt x="536" y="243"/>
                      <a:pt x="536" y="243"/>
                      <a:pt x="536" y="243"/>
                    </a:cubicBezTo>
                    <a:cubicBezTo>
                      <a:pt x="540" y="242"/>
                      <a:pt x="542" y="237"/>
                      <a:pt x="540" y="233"/>
                    </a:cubicBezTo>
                    <a:cubicBezTo>
                      <a:pt x="539" y="229"/>
                      <a:pt x="534" y="227"/>
                      <a:pt x="530" y="228"/>
                    </a:cubicBezTo>
                    <a:cubicBezTo>
                      <a:pt x="386" y="284"/>
                      <a:pt x="386" y="284"/>
                      <a:pt x="386" y="284"/>
                    </a:cubicBezTo>
                    <a:cubicBezTo>
                      <a:pt x="385" y="284"/>
                      <a:pt x="384" y="284"/>
                      <a:pt x="383" y="284"/>
                    </a:cubicBezTo>
                    <a:cubicBezTo>
                      <a:pt x="382" y="284"/>
                      <a:pt x="381" y="283"/>
                      <a:pt x="381" y="282"/>
                    </a:cubicBezTo>
                    <a:cubicBezTo>
                      <a:pt x="382" y="281"/>
                      <a:pt x="414" y="123"/>
                      <a:pt x="414" y="123"/>
                    </a:cubicBezTo>
                    <a:cubicBezTo>
                      <a:pt x="414" y="123"/>
                      <a:pt x="417" y="119"/>
                      <a:pt x="419" y="119"/>
                    </a:cubicBezTo>
                    <a:cubicBezTo>
                      <a:pt x="419" y="119"/>
                      <a:pt x="458" y="104"/>
                      <a:pt x="498" y="89"/>
                    </a:cubicBezTo>
                    <a:cubicBezTo>
                      <a:pt x="546" y="72"/>
                      <a:pt x="617" y="45"/>
                      <a:pt x="624" y="42"/>
                    </a:cubicBezTo>
                    <a:cubicBezTo>
                      <a:pt x="624" y="42"/>
                      <a:pt x="588" y="203"/>
                      <a:pt x="588" y="203"/>
                    </a:cubicBezTo>
                    <a:cubicBezTo>
                      <a:pt x="587" y="205"/>
                      <a:pt x="586" y="207"/>
                      <a:pt x="586" y="207"/>
                    </a:cubicBezTo>
                    <a:cubicBezTo>
                      <a:pt x="585" y="208"/>
                      <a:pt x="585" y="208"/>
                      <a:pt x="583" y="209"/>
                    </a:cubicBezTo>
                    <a:cubicBezTo>
                      <a:pt x="561" y="217"/>
                      <a:pt x="561" y="217"/>
                      <a:pt x="561" y="217"/>
                    </a:cubicBezTo>
                    <a:cubicBezTo>
                      <a:pt x="557" y="219"/>
                      <a:pt x="554" y="223"/>
                      <a:pt x="556" y="228"/>
                    </a:cubicBezTo>
                    <a:cubicBezTo>
                      <a:pt x="558" y="232"/>
                      <a:pt x="562" y="234"/>
                      <a:pt x="566" y="232"/>
                    </a:cubicBezTo>
                    <a:cubicBezTo>
                      <a:pt x="566" y="232"/>
                      <a:pt x="566" y="232"/>
                      <a:pt x="566" y="232"/>
                    </a:cubicBezTo>
                    <a:cubicBezTo>
                      <a:pt x="588" y="224"/>
                      <a:pt x="588" y="224"/>
                      <a:pt x="588" y="224"/>
                    </a:cubicBezTo>
                    <a:cubicBezTo>
                      <a:pt x="592" y="223"/>
                      <a:pt x="596" y="220"/>
                      <a:pt x="598" y="217"/>
                    </a:cubicBezTo>
                    <a:cubicBezTo>
                      <a:pt x="601" y="214"/>
                      <a:pt x="602" y="211"/>
                      <a:pt x="603" y="208"/>
                    </a:cubicBezTo>
                    <a:cubicBezTo>
                      <a:pt x="639" y="46"/>
                      <a:pt x="639" y="46"/>
                      <a:pt x="639" y="46"/>
                    </a:cubicBezTo>
                    <a:cubicBezTo>
                      <a:pt x="640" y="45"/>
                      <a:pt x="640" y="44"/>
                      <a:pt x="640" y="43"/>
                    </a:cubicBezTo>
                    <a:cubicBezTo>
                      <a:pt x="640" y="34"/>
                      <a:pt x="633" y="26"/>
                      <a:pt x="624" y="26"/>
                    </a:cubicBezTo>
                    <a:close/>
                    <a:moveTo>
                      <a:pt x="17" y="75"/>
                    </a:moveTo>
                    <a:cubicBezTo>
                      <a:pt x="17" y="74"/>
                      <a:pt x="17" y="73"/>
                      <a:pt x="17" y="72"/>
                    </a:cubicBezTo>
                    <a:cubicBezTo>
                      <a:pt x="17" y="68"/>
                      <a:pt x="17" y="67"/>
                      <a:pt x="18" y="66"/>
                    </a:cubicBezTo>
                    <a:cubicBezTo>
                      <a:pt x="18" y="66"/>
                      <a:pt x="20" y="65"/>
                      <a:pt x="23" y="64"/>
                    </a:cubicBezTo>
                    <a:cubicBezTo>
                      <a:pt x="23" y="64"/>
                      <a:pt x="23" y="64"/>
                      <a:pt x="23" y="64"/>
                    </a:cubicBezTo>
                    <a:cubicBezTo>
                      <a:pt x="23" y="64"/>
                      <a:pt x="23" y="64"/>
                      <a:pt x="23" y="64"/>
                    </a:cubicBezTo>
                    <a:cubicBezTo>
                      <a:pt x="24" y="63"/>
                      <a:pt x="75" y="44"/>
                      <a:pt x="94" y="37"/>
                    </a:cubicBezTo>
                    <a:cubicBezTo>
                      <a:pt x="95" y="37"/>
                      <a:pt x="95" y="37"/>
                      <a:pt x="96" y="37"/>
                    </a:cubicBezTo>
                    <a:cubicBezTo>
                      <a:pt x="96" y="37"/>
                      <a:pt x="96" y="38"/>
                      <a:pt x="97" y="39"/>
                    </a:cubicBezTo>
                    <a:cubicBezTo>
                      <a:pt x="98" y="41"/>
                      <a:pt x="99" y="44"/>
                      <a:pt x="101" y="48"/>
                    </a:cubicBezTo>
                    <a:cubicBezTo>
                      <a:pt x="102" y="51"/>
                      <a:pt x="107" y="56"/>
                      <a:pt x="114" y="56"/>
                    </a:cubicBezTo>
                    <a:cubicBezTo>
                      <a:pt x="116" y="56"/>
                      <a:pt x="118" y="56"/>
                      <a:pt x="120" y="55"/>
                    </a:cubicBezTo>
                    <a:cubicBezTo>
                      <a:pt x="133" y="51"/>
                      <a:pt x="212" y="20"/>
                      <a:pt x="223" y="16"/>
                    </a:cubicBezTo>
                    <a:cubicBezTo>
                      <a:pt x="224" y="17"/>
                      <a:pt x="224" y="17"/>
                      <a:pt x="224" y="18"/>
                    </a:cubicBezTo>
                    <a:cubicBezTo>
                      <a:pt x="224" y="18"/>
                      <a:pt x="224" y="18"/>
                      <a:pt x="224" y="18"/>
                    </a:cubicBezTo>
                    <a:cubicBezTo>
                      <a:pt x="224" y="19"/>
                      <a:pt x="224" y="19"/>
                      <a:pt x="224" y="19"/>
                    </a:cubicBezTo>
                    <a:cubicBezTo>
                      <a:pt x="228" y="48"/>
                      <a:pt x="228" y="48"/>
                      <a:pt x="228" y="48"/>
                    </a:cubicBezTo>
                    <a:cubicBezTo>
                      <a:pt x="195" y="60"/>
                      <a:pt x="81" y="103"/>
                      <a:pt x="79" y="104"/>
                    </a:cubicBezTo>
                    <a:cubicBezTo>
                      <a:pt x="74" y="105"/>
                      <a:pt x="70" y="108"/>
                      <a:pt x="68" y="112"/>
                    </a:cubicBezTo>
                    <a:cubicBezTo>
                      <a:pt x="67" y="112"/>
                      <a:pt x="67" y="113"/>
                      <a:pt x="66" y="114"/>
                    </a:cubicBezTo>
                    <a:cubicBezTo>
                      <a:pt x="66" y="114"/>
                      <a:pt x="66" y="114"/>
                      <a:pt x="66" y="114"/>
                    </a:cubicBezTo>
                    <a:cubicBezTo>
                      <a:pt x="66" y="115"/>
                      <a:pt x="66" y="115"/>
                      <a:pt x="65" y="115"/>
                    </a:cubicBezTo>
                    <a:cubicBezTo>
                      <a:pt x="65" y="116"/>
                      <a:pt x="65" y="116"/>
                      <a:pt x="65" y="117"/>
                    </a:cubicBezTo>
                    <a:cubicBezTo>
                      <a:pt x="65" y="117"/>
                      <a:pt x="65" y="117"/>
                      <a:pt x="65" y="117"/>
                    </a:cubicBezTo>
                    <a:cubicBezTo>
                      <a:pt x="65" y="117"/>
                      <a:pt x="64" y="118"/>
                      <a:pt x="64" y="119"/>
                    </a:cubicBezTo>
                    <a:cubicBezTo>
                      <a:pt x="64" y="119"/>
                      <a:pt x="64" y="119"/>
                      <a:pt x="64" y="119"/>
                    </a:cubicBezTo>
                    <a:cubicBezTo>
                      <a:pt x="64" y="119"/>
                      <a:pt x="64" y="119"/>
                      <a:pt x="64" y="119"/>
                    </a:cubicBezTo>
                    <a:cubicBezTo>
                      <a:pt x="40" y="237"/>
                      <a:pt x="40" y="237"/>
                      <a:pt x="40" y="237"/>
                    </a:cubicBezTo>
                    <a:lnTo>
                      <a:pt x="17" y="75"/>
                    </a:lnTo>
                    <a:close/>
                    <a:moveTo>
                      <a:pt x="51" y="284"/>
                    </a:moveTo>
                    <a:cubicBezTo>
                      <a:pt x="50" y="284"/>
                      <a:pt x="49" y="284"/>
                      <a:pt x="49" y="284"/>
                    </a:cubicBezTo>
                    <a:cubicBezTo>
                      <a:pt x="47" y="284"/>
                      <a:pt x="46" y="283"/>
                      <a:pt x="47" y="282"/>
                    </a:cubicBezTo>
                    <a:cubicBezTo>
                      <a:pt x="47" y="281"/>
                      <a:pt x="80" y="123"/>
                      <a:pt x="80" y="123"/>
                    </a:cubicBezTo>
                    <a:cubicBezTo>
                      <a:pt x="80" y="123"/>
                      <a:pt x="83" y="119"/>
                      <a:pt x="84" y="119"/>
                    </a:cubicBezTo>
                    <a:cubicBezTo>
                      <a:pt x="84" y="119"/>
                      <a:pt x="124" y="104"/>
                      <a:pt x="164" y="89"/>
                    </a:cubicBezTo>
                    <a:cubicBezTo>
                      <a:pt x="211" y="72"/>
                      <a:pt x="282" y="45"/>
                      <a:pt x="289" y="42"/>
                    </a:cubicBezTo>
                    <a:cubicBezTo>
                      <a:pt x="289" y="42"/>
                      <a:pt x="282" y="73"/>
                      <a:pt x="274" y="108"/>
                    </a:cubicBezTo>
                    <a:cubicBezTo>
                      <a:pt x="250" y="108"/>
                      <a:pt x="250" y="108"/>
                      <a:pt x="250" y="108"/>
                    </a:cubicBezTo>
                    <a:cubicBezTo>
                      <a:pt x="246" y="108"/>
                      <a:pt x="242" y="111"/>
                      <a:pt x="242" y="116"/>
                    </a:cubicBezTo>
                    <a:cubicBezTo>
                      <a:pt x="242" y="167"/>
                      <a:pt x="242" y="167"/>
                      <a:pt x="242" y="167"/>
                    </a:cubicBezTo>
                    <a:cubicBezTo>
                      <a:pt x="242" y="171"/>
                      <a:pt x="246" y="175"/>
                      <a:pt x="250" y="175"/>
                    </a:cubicBezTo>
                    <a:cubicBezTo>
                      <a:pt x="259" y="175"/>
                      <a:pt x="259" y="175"/>
                      <a:pt x="259" y="175"/>
                    </a:cubicBezTo>
                    <a:cubicBezTo>
                      <a:pt x="257" y="183"/>
                      <a:pt x="256" y="191"/>
                      <a:pt x="255" y="196"/>
                    </a:cubicBezTo>
                    <a:cubicBezTo>
                      <a:pt x="231" y="196"/>
                      <a:pt x="231" y="196"/>
                      <a:pt x="231" y="196"/>
                    </a:cubicBezTo>
                    <a:cubicBezTo>
                      <a:pt x="231" y="178"/>
                      <a:pt x="231" y="178"/>
                      <a:pt x="231" y="178"/>
                    </a:cubicBezTo>
                    <a:cubicBezTo>
                      <a:pt x="231" y="175"/>
                      <a:pt x="229" y="172"/>
                      <a:pt x="226" y="171"/>
                    </a:cubicBezTo>
                    <a:cubicBezTo>
                      <a:pt x="223" y="170"/>
                      <a:pt x="220" y="170"/>
                      <a:pt x="218" y="172"/>
                    </a:cubicBezTo>
                    <a:cubicBezTo>
                      <a:pt x="152" y="223"/>
                      <a:pt x="152" y="223"/>
                      <a:pt x="152" y="223"/>
                    </a:cubicBezTo>
                    <a:cubicBezTo>
                      <a:pt x="151" y="224"/>
                      <a:pt x="149" y="227"/>
                      <a:pt x="149" y="229"/>
                    </a:cubicBezTo>
                    <a:cubicBezTo>
                      <a:pt x="149" y="231"/>
                      <a:pt x="151" y="234"/>
                      <a:pt x="152" y="235"/>
                    </a:cubicBezTo>
                    <a:cubicBezTo>
                      <a:pt x="161" y="242"/>
                      <a:pt x="161" y="242"/>
                      <a:pt x="161" y="242"/>
                    </a:cubicBezTo>
                    <a:lnTo>
                      <a:pt x="51" y="284"/>
                    </a:lnTo>
                    <a:close/>
                    <a:moveTo>
                      <a:pt x="278" y="212"/>
                    </a:moveTo>
                    <a:cubicBezTo>
                      <a:pt x="278" y="246"/>
                      <a:pt x="278" y="246"/>
                      <a:pt x="278" y="246"/>
                    </a:cubicBezTo>
                    <a:cubicBezTo>
                      <a:pt x="223" y="246"/>
                      <a:pt x="223" y="246"/>
                      <a:pt x="223" y="246"/>
                    </a:cubicBezTo>
                    <a:cubicBezTo>
                      <a:pt x="218" y="246"/>
                      <a:pt x="215" y="250"/>
                      <a:pt x="215" y="254"/>
                    </a:cubicBezTo>
                    <a:cubicBezTo>
                      <a:pt x="215" y="263"/>
                      <a:pt x="215" y="263"/>
                      <a:pt x="215" y="263"/>
                    </a:cubicBezTo>
                    <a:cubicBezTo>
                      <a:pt x="170" y="229"/>
                      <a:pt x="170" y="229"/>
                      <a:pt x="170" y="229"/>
                    </a:cubicBezTo>
                    <a:cubicBezTo>
                      <a:pt x="215" y="195"/>
                      <a:pt x="215" y="195"/>
                      <a:pt x="215" y="195"/>
                    </a:cubicBezTo>
                    <a:cubicBezTo>
                      <a:pt x="215" y="204"/>
                      <a:pt x="215" y="204"/>
                      <a:pt x="215" y="204"/>
                    </a:cubicBezTo>
                    <a:cubicBezTo>
                      <a:pt x="215" y="208"/>
                      <a:pt x="218" y="212"/>
                      <a:pt x="223" y="212"/>
                    </a:cubicBezTo>
                    <a:lnTo>
                      <a:pt x="278" y="212"/>
                    </a:lnTo>
                    <a:close/>
                    <a:moveTo>
                      <a:pt x="321" y="176"/>
                    </a:moveTo>
                    <a:cubicBezTo>
                      <a:pt x="321" y="167"/>
                      <a:pt x="321" y="167"/>
                      <a:pt x="321" y="167"/>
                    </a:cubicBezTo>
                    <a:cubicBezTo>
                      <a:pt x="321" y="162"/>
                      <a:pt x="318" y="159"/>
                      <a:pt x="313" y="159"/>
                    </a:cubicBezTo>
                    <a:cubicBezTo>
                      <a:pt x="258" y="159"/>
                      <a:pt x="258" y="159"/>
                      <a:pt x="258" y="159"/>
                    </a:cubicBezTo>
                    <a:cubicBezTo>
                      <a:pt x="258" y="124"/>
                      <a:pt x="258" y="124"/>
                      <a:pt x="258" y="124"/>
                    </a:cubicBezTo>
                    <a:cubicBezTo>
                      <a:pt x="313" y="124"/>
                      <a:pt x="313" y="124"/>
                      <a:pt x="313" y="124"/>
                    </a:cubicBezTo>
                    <a:cubicBezTo>
                      <a:pt x="318" y="124"/>
                      <a:pt x="321" y="120"/>
                      <a:pt x="321" y="116"/>
                    </a:cubicBezTo>
                    <a:cubicBezTo>
                      <a:pt x="321" y="107"/>
                      <a:pt x="321" y="107"/>
                      <a:pt x="321" y="107"/>
                    </a:cubicBezTo>
                    <a:cubicBezTo>
                      <a:pt x="365" y="141"/>
                      <a:pt x="365" y="141"/>
                      <a:pt x="365" y="141"/>
                    </a:cubicBezTo>
                    <a:lnTo>
                      <a:pt x="321" y="176"/>
                    </a:lnTo>
                    <a:close/>
                    <a:moveTo>
                      <a:pt x="414" y="104"/>
                    </a:moveTo>
                    <a:cubicBezTo>
                      <a:pt x="409" y="105"/>
                      <a:pt x="405" y="108"/>
                      <a:pt x="402" y="112"/>
                    </a:cubicBezTo>
                    <a:cubicBezTo>
                      <a:pt x="402" y="112"/>
                      <a:pt x="401" y="113"/>
                      <a:pt x="401" y="114"/>
                    </a:cubicBezTo>
                    <a:cubicBezTo>
                      <a:pt x="401" y="114"/>
                      <a:pt x="401" y="114"/>
                      <a:pt x="401" y="114"/>
                    </a:cubicBezTo>
                    <a:cubicBezTo>
                      <a:pt x="401" y="115"/>
                      <a:pt x="400" y="115"/>
                      <a:pt x="400" y="115"/>
                    </a:cubicBezTo>
                    <a:cubicBezTo>
                      <a:pt x="400" y="116"/>
                      <a:pt x="400" y="116"/>
                      <a:pt x="400" y="117"/>
                    </a:cubicBezTo>
                    <a:cubicBezTo>
                      <a:pt x="400" y="117"/>
                      <a:pt x="400" y="117"/>
                      <a:pt x="400" y="117"/>
                    </a:cubicBezTo>
                    <a:cubicBezTo>
                      <a:pt x="399" y="117"/>
                      <a:pt x="399" y="118"/>
                      <a:pt x="399" y="119"/>
                    </a:cubicBezTo>
                    <a:cubicBezTo>
                      <a:pt x="399" y="119"/>
                      <a:pt x="399" y="119"/>
                      <a:pt x="399" y="119"/>
                    </a:cubicBezTo>
                    <a:cubicBezTo>
                      <a:pt x="399" y="119"/>
                      <a:pt x="399" y="119"/>
                      <a:pt x="399" y="119"/>
                    </a:cubicBezTo>
                    <a:cubicBezTo>
                      <a:pt x="374" y="237"/>
                      <a:pt x="374" y="237"/>
                      <a:pt x="374" y="237"/>
                    </a:cubicBezTo>
                    <a:cubicBezTo>
                      <a:pt x="364" y="163"/>
                      <a:pt x="364" y="163"/>
                      <a:pt x="364" y="163"/>
                    </a:cubicBezTo>
                    <a:cubicBezTo>
                      <a:pt x="383" y="147"/>
                      <a:pt x="383" y="147"/>
                      <a:pt x="383" y="147"/>
                    </a:cubicBezTo>
                    <a:cubicBezTo>
                      <a:pt x="385" y="146"/>
                      <a:pt x="386" y="144"/>
                      <a:pt x="386" y="141"/>
                    </a:cubicBezTo>
                    <a:cubicBezTo>
                      <a:pt x="386" y="139"/>
                      <a:pt x="385" y="136"/>
                      <a:pt x="383" y="135"/>
                    </a:cubicBezTo>
                    <a:cubicBezTo>
                      <a:pt x="357" y="114"/>
                      <a:pt x="357" y="114"/>
                      <a:pt x="357" y="114"/>
                    </a:cubicBezTo>
                    <a:cubicBezTo>
                      <a:pt x="351" y="75"/>
                      <a:pt x="351" y="75"/>
                      <a:pt x="351" y="75"/>
                    </a:cubicBezTo>
                    <a:cubicBezTo>
                      <a:pt x="351" y="74"/>
                      <a:pt x="351" y="73"/>
                      <a:pt x="351" y="72"/>
                    </a:cubicBezTo>
                    <a:cubicBezTo>
                      <a:pt x="351" y="68"/>
                      <a:pt x="352" y="67"/>
                      <a:pt x="352" y="66"/>
                    </a:cubicBezTo>
                    <a:cubicBezTo>
                      <a:pt x="353" y="66"/>
                      <a:pt x="354" y="65"/>
                      <a:pt x="358" y="64"/>
                    </a:cubicBezTo>
                    <a:cubicBezTo>
                      <a:pt x="358" y="64"/>
                      <a:pt x="358" y="64"/>
                      <a:pt x="358" y="64"/>
                    </a:cubicBezTo>
                    <a:cubicBezTo>
                      <a:pt x="358" y="64"/>
                      <a:pt x="358" y="64"/>
                      <a:pt x="358" y="64"/>
                    </a:cubicBezTo>
                    <a:cubicBezTo>
                      <a:pt x="358" y="63"/>
                      <a:pt x="410" y="44"/>
                      <a:pt x="428" y="37"/>
                    </a:cubicBezTo>
                    <a:cubicBezTo>
                      <a:pt x="429" y="37"/>
                      <a:pt x="430" y="37"/>
                      <a:pt x="430" y="37"/>
                    </a:cubicBezTo>
                    <a:cubicBezTo>
                      <a:pt x="431" y="37"/>
                      <a:pt x="431" y="38"/>
                      <a:pt x="431" y="39"/>
                    </a:cubicBezTo>
                    <a:cubicBezTo>
                      <a:pt x="432" y="41"/>
                      <a:pt x="433" y="44"/>
                      <a:pt x="435" y="48"/>
                    </a:cubicBezTo>
                    <a:cubicBezTo>
                      <a:pt x="437" y="51"/>
                      <a:pt x="442" y="56"/>
                      <a:pt x="449" y="56"/>
                    </a:cubicBezTo>
                    <a:cubicBezTo>
                      <a:pt x="451" y="56"/>
                      <a:pt x="453" y="56"/>
                      <a:pt x="454" y="55"/>
                    </a:cubicBezTo>
                    <a:cubicBezTo>
                      <a:pt x="467" y="51"/>
                      <a:pt x="546" y="20"/>
                      <a:pt x="558" y="16"/>
                    </a:cubicBezTo>
                    <a:cubicBezTo>
                      <a:pt x="558" y="17"/>
                      <a:pt x="559" y="17"/>
                      <a:pt x="559" y="18"/>
                    </a:cubicBezTo>
                    <a:cubicBezTo>
                      <a:pt x="559" y="18"/>
                      <a:pt x="559" y="18"/>
                      <a:pt x="559" y="18"/>
                    </a:cubicBezTo>
                    <a:cubicBezTo>
                      <a:pt x="559" y="19"/>
                      <a:pt x="559" y="19"/>
                      <a:pt x="559" y="19"/>
                    </a:cubicBezTo>
                    <a:cubicBezTo>
                      <a:pt x="563" y="48"/>
                      <a:pt x="563" y="48"/>
                      <a:pt x="563" y="48"/>
                    </a:cubicBezTo>
                    <a:cubicBezTo>
                      <a:pt x="530" y="60"/>
                      <a:pt x="416" y="103"/>
                      <a:pt x="414"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43" name="Freeform 3"/>
              <p:cNvSpPr>
                <a:spLocks noChangeAspect="1" noEditPoints="1"/>
              </p:cNvSpPr>
              <p:nvPr/>
            </p:nvSpPr>
            <p:spPr bwMode="auto">
              <a:xfrm>
                <a:off x="5245439" y="3066099"/>
                <a:ext cx="141925" cy="112500"/>
              </a:xfrm>
              <a:custGeom>
                <a:avLst/>
                <a:gdLst>
                  <a:gd name="T0" fmla="*/ 2147483647 w 359"/>
                  <a:gd name="T1" fmla="*/ 0 h 290"/>
                  <a:gd name="T2" fmla="*/ 2147483647 w 359"/>
                  <a:gd name="T3" fmla="*/ 2147483647 h 290"/>
                  <a:gd name="T4" fmla="*/ 2147483647 w 359"/>
                  <a:gd name="T5" fmla="*/ 2147483647 h 290"/>
                  <a:gd name="T6" fmla="*/ 2147483647 w 359"/>
                  <a:gd name="T7" fmla="*/ 2147483647 h 290"/>
                  <a:gd name="T8" fmla="*/ 2147483647 w 359"/>
                  <a:gd name="T9" fmla="*/ 2147483647 h 290"/>
                  <a:gd name="T10" fmla="*/ 2147483647 w 359"/>
                  <a:gd name="T11" fmla="*/ 2147483647 h 290"/>
                  <a:gd name="T12" fmla="*/ 2147483647 w 359"/>
                  <a:gd name="T13" fmla="*/ 2147483647 h 290"/>
                  <a:gd name="T14" fmla="*/ 2147483647 w 359"/>
                  <a:gd name="T15" fmla="*/ 2147483647 h 290"/>
                  <a:gd name="T16" fmla="*/ 2147483647 w 359"/>
                  <a:gd name="T17" fmla="*/ 2147483647 h 290"/>
                  <a:gd name="T18" fmla="*/ 2147483647 w 359"/>
                  <a:gd name="T19" fmla="*/ 2147483647 h 290"/>
                  <a:gd name="T20" fmla="*/ 2147483647 w 359"/>
                  <a:gd name="T21" fmla="*/ 2147483647 h 290"/>
                  <a:gd name="T22" fmla="*/ 2147483647 w 359"/>
                  <a:gd name="T23" fmla="*/ 2147483647 h 290"/>
                  <a:gd name="T24" fmla="*/ 2147483647 w 359"/>
                  <a:gd name="T25" fmla="*/ 2147483647 h 290"/>
                  <a:gd name="T26" fmla="*/ 2147483647 w 359"/>
                  <a:gd name="T27" fmla="*/ 2147483647 h 290"/>
                  <a:gd name="T28" fmla="*/ 2147483647 w 359"/>
                  <a:gd name="T29" fmla="*/ 2147483647 h 290"/>
                  <a:gd name="T30" fmla="*/ 2147483647 w 359"/>
                  <a:gd name="T31" fmla="*/ 2147483647 h 290"/>
                  <a:gd name="T32" fmla="*/ 2147483647 w 359"/>
                  <a:gd name="T33" fmla="*/ 2147483647 h 290"/>
                  <a:gd name="T34" fmla="*/ 2147483647 w 359"/>
                  <a:gd name="T35" fmla="*/ 2147483647 h 290"/>
                  <a:gd name="T36" fmla="*/ 2147483647 w 359"/>
                  <a:gd name="T37" fmla="*/ 2147483647 h 290"/>
                  <a:gd name="T38" fmla="*/ 2147483647 w 359"/>
                  <a:gd name="T39" fmla="*/ 2147483647 h 290"/>
                  <a:gd name="T40" fmla="*/ 2147483647 w 359"/>
                  <a:gd name="T41" fmla="*/ 2147483647 h 290"/>
                  <a:gd name="T42" fmla="*/ 2147483647 w 359"/>
                  <a:gd name="T43" fmla="*/ 2147483647 h 290"/>
                  <a:gd name="T44" fmla="*/ 2147483647 w 359"/>
                  <a:gd name="T45" fmla="*/ 2147483647 h 290"/>
                  <a:gd name="T46" fmla="*/ 2147483647 w 359"/>
                  <a:gd name="T47" fmla="*/ 2147483647 h 290"/>
                  <a:gd name="T48" fmla="*/ 2147483647 w 359"/>
                  <a:gd name="T49" fmla="*/ 2147483647 h 290"/>
                  <a:gd name="T50" fmla="*/ 2147483647 w 359"/>
                  <a:gd name="T51" fmla="*/ 2147483647 h 290"/>
                  <a:gd name="T52" fmla="*/ 2147483647 w 359"/>
                  <a:gd name="T53" fmla="*/ 2147483647 h 290"/>
                  <a:gd name="T54" fmla="*/ 2147483647 w 359"/>
                  <a:gd name="T55" fmla="*/ 2147483647 h 290"/>
                  <a:gd name="T56" fmla="*/ 2147483647 w 359"/>
                  <a:gd name="T57" fmla="*/ 2147483647 h 290"/>
                  <a:gd name="T58" fmla="*/ 2147483647 w 359"/>
                  <a:gd name="T59" fmla="*/ 2147483647 h 290"/>
                  <a:gd name="T60" fmla="*/ 2147483647 w 359"/>
                  <a:gd name="T61" fmla="*/ 2147483647 h 290"/>
                  <a:gd name="T62" fmla="*/ 2147483647 w 359"/>
                  <a:gd name="T63" fmla="*/ 2147483647 h 290"/>
                  <a:gd name="T64" fmla="*/ 2147483647 w 359"/>
                  <a:gd name="T65" fmla="*/ 2147483647 h 290"/>
                  <a:gd name="T66" fmla="*/ 2147483647 w 359"/>
                  <a:gd name="T67" fmla="*/ 2147483647 h 290"/>
                  <a:gd name="T68" fmla="*/ 2147483647 w 359"/>
                  <a:gd name="T69" fmla="*/ 2147483647 h 290"/>
                  <a:gd name="T70" fmla="*/ 2147483647 w 359"/>
                  <a:gd name="T71" fmla="*/ 2147483647 h 29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359" h="290">
                    <a:moveTo>
                      <a:pt x="337" y="0"/>
                    </a:moveTo>
                    <a:cubicBezTo>
                      <a:pt x="312" y="0"/>
                      <a:pt x="312" y="0"/>
                      <a:pt x="312" y="0"/>
                    </a:cubicBezTo>
                    <a:cubicBezTo>
                      <a:pt x="299" y="0"/>
                      <a:pt x="286" y="10"/>
                      <a:pt x="284" y="23"/>
                    </a:cubicBezTo>
                    <a:cubicBezTo>
                      <a:pt x="279" y="49"/>
                      <a:pt x="279" y="49"/>
                      <a:pt x="279" y="49"/>
                    </a:cubicBezTo>
                    <a:cubicBezTo>
                      <a:pt x="275" y="46"/>
                      <a:pt x="270" y="44"/>
                      <a:pt x="264" y="44"/>
                    </a:cubicBezTo>
                    <a:cubicBezTo>
                      <a:pt x="28" y="44"/>
                      <a:pt x="28" y="44"/>
                      <a:pt x="28" y="44"/>
                    </a:cubicBezTo>
                    <a:cubicBezTo>
                      <a:pt x="20" y="44"/>
                      <a:pt x="12" y="48"/>
                      <a:pt x="7" y="54"/>
                    </a:cubicBezTo>
                    <a:cubicBezTo>
                      <a:pt x="2" y="60"/>
                      <a:pt x="0" y="68"/>
                      <a:pt x="1" y="76"/>
                    </a:cubicBezTo>
                    <a:cubicBezTo>
                      <a:pt x="20" y="191"/>
                      <a:pt x="20" y="191"/>
                      <a:pt x="20" y="191"/>
                    </a:cubicBezTo>
                    <a:cubicBezTo>
                      <a:pt x="22" y="204"/>
                      <a:pt x="34" y="215"/>
                      <a:pt x="48" y="215"/>
                    </a:cubicBezTo>
                    <a:cubicBezTo>
                      <a:pt x="241" y="215"/>
                      <a:pt x="241" y="215"/>
                      <a:pt x="241" y="215"/>
                    </a:cubicBezTo>
                    <a:cubicBezTo>
                      <a:pt x="244" y="215"/>
                      <a:pt x="246" y="214"/>
                      <a:pt x="249" y="214"/>
                    </a:cubicBezTo>
                    <a:cubicBezTo>
                      <a:pt x="245" y="233"/>
                      <a:pt x="242" y="249"/>
                      <a:pt x="242" y="249"/>
                    </a:cubicBezTo>
                    <a:cubicBezTo>
                      <a:pt x="242" y="250"/>
                      <a:pt x="240" y="252"/>
                      <a:pt x="238" y="252"/>
                    </a:cubicBezTo>
                    <a:cubicBezTo>
                      <a:pt x="234" y="252"/>
                      <a:pt x="234" y="252"/>
                      <a:pt x="234" y="252"/>
                    </a:cubicBezTo>
                    <a:cubicBezTo>
                      <a:pt x="231" y="240"/>
                      <a:pt x="220" y="231"/>
                      <a:pt x="206" y="231"/>
                    </a:cubicBezTo>
                    <a:cubicBezTo>
                      <a:pt x="193" y="231"/>
                      <a:pt x="182" y="240"/>
                      <a:pt x="178" y="252"/>
                    </a:cubicBezTo>
                    <a:cubicBezTo>
                      <a:pt x="89" y="252"/>
                      <a:pt x="89" y="252"/>
                      <a:pt x="89" y="252"/>
                    </a:cubicBezTo>
                    <a:cubicBezTo>
                      <a:pt x="86" y="240"/>
                      <a:pt x="75" y="231"/>
                      <a:pt x="61" y="231"/>
                    </a:cubicBezTo>
                    <a:cubicBezTo>
                      <a:pt x="45" y="231"/>
                      <a:pt x="32" y="244"/>
                      <a:pt x="32" y="260"/>
                    </a:cubicBezTo>
                    <a:cubicBezTo>
                      <a:pt x="32" y="277"/>
                      <a:pt x="45" y="290"/>
                      <a:pt x="61" y="290"/>
                    </a:cubicBezTo>
                    <a:cubicBezTo>
                      <a:pt x="75" y="290"/>
                      <a:pt x="86" y="281"/>
                      <a:pt x="90" y="268"/>
                    </a:cubicBezTo>
                    <a:cubicBezTo>
                      <a:pt x="178" y="268"/>
                      <a:pt x="178" y="268"/>
                      <a:pt x="178" y="268"/>
                    </a:cubicBezTo>
                    <a:cubicBezTo>
                      <a:pt x="182" y="281"/>
                      <a:pt x="193" y="290"/>
                      <a:pt x="206" y="290"/>
                    </a:cubicBezTo>
                    <a:cubicBezTo>
                      <a:pt x="220" y="290"/>
                      <a:pt x="231" y="281"/>
                      <a:pt x="234" y="268"/>
                    </a:cubicBezTo>
                    <a:cubicBezTo>
                      <a:pt x="238" y="268"/>
                      <a:pt x="238" y="268"/>
                      <a:pt x="238" y="268"/>
                    </a:cubicBezTo>
                    <a:cubicBezTo>
                      <a:pt x="248" y="268"/>
                      <a:pt x="256" y="261"/>
                      <a:pt x="258" y="252"/>
                    </a:cubicBezTo>
                    <a:cubicBezTo>
                      <a:pt x="262" y="229"/>
                      <a:pt x="266" y="210"/>
                      <a:pt x="268" y="195"/>
                    </a:cubicBezTo>
                    <a:cubicBezTo>
                      <a:pt x="269" y="194"/>
                      <a:pt x="269" y="193"/>
                      <a:pt x="269" y="191"/>
                    </a:cubicBezTo>
                    <a:cubicBezTo>
                      <a:pt x="281" y="127"/>
                      <a:pt x="281" y="127"/>
                      <a:pt x="281" y="127"/>
                    </a:cubicBezTo>
                    <a:cubicBezTo>
                      <a:pt x="281" y="126"/>
                      <a:pt x="281" y="125"/>
                      <a:pt x="281" y="123"/>
                    </a:cubicBezTo>
                    <a:cubicBezTo>
                      <a:pt x="280" y="122"/>
                      <a:pt x="280" y="121"/>
                      <a:pt x="279" y="120"/>
                    </a:cubicBezTo>
                    <a:cubicBezTo>
                      <a:pt x="278" y="120"/>
                      <a:pt x="278" y="119"/>
                      <a:pt x="277" y="119"/>
                    </a:cubicBezTo>
                    <a:cubicBezTo>
                      <a:pt x="276" y="118"/>
                      <a:pt x="275" y="118"/>
                      <a:pt x="274" y="118"/>
                    </a:cubicBezTo>
                    <a:cubicBezTo>
                      <a:pt x="270" y="117"/>
                      <a:pt x="266" y="120"/>
                      <a:pt x="265" y="124"/>
                    </a:cubicBezTo>
                    <a:cubicBezTo>
                      <a:pt x="265" y="124"/>
                      <a:pt x="265" y="124"/>
                      <a:pt x="265" y="124"/>
                    </a:cubicBezTo>
                    <a:cubicBezTo>
                      <a:pt x="265" y="125"/>
                      <a:pt x="259" y="159"/>
                      <a:pt x="253" y="191"/>
                    </a:cubicBezTo>
                    <a:cubicBezTo>
                      <a:pt x="251" y="195"/>
                      <a:pt x="246" y="199"/>
                      <a:pt x="241" y="199"/>
                    </a:cubicBezTo>
                    <a:cubicBezTo>
                      <a:pt x="48" y="199"/>
                      <a:pt x="48" y="199"/>
                      <a:pt x="48" y="199"/>
                    </a:cubicBezTo>
                    <a:cubicBezTo>
                      <a:pt x="42" y="199"/>
                      <a:pt x="37" y="194"/>
                      <a:pt x="36" y="189"/>
                    </a:cubicBezTo>
                    <a:cubicBezTo>
                      <a:pt x="17" y="73"/>
                      <a:pt x="17" y="73"/>
                      <a:pt x="17" y="73"/>
                    </a:cubicBezTo>
                    <a:cubicBezTo>
                      <a:pt x="17" y="70"/>
                      <a:pt x="17" y="66"/>
                      <a:pt x="19" y="64"/>
                    </a:cubicBezTo>
                    <a:cubicBezTo>
                      <a:pt x="21" y="62"/>
                      <a:pt x="25" y="60"/>
                      <a:pt x="28" y="60"/>
                    </a:cubicBezTo>
                    <a:cubicBezTo>
                      <a:pt x="264" y="60"/>
                      <a:pt x="264" y="60"/>
                      <a:pt x="264" y="60"/>
                    </a:cubicBezTo>
                    <a:cubicBezTo>
                      <a:pt x="268" y="60"/>
                      <a:pt x="271" y="62"/>
                      <a:pt x="273" y="64"/>
                    </a:cubicBezTo>
                    <a:cubicBezTo>
                      <a:pt x="275" y="66"/>
                      <a:pt x="275" y="69"/>
                      <a:pt x="275" y="72"/>
                    </a:cubicBezTo>
                    <a:cubicBezTo>
                      <a:pt x="271" y="93"/>
                      <a:pt x="271" y="93"/>
                      <a:pt x="271" y="93"/>
                    </a:cubicBezTo>
                    <a:cubicBezTo>
                      <a:pt x="271" y="93"/>
                      <a:pt x="271" y="93"/>
                      <a:pt x="271" y="93"/>
                    </a:cubicBezTo>
                    <a:cubicBezTo>
                      <a:pt x="270" y="97"/>
                      <a:pt x="273" y="102"/>
                      <a:pt x="277" y="102"/>
                    </a:cubicBezTo>
                    <a:cubicBezTo>
                      <a:pt x="282" y="103"/>
                      <a:pt x="286" y="100"/>
                      <a:pt x="287" y="96"/>
                    </a:cubicBezTo>
                    <a:cubicBezTo>
                      <a:pt x="290" y="76"/>
                      <a:pt x="290" y="76"/>
                      <a:pt x="290" y="76"/>
                    </a:cubicBezTo>
                    <a:cubicBezTo>
                      <a:pt x="291" y="76"/>
                      <a:pt x="291" y="75"/>
                      <a:pt x="291" y="75"/>
                    </a:cubicBezTo>
                    <a:cubicBezTo>
                      <a:pt x="300" y="26"/>
                      <a:pt x="300" y="26"/>
                      <a:pt x="300" y="26"/>
                    </a:cubicBezTo>
                    <a:cubicBezTo>
                      <a:pt x="301" y="20"/>
                      <a:pt x="307" y="16"/>
                      <a:pt x="312" y="16"/>
                    </a:cubicBezTo>
                    <a:cubicBezTo>
                      <a:pt x="337" y="16"/>
                      <a:pt x="337" y="16"/>
                      <a:pt x="337" y="16"/>
                    </a:cubicBezTo>
                    <a:cubicBezTo>
                      <a:pt x="341" y="16"/>
                      <a:pt x="343" y="19"/>
                      <a:pt x="343" y="22"/>
                    </a:cubicBezTo>
                    <a:cubicBezTo>
                      <a:pt x="343" y="27"/>
                      <a:pt x="338" y="27"/>
                      <a:pt x="337" y="27"/>
                    </a:cubicBezTo>
                    <a:cubicBezTo>
                      <a:pt x="322" y="27"/>
                      <a:pt x="322" y="27"/>
                      <a:pt x="322" y="27"/>
                    </a:cubicBezTo>
                    <a:cubicBezTo>
                      <a:pt x="318" y="27"/>
                      <a:pt x="314" y="31"/>
                      <a:pt x="314" y="35"/>
                    </a:cubicBezTo>
                    <a:cubicBezTo>
                      <a:pt x="314" y="40"/>
                      <a:pt x="318" y="43"/>
                      <a:pt x="322" y="43"/>
                    </a:cubicBezTo>
                    <a:cubicBezTo>
                      <a:pt x="337" y="43"/>
                      <a:pt x="337" y="43"/>
                      <a:pt x="337" y="43"/>
                    </a:cubicBezTo>
                    <a:cubicBezTo>
                      <a:pt x="350" y="43"/>
                      <a:pt x="359" y="35"/>
                      <a:pt x="359" y="22"/>
                    </a:cubicBezTo>
                    <a:cubicBezTo>
                      <a:pt x="359" y="10"/>
                      <a:pt x="349" y="0"/>
                      <a:pt x="337" y="0"/>
                    </a:cubicBezTo>
                    <a:close/>
                    <a:moveTo>
                      <a:pt x="61" y="274"/>
                    </a:moveTo>
                    <a:cubicBezTo>
                      <a:pt x="54" y="274"/>
                      <a:pt x="48" y="268"/>
                      <a:pt x="48" y="260"/>
                    </a:cubicBezTo>
                    <a:cubicBezTo>
                      <a:pt x="48" y="253"/>
                      <a:pt x="54" y="247"/>
                      <a:pt x="61" y="247"/>
                    </a:cubicBezTo>
                    <a:cubicBezTo>
                      <a:pt x="69" y="247"/>
                      <a:pt x="75" y="253"/>
                      <a:pt x="75" y="260"/>
                    </a:cubicBezTo>
                    <a:cubicBezTo>
                      <a:pt x="75" y="268"/>
                      <a:pt x="69" y="274"/>
                      <a:pt x="61" y="274"/>
                    </a:cubicBezTo>
                    <a:close/>
                    <a:moveTo>
                      <a:pt x="206" y="274"/>
                    </a:moveTo>
                    <a:cubicBezTo>
                      <a:pt x="199" y="274"/>
                      <a:pt x="193" y="268"/>
                      <a:pt x="193" y="260"/>
                    </a:cubicBezTo>
                    <a:cubicBezTo>
                      <a:pt x="193" y="253"/>
                      <a:pt x="199" y="247"/>
                      <a:pt x="206" y="247"/>
                    </a:cubicBezTo>
                    <a:cubicBezTo>
                      <a:pt x="214" y="247"/>
                      <a:pt x="219" y="253"/>
                      <a:pt x="219" y="260"/>
                    </a:cubicBezTo>
                    <a:cubicBezTo>
                      <a:pt x="219" y="268"/>
                      <a:pt x="214" y="274"/>
                      <a:pt x="206" y="2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44" name="Freeform 3"/>
              <p:cNvSpPr>
                <a:spLocks noChangeAspect="1" noEditPoints="1"/>
              </p:cNvSpPr>
              <p:nvPr/>
            </p:nvSpPr>
            <p:spPr bwMode="auto">
              <a:xfrm>
                <a:off x="5235135" y="2811038"/>
                <a:ext cx="177279" cy="80519"/>
              </a:xfrm>
              <a:custGeom>
                <a:avLst/>
                <a:gdLst>
                  <a:gd name="T0" fmla="*/ 2147483647 w 448"/>
                  <a:gd name="T1" fmla="*/ 2147483647 h 208"/>
                  <a:gd name="T2" fmla="*/ 2147483647 w 448"/>
                  <a:gd name="T3" fmla="*/ 2147483647 h 208"/>
                  <a:gd name="T4" fmla="*/ 2147483647 w 448"/>
                  <a:gd name="T5" fmla="*/ 2147483647 h 208"/>
                  <a:gd name="T6" fmla="*/ 2147483647 w 448"/>
                  <a:gd name="T7" fmla="*/ 2147483647 h 208"/>
                  <a:gd name="T8" fmla="*/ 2147483647 w 448"/>
                  <a:gd name="T9" fmla="*/ 2147483647 h 208"/>
                  <a:gd name="T10" fmla="*/ 2147483647 w 448"/>
                  <a:gd name="T11" fmla="*/ 2147483647 h 208"/>
                  <a:gd name="T12" fmla="*/ 2147483647 w 448"/>
                  <a:gd name="T13" fmla="*/ 2147483647 h 208"/>
                  <a:gd name="T14" fmla="*/ 2147483647 w 448"/>
                  <a:gd name="T15" fmla="*/ 2147483647 h 208"/>
                  <a:gd name="T16" fmla="*/ 2147483647 w 448"/>
                  <a:gd name="T17" fmla="*/ 2147483647 h 208"/>
                  <a:gd name="T18" fmla="*/ 2147483647 w 448"/>
                  <a:gd name="T19" fmla="*/ 2147483647 h 208"/>
                  <a:gd name="T20" fmla="*/ 2147483647 w 448"/>
                  <a:gd name="T21" fmla="*/ 2147483647 h 208"/>
                  <a:gd name="T22" fmla="*/ 2147483647 w 448"/>
                  <a:gd name="T23" fmla="*/ 2147483647 h 208"/>
                  <a:gd name="T24" fmla="*/ 2147483647 w 448"/>
                  <a:gd name="T25" fmla="*/ 2147483647 h 208"/>
                  <a:gd name="T26" fmla="*/ 2147483647 w 448"/>
                  <a:gd name="T27" fmla="*/ 2147483647 h 208"/>
                  <a:gd name="T28" fmla="*/ 2147483647 w 448"/>
                  <a:gd name="T29" fmla="*/ 2147483647 h 208"/>
                  <a:gd name="T30" fmla="*/ 2147483647 w 448"/>
                  <a:gd name="T31" fmla="*/ 2147483647 h 208"/>
                  <a:gd name="T32" fmla="*/ 2147483647 w 448"/>
                  <a:gd name="T33" fmla="*/ 2147483647 h 208"/>
                  <a:gd name="T34" fmla="*/ 2147483647 w 448"/>
                  <a:gd name="T35" fmla="*/ 2147483647 h 208"/>
                  <a:gd name="T36" fmla="*/ 2147483647 w 448"/>
                  <a:gd name="T37" fmla="*/ 2147483647 h 208"/>
                  <a:gd name="T38" fmla="*/ 2147483647 w 448"/>
                  <a:gd name="T39" fmla="*/ 2147483647 h 208"/>
                  <a:gd name="T40" fmla="*/ 2147483647 w 448"/>
                  <a:gd name="T41" fmla="*/ 2147483647 h 208"/>
                  <a:gd name="T42" fmla="*/ 2147483647 w 448"/>
                  <a:gd name="T43" fmla="*/ 2147483647 h 208"/>
                  <a:gd name="T44" fmla="*/ 2147483647 w 448"/>
                  <a:gd name="T45" fmla="*/ 2147483647 h 208"/>
                  <a:gd name="T46" fmla="*/ 2147483647 w 448"/>
                  <a:gd name="T47" fmla="*/ 2147483647 h 208"/>
                  <a:gd name="T48" fmla="*/ 2147483647 w 448"/>
                  <a:gd name="T49" fmla="*/ 2147483647 h 208"/>
                  <a:gd name="T50" fmla="*/ 2147483647 w 448"/>
                  <a:gd name="T51" fmla="*/ 2147483647 h 208"/>
                  <a:gd name="T52" fmla="*/ 2147483647 w 448"/>
                  <a:gd name="T53" fmla="*/ 2147483647 h 208"/>
                  <a:gd name="T54" fmla="*/ 2147483647 w 448"/>
                  <a:gd name="T55" fmla="*/ 2147483647 h 208"/>
                  <a:gd name="T56" fmla="*/ 2147483647 w 448"/>
                  <a:gd name="T57" fmla="*/ 2147483647 h 208"/>
                  <a:gd name="T58" fmla="*/ 2147483647 w 448"/>
                  <a:gd name="T59" fmla="*/ 2147483647 h 208"/>
                  <a:gd name="T60" fmla="*/ 2147483647 w 448"/>
                  <a:gd name="T61" fmla="*/ 2147483647 h 208"/>
                  <a:gd name="T62" fmla="*/ 2147483647 w 448"/>
                  <a:gd name="T63" fmla="*/ 2147483647 h 208"/>
                  <a:gd name="T64" fmla="*/ 2147483647 w 448"/>
                  <a:gd name="T65" fmla="*/ 2147483647 h 20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448" h="208">
                    <a:moveTo>
                      <a:pt x="447" y="114"/>
                    </a:moveTo>
                    <a:cubicBezTo>
                      <a:pt x="446" y="110"/>
                      <a:pt x="442" y="107"/>
                      <a:pt x="438" y="108"/>
                    </a:cubicBezTo>
                    <a:cubicBezTo>
                      <a:pt x="433" y="109"/>
                      <a:pt x="431" y="114"/>
                      <a:pt x="432" y="118"/>
                    </a:cubicBezTo>
                    <a:cubicBezTo>
                      <a:pt x="432" y="120"/>
                      <a:pt x="432" y="122"/>
                      <a:pt x="432" y="125"/>
                    </a:cubicBezTo>
                    <a:cubicBezTo>
                      <a:pt x="432" y="142"/>
                      <a:pt x="428" y="154"/>
                      <a:pt x="423" y="161"/>
                    </a:cubicBezTo>
                    <a:cubicBezTo>
                      <a:pt x="420" y="164"/>
                      <a:pt x="418" y="167"/>
                      <a:pt x="417" y="169"/>
                    </a:cubicBezTo>
                    <a:cubicBezTo>
                      <a:pt x="416" y="169"/>
                      <a:pt x="416" y="169"/>
                      <a:pt x="416" y="169"/>
                    </a:cubicBezTo>
                    <a:cubicBezTo>
                      <a:pt x="408" y="169"/>
                      <a:pt x="408" y="169"/>
                      <a:pt x="408" y="169"/>
                    </a:cubicBezTo>
                    <a:cubicBezTo>
                      <a:pt x="408" y="167"/>
                      <a:pt x="408" y="165"/>
                      <a:pt x="408" y="163"/>
                    </a:cubicBezTo>
                    <a:cubicBezTo>
                      <a:pt x="408" y="139"/>
                      <a:pt x="388" y="119"/>
                      <a:pt x="363" y="119"/>
                    </a:cubicBezTo>
                    <a:cubicBezTo>
                      <a:pt x="339" y="119"/>
                      <a:pt x="319" y="139"/>
                      <a:pt x="319" y="163"/>
                    </a:cubicBezTo>
                    <a:cubicBezTo>
                      <a:pt x="319" y="165"/>
                      <a:pt x="319" y="167"/>
                      <a:pt x="319" y="169"/>
                    </a:cubicBezTo>
                    <a:cubicBezTo>
                      <a:pt x="141" y="169"/>
                      <a:pt x="141" y="169"/>
                      <a:pt x="141" y="169"/>
                    </a:cubicBezTo>
                    <a:cubicBezTo>
                      <a:pt x="141" y="167"/>
                      <a:pt x="141" y="165"/>
                      <a:pt x="141" y="163"/>
                    </a:cubicBezTo>
                    <a:cubicBezTo>
                      <a:pt x="141" y="139"/>
                      <a:pt x="121" y="119"/>
                      <a:pt x="96" y="119"/>
                    </a:cubicBezTo>
                    <a:cubicBezTo>
                      <a:pt x="72" y="119"/>
                      <a:pt x="52" y="139"/>
                      <a:pt x="52" y="163"/>
                    </a:cubicBezTo>
                    <a:cubicBezTo>
                      <a:pt x="52" y="165"/>
                      <a:pt x="52" y="167"/>
                      <a:pt x="52" y="169"/>
                    </a:cubicBezTo>
                    <a:cubicBezTo>
                      <a:pt x="29" y="169"/>
                      <a:pt x="29" y="169"/>
                      <a:pt x="29" y="169"/>
                    </a:cubicBezTo>
                    <a:cubicBezTo>
                      <a:pt x="23" y="169"/>
                      <a:pt x="22" y="167"/>
                      <a:pt x="19" y="163"/>
                    </a:cubicBezTo>
                    <a:cubicBezTo>
                      <a:pt x="17" y="159"/>
                      <a:pt x="16" y="152"/>
                      <a:pt x="16" y="147"/>
                    </a:cubicBezTo>
                    <a:cubicBezTo>
                      <a:pt x="16" y="136"/>
                      <a:pt x="21" y="126"/>
                      <a:pt x="31" y="118"/>
                    </a:cubicBezTo>
                    <a:cubicBezTo>
                      <a:pt x="44" y="105"/>
                      <a:pt x="67" y="96"/>
                      <a:pt x="86" y="90"/>
                    </a:cubicBezTo>
                    <a:cubicBezTo>
                      <a:pt x="95" y="87"/>
                      <a:pt x="103" y="85"/>
                      <a:pt x="110" y="84"/>
                    </a:cubicBezTo>
                    <a:cubicBezTo>
                      <a:pt x="114" y="83"/>
                      <a:pt x="117" y="82"/>
                      <a:pt x="119" y="82"/>
                    </a:cubicBezTo>
                    <a:cubicBezTo>
                      <a:pt x="384" y="82"/>
                      <a:pt x="384" y="82"/>
                      <a:pt x="384" y="82"/>
                    </a:cubicBezTo>
                    <a:cubicBezTo>
                      <a:pt x="385" y="82"/>
                      <a:pt x="386" y="82"/>
                      <a:pt x="387" y="83"/>
                    </a:cubicBezTo>
                    <a:cubicBezTo>
                      <a:pt x="392" y="84"/>
                      <a:pt x="406" y="89"/>
                      <a:pt x="417" y="97"/>
                    </a:cubicBezTo>
                    <a:cubicBezTo>
                      <a:pt x="420" y="100"/>
                      <a:pt x="425" y="99"/>
                      <a:pt x="428" y="95"/>
                    </a:cubicBezTo>
                    <a:cubicBezTo>
                      <a:pt x="431" y="92"/>
                      <a:pt x="430" y="87"/>
                      <a:pt x="426" y="84"/>
                    </a:cubicBezTo>
                    <a:cubicBezTo>
                      <a:pt x="412" y="74"/>
                      <a:pt x="397" y="69"/>
                      <a:pt x="390" y="67"/>
                    </a:cubicBezTo>
                    <a:cubicBezTo>
                      <a:pt x="381" y="55"/>
                      <a:pt x="333" y="0"/>
                      <a:pt x="248" y="0"/>
                    </a:cubicBezTo>
                    <a:cubicBezTo>
                      <a:pt x="165" y="0"/>
                      <a:pt x="123" y="53"/>
                      <a:pt x="113" y="67"/>
                    </a:cubicBezTo>
                    <a:cubicBezTo>
                      <a:pt x="105" y="68"/>
                      <a:pt x="83" y="73"/>
                      <a:pt x="60" y="82"/>
                    </a:cubicBezTo>
                    <a:cubicBezTo>
                      <a:pt x="46" y="88"/>
                      <a:pt x="31" y="96"/>
                      <a:pt x="20" y="106"/>
                    </a:cubicBezTo>
                    <a:cubicBezTo>
                      <a:pt x="8" y="116"/>
                      <a:pt x="0" y="130"/>
                      <a:pt x="0" y="147"/>
                    </a:cubicBezTo>
                    <a:cubicBezTo>
                      <a:pt x="0" y="153"/>
                      <a:pt x="1" y="162"/>
                      <a:pt x="5" y="170"/>
                    </a:cubicBezTo>
                    <a:cubicBezTo>
                      <a:pt x="8" y="178"/>
                      <a:pt x="17" y="185"/>
                      <a:pt x="29" y="185"/>
                    </a:cubicBezTo>
                    <a:cubicBezTo>
                      <a:pt x="57" y="185"/>
                      <a:pt x="57" y="185"/>
                      <a:pt x="57" y="185"/>
                    </a:cubicBezTo>
                    <a:cubicBezTo>
                      <a:pt x="65" y="199"/>
                      <a:pt x="80" y="208"/>
                      <a:pt x="96" y="208"/>
                    </a:cubicBezTo>
                    <a:cubicBezTo>
                      <a:pt x="113" y="208"/>
                      <a:pt x="128" y="199"/>
                      <a:pt x="135" y="185"/>
                    </a:cubicBezTo>
                    <a:cubicBezTo>
                      <a:pt x="324" y="185"/>
                      <a:pt x="324" y="185"/>
                      <a:pt x="324" y="185"/>
                    </a:cubicBezTo>
                    <a:cubicBezTo>
                      <a:pt x="332" y="199"/>
                      <a:pt x="347" y="208"/>
                      <a:pt x="363" y="208"/>
                    </a:cubicBezTo>
                    <a:cubicBezTo>
                      <a:pt x="380" y="208"/>
                      <a:pt x="395" y="199"/>
                      <a:pt x="402" y="185"/>
                    </a:cubicBezTo>
                    <a:cubicBezTo>
                      <a:pt x="402" y="185"/>
                      <a:pt x="402" y="185"/>
                      <a:pt x="402" y="185"/>
                    </a:cubicBezTo>
                    <a:cubicBezTo>
                      <a:pt x="419" y="185"/>
                      <a:pt x="419" y="185"/>
                      <a:pt x="419" y="185"/>
                    </a:cubicBezTo>
                    <a:cubicBezTo>
                      <a:pt x="420" y="185"/>
                      <a:pt x="422" y="185"/>
                      <a:pt x="423" y="184"/>
                    </a:cubicBezTo>
                    <a:cubicBezTo>
                      <a:pt x="424" y="183"/>
                      <a:pt x="448" y="166"/>
                      <a:pt x="448" y="125"/>
                    </a:cubicBezTo>
                    <a:cubicBezTo>
                      <a:pt x="448" y="121"/>
                      <a:pt x="448" y="117"/>
                      <a:pt x="447" y="114"/>
                    </a:cubicBezTo>
                    <a:close/>
                    <a:moveTo>
                      <a:pt x="256" y="16"/>
                    </a:moveTo>
                    <a:cubicBezTo>
                      <a:pt x="296" y="18"/>
                      <a:pt x="326" y="32"/>
                      <a:pt x="346" y="47"/>
                    </a:cubicBezTo>
                    <a:cubicBezTo>
                      <a:pt x="356" y="54"/>
                      <a:pt x="363" y="60"/>
                      <a:pt x="368" y="66"/>
                    </a:cubicBezTo>
                    <a:cubicBezTo>
                      <a:pt x="256" y="66"/>
                      <a:pt x="256" y="66"/>
                      <a:pt x="256" y="66"/>
                    </a:cubicBezTo>
                    <a:lnTo>
                      <a:pt x="256" y="16"/>
                    </a:lnTo>
                    <a:close/>
                    <a:moveTo>
                      <a:pt x="240" y="16"/>
                    </a:moveTo>
                    <a:cubicBezTo>
                      <a:pt x="240" y="66"/>
                      <a:pt x="240" y="66"/>
                      <a:pt x="240" y="66"/>
                    </a:cubicBezTo>
                    <a:cubicBezTo>
                      <a:pt x="134" y="66"/>
                      <a:pt x="134" y="66"/>
                      <a:pt x="134" y="66"/>
                    </a:cubicBezTo>
                    <a:cubicBezTo>
                      <a:pt x="149" y="49"/>
                      <a:pt x="183" y="18"/>
                      <a:pt x="240" y="16"/>
                    </a:cubicBezTo>
                    <a:close/>
                    <a:moveTo>
                      <a:pt x="96" y="192"/>
                    </a:moveTo>
                    <a:cubicBezTo>
                      <a:pt x="80" y="192"/>
                      <a:pt x="68" y="179"/>
                      <a:pt x="68" y="163"/>
                    </a:cubicBezTo>
                    <a:cubicBezTo>
                      <a:pt x="68" y="148"/>
                      <a:pt x="80" y="135"/>
                      <a:pt x="96" y="135"/>
                    </a:cubicBezTo>
                    <a:cubicBezTo>
                      <a:pt x="112" y="135"/>
                      <a:pt x="125" y="148"/>
                      <a:pt x="125" y="163"/>
                    </a:cubicBezTo>
                    <a:cubicBezTo>
                      <a:pt x="125" y="179"/>
                      <a:pt x="112" y="192"/>
                      <a:pt x="96" y="192"/>
                    </a:cubicBezTo>
                    <a:close/>
                    <a:moveTo>
                      <a:pt x="363" y="192"/>
                    </a:moveTo>
                    <a:cubicBezTo>
                      <a:pt x="348" y="192"/>
                      <a:pt x="335" y="179"/>
                      <a:pt x="335" y="163"/>
                    </a:cubicBezTo>
                    <a:cubicBezTo>
                      <a:pt x="335" y="148"/>
                      <a:pt x="348" y="135"/>
                      <a:pt x="363" y="135"/>
                    </a:cubicBezTo>
                    <a:cubicBezTo>
                      <a:pt x="379" y="135"/>
                      <a:pt x="392" y="148"/>
                      <a:pt x="392" y="163"/>
                    </a:cubicBezTo>
                    <a:cubicBezTo>
                      <a:pt x="392" y="179"/>
                      <a:pt x="379" y="192"/>
                      <a:pt x="363" y="1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45" name="Freeform 3"/>
              <p:cNvSpPr>
                <a:spLocks noChangeAspect="1" noEditPoints="1"/>
              </p:cNvSpPr>
              <p:nvPr/>
            </p:nvSpPr>
            <p:spPr bwMode="auto">
              <a:xfrm>
                <a:off x="5878113" y="2681024"/>
                <a:ext cx="198561" cy="105776"/>
              </a:xfrm>
              <a:custGeom>
                <a:avLst/>
                <a:gdLst>
                  <a:gd name="T0" fmla="*/ 2147483647 w 502"/>
                  <a:gd name="T1" fmla="*/ 2147483647 h 273"/>
                  <a:gd name="T2" fmla="*/ 2147483647 w 502"/>
                  <a:gd name="T3" fmla="*/ 2147483647 h 273"/>
                  <a:gd name="T4" fmla="*/ 2147483647 w 502"/>
                  <a:gd name="T5" fmla="*/ 2147483647 h 273"/>
                  <a:gd name="T6" fmla="*/ 2147483647 w 502"/>
                  <a:gd name="T7" fmla="*/ 2147483647 h 273"/>
                  <a:gd name="T8" fmla="*/ 2147483647 w 502"/>
                  <a:gd name="T9" fmla="*/ 2147483647 h 273"/>
                  <a:gd name="T10" fmla="*/ 2147483647 w 502"/>
                  <a:gd name="T11" fmla="*/ 2147483647 h 273"/>
                  <a:gd name="T12" fmla="*/ 2147483647 w 502"/>
                  <a:gd name="T13" fmla="*/ 2147483647 h 273"/>
                  <a:gd name="T14" fmla="*/ 2147483647 w 502"/>
                  <a:gd name="T15" fmla="*/ 2147483647 h 273"/>
                  <a:gd name="T16" fmla="*/ 2147483647 w 502"/>
                  <a:gd name="T17" fmla="*/ 2147483647 h 273"/>
                  <a:gd name="T18" fmla="*/ 2147483647 w 502"/>
                  <a:gd name="T19" fmla="*/ 2147483647 h 273"/>
                  <a:gd name="T20" fmla="*/ 2147483647 w 502"/>
                  <a:gd name="T21" fmla="*/ 2147483647 h 273"/>
                  <a:gd name="T22" fmla="*/ 2147483647 w 502"/>
                  <a:gd name="T23" fmla="*/ 0 h 273"/>
                  <a:gd name="T24" fmla="*/ 2147483647 w 502"/>
                  <a:gd name="T25" fmla="*/ 2147483647 h 273"/>
                  <a:gd name="T26" fmla="*/ 2147483647 w 502"/>
                  <a:gd name="T27" fmla="*/ 2147483647 h 273"/>
                  <a:gd name="T28" fmla="*/ 0 w 502"/>
                  <a:gd name="T29" fmla="*/ 2147483647 h 273"/>
                  <a:gd name="T30" fmla="*/ 2147483647 w 502"/>
                  <a:gd name="T31" fmla="*/ 2147483647 h 273"/>
                  <a:gd name="T32" fmla="*/ 2147483647 w 502"/>
                  <a:gd name="T33" fmla="*/ 2147483647 h 273"/>
                  <a:gd name="T34" fmla="*/ 2147483647 w 502"/>
                  <a:gd name="T35" fmla="*/ 2147483647 h 273"/>
                  <a:gd name="T36" fmla="*/ 2147483647 w 502"/>
                  <a:gd name="T37" fmla="*/ 2147483647 h 273"/>
                  <a:gd name="T38" fmla="*/ 2147483647 w 502"/>
                  <a:gd name="T39" fmla="*/ 2147483647 h 273"/>
                  <a:gd name="T40" fmla="*/ 2147483647 w 502"/>
                  <a:gd name="T41" fmla="*/ 2147483647 h 273"/>
                  <a:gd name="T42" fmla="*/ 2147483647 w 502"/>
                  <a:gd name="T43" fmla="*/ 2147483647 h 273"/>
                  <a:gd name="T44" fmla="*/ 2147483647 w 502"/>
                  <a:gd name="T45" fmla="*/ 2147483647 h 273"/>
                  <a:gd name="T46" fmla="*/ 2147483647 w 502"/>
                  <a:gd name="T47" fmla="*/ 2147483647 h 273"/>
                  <a:gd name="T48" fmla="*/ 2147483647 w 502"/>
                  <a:gd name="T49" fmla="*/ 2147483647 h 273"/>
                  <a:gd name="T50" fmla="*/ 2147483647 w 502"/>
                  <a:gd name="T51" fmla="*/ 2147483647 h 273"/>
                  <a:gd name="T52" fmla="*/ 2147483647 w 502"/>
                  <a:gd name="T53" fmla="*/ 2147483647 h 273"/>
                  <a:gd name="T54" fmla="*/ 2147483647 w 502"/>
                  <a:gd name="T55" fmla="*/ 2147483647 h 273"/>
                  <a:gd name="T56" fmla="*/ 2147483647 w 502"/>
                  <a:gd name="T57" fmla="*/ 2147483647 h 273"/>
                  <a:gd name="T58" fmla="*/ 2147483647 w 502"/>
                  <a:gd name="T59" fmla="*/ 2147483647 h 273"/>
                  <a:gd name="T60" fmla="*/ 2147483647 w 502"/>
                  <a:gd name="T61" fmla="*/ 2147483647 h 273"/>
                  <a:gd name="T62" fmla="*/ 2147483647 w 502"/>
                  <a:gd name="T63" fmla="*/ 2147483647 h 273"/>
                  <a:gd name="T64" fmla="*/ 2147483647 w 502"/>
                  <a:gd name="T65" fmla="*/ 2147483647 h 273"/>
                  <a:gd name="T66" fmla="*/ 2147483647 w 502"/>
                  <a:gd name="T67" fmla="*/ 2147483647 h 273"/>
                  <a:gd name="T68" fmla="*/ 2147483647 w 502"/>
                  <a:gd name="T69" fmla="*/ 2147483647 h 273"/>
                  <a:gd name="T70" fmla="*/ 2147483647 w 502"/>
                  <a:gd name="T71" fmla="*/ 2147483647 h 273"/>
                  <a:gd name="T72" fmla="*/ 2147483647 w 502"/>
                  <a:gd name="T73" fmla="*/ 2147483647 h 273"/>
                  <a:gd name="T74" fmla="*/ 2147483647 w 502"/>
                  <a:gd name="T75" fmla="*/ 2147483647 h 273"/>
                  <a:gd name="T76" fmla="*/ 2147483647 w 502"/>
                  <a:gd name="T77" fmla="*/ 2147483647 h 273"/>
                  <a:gd name="T78" fmla="*/ 2147483647 w 502"/>
                  <a:gd name="T79" fmla="*/ 2147483647 h 273"/>
                  <a:gd name="T80" fmla="*/ 2147483647 w 502"/>
                  <a:gd name="T81" fmla="*/ 2147483647 h 273"/>
                  <a:gd name="T82" fmla="*/ 2147483647 w 502"/>
                  <a:gd name="T83" fmla="*/ 2147483647 h 273"/>
                  <a:gd name="T84" fmla="*/ 2147483647 w 502"/>
                  <a:gd name="T85" fmla="*/ 2147483647 h 27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02" h="273">
                    <a:moveTo>
                      <a:pt x="500" y="150"/>
                    </a:moveTo>
                    <a:cubicBezTo>
                      <a:pt x="498" y="148"/>
                      <a:pt x="496" y="147"/>
                      <a:pt x="494" y="147"/>
                    </a:cubicBezTo>
                    <a:cubicBezTo>
                      <a:pt x="480" y="147"/>
                      <a:pt x="480" y="147"/>
                      <a:pt x="480" y="147"/>
                    </a:cubicBezTo>
                    <a:cubicBezTo>
                      <a:pt x="480" y="91"/>
                      <a:pt x="480" y="91"/>
                      <a:pt x="480" y="91"/>
                    </a:cubicBezTo>
                    <a:cubicBezTo>
                      <a:pt x="480" y="87"/>
                      <a:pt x="477" y="83"/>
                      <a:pt x="472" y="83"/>
                    </a:cubicBezTo>
                    <a:cubicBezTo>
                      <a:pt x="468" y="83"/>
                      <a:pt x="464" y="87"/>
                      <a:pt x="464" y="91"/>
                    </a:cubicBezTo>
                    <a:cubicBezTo>
                      <a:pt x="464" y="147"/>
                      <a:pt x="464" y="147"/>
                      <a:pt x="464" y="147"/>
                    </a:cubicBezTo>
                    <a:cubicBezTo>
                      <a:pt x="352" y="147"/>
                      <a:pt x="352" y="147"/>
                      <a:pt x="352" y="147"/>
                    </a:cubicBezTo>
                    <a:cubicBezTo>
                      <a:pt x="352" y="88"/>
                      <a:pt x="352" y="88"/>
                      <a:pt x="352" y="88"/>
                    </a:cubicBezTo>
                    <a:cubicBezTo>
                      <a:pt x="418" y="88"/>
                      <a:pt x="418" y="88"/>
                      <a:pt x="418" y="88"/>
                    </a:cubicBezTo>
                    <a:cubicBezTo>
                      <a:pt x="420" y="88"/>
                      <a:pt x="422" y="87"/>
                      <a:pt x="423" y="86"/>
                    </a:cubicBezTo>
                    <a:cubicBezTo>
                      <a:pt x="425" y="84"/>
                      <a:pt x="426" y="82"/>
                      <a:pt x="426" y="80"/>
                    </a:cubicBezTo>
                    <a:cubicBezTo>
                      <a:pt x="426" y="39"/>
                      <a:pt x="426" y="39"/>
                      <a:pt x="426" y="39"/>
                    </a:cubicBezTo>
                    <a:cubicBezTo>
                      <a:pt x="464" y="39"/>
                      <a:pt x="464" y="39"/>
                      <a:pt x="464" y="39"/>
                    </a:cubicBezTo>
                    <a:cubicBezTo>
                      <a:pt x="464" y="60"/>
                      <a:pt x="464" y="60"/>
                      <a:pt x="464" y="60"/>
                    </a:cubicBezTo>
                    <a:cubicBezTo>
                      <a:pt x="464" y="64"/>
                      <a:pt x="468" y="68"/>
                      <a:pt x="472" y="68"/>
                    </a:cubicBezTo>
                    <a:cubicBezTo>
                      <a:pt x="477" y="68"/>
                      <a:pt x="480" y="64"/>
                      <a:pt x="480" y="60"/>
                    </a:cubicBezTo>
                    <a:cubicBezTo>
                      <a:pt x="480" y="39"/>
                      <a:pt x="480" y="39"/>
                      <a:pt x="480" y="39"/>
                    </a:cubicBezTo>
                    <a:cubicBezTo>
                      <a:pt x="480" y="39"/>
                      <a:pt x="480" y="39"/>
                      <a:pt x="480" y="39"/>
                    </a:cubicBezTo>
                    <a:cubicBezTo>
                      <a:pt x="480" y="37"/>
                      <a:pt x="480" y="37"/>
                      <a:pt x="480" y="37"/>
                    </a:cubicBezTo>
                    <a:cubicBezTo>
                      <a:pt x="480" y="37"/>
                      <a:pt x="480" y="37"/>
                      <a:pt x="480" y="37"/>
                    </a:cubicBezTo>
                    <a:cubicBezTo>
                      <a:pt x="480" y="36"/>
                      <a:pt x="480" y="36"/>
                      <a:pt x="480" y="36"/>
                    </a:cubicBezTo>
                    <a:cubicBezTo>
                      <a:pt x="480" y="35"/>
                      <a:pt x="480" y="33"/>
                      <a:pt x="479" y="32"/>
                    </a:cubicBezTo>
                    <a:cubicBezTo>
                      <a:pt x="477" y="27"/>
                      <a:pt x="472" y="23"/>
                      <a:pt x="466" y="23"/>
                    </a:cubicBezTo>
                    <a:cubicBezTo>
                      <a:pt x="424" y="23"/>
                      <a:pt x="424" y="23"/>
                      <a:pt x="424" y="23"/>
                    </a:cubicBezTo>
                    <a:cubicBezTo>
                      <a:pt x="416" y="23"/>
                      <a:pt x="410" y="29"/>
                      <a:pt x="410" y="37"/>
                    </a:cubicBezTo>
                    <a:cubicBezTo>
                      <a:pt x="410" y="72"/>
                      <a:pt x="410" y="72"/>
                      <a:pt x="410" y="72"/>
                    </a:cubicBezTo>
                    <a:cubicBezTo>
                      <a:pt x="352" y="72"/>
                      <a:pt x="352" y="72"/>
                      <a:pt x="352" y="72"/>
                    </a:cubicBezTo>
                    <a:cubicBezTo>
                      <a:pt x="343" y="72"/>
                      <a:pt x="336" y="79"/>
                      <a:pt x="336" y="88"/>
                    </a:cubicBezTo>
                    <a:cubicBezTo>
                      <a:pt x="336" y="147"/>
                      <a:pt x="336" y="147"/>
                      <a:pt x="336" y="147"/>
                    </a:cubicBezTo>
                    <a:cubicBezTo>
                      <a:pt x="296" y="147"/>
                      <a:pt x="296" y="147"/>
                      <a:pt x="296" y="147"/>
                    </a:cubicBezTo>
                    <a:cubicBezTo>
                      <a:pt x="296" y="65"/>
                      <a:pt x="296" y="65"/>
                      <a:pt x="296" y="65"/>
                    </a:cubicBezTo>
                    <a:cubicBezTo>
                      <a:pt x="296" y="56"/>
                      <a:pt x="289" y="49"/>
                      <a:pt x="280" y="49"/>
                    </a:cubicBezTo>
                    <a:cubicBezTo>
                      <a:pt x="247" y="49"/>
                      <a:pt x="247" y="49"/>
                      <a:pt x="247" y="49"/>
                    </a:cubicBezTo>
                    <a:cubicBezTo>
                      <a:pt x="247" y="16"/>
                      <a:pt x="247" y="16"/>
                      <a:pt x="247" y="16"/>
                    </a:cubicBezTo>
                    <a:cubicBezTo>
                      <a:pt x="247" y="7"/>
                      <a:pt x="240" y="0"/>
                      <a:pt x="231" y="0"/>
                    </a:cubicBezTo>
                    <a:cubicBezTo>
                      <a:pt x="100" y="0"/>
                      <a:pt x="100" y="0"/>
                      <a:pt x="100" y="0"/>
                    </a:cubicBezTo>
                    <a:cubicBezTo>
                      <a:pt x="91" y="0"/>
                      <a:pt x="84" y="7"/>
                      <a:pt x="84" y="16"/>
                    </a:cubicBezTo>
                    <a:cubicBezTo>
                      <a:pt x="84" y="49"/>
                      <a:pt x="84" y="49"/>
                      <a:pt x="84" y="49"/>
                    </a:cubicBezTo>
                    <a:cubicBezTo>
                      <a:pt x="51" y="49"/>
                      <a:pt x="51" y="49"/>
                      <a:pt x="51" y="49"/>
                    </a:cubicBezTo>
                    <a:cubicBezTo>
                      <a:pt x="42" y="49"/>
                      <a:pt x="35" y="56"/>
                      <a:pt x="35" y="65"/>
                    </a:cubicBezTo>
                    <a:cubicBezTo>
                      <a:pt x="35" y="147"/>
                      <a:pt x="35" y="147"/>
                      <a:pt x="35" y="147"/>
                    </a:cubicBezTo>
                    <a:cubicBezTo>
                      <a:pt x="8" y="147"/>
                      <a:pt x="8" y="147"/>
                      <a:pt x="8" y="147"/>
                    </a:cubicBezTo>
                    <a:cubicBezTo>
                      <a:pt x="6" y="147"/>
                      <a:pt x="4" y="148"/>
                      <a:pt x="3" y="150"/>
                    </a:cubicBezTo>
                    <a:cubicBezTo>
                      <a:pt x="1" y="151"/>
                      <a:pt x="0" y="153"/>
                      <a:pt x="0" y="156"/>
                    </a:cubicBezTo>
                    <a:cubicBezTo>
                      <a:pt x="0" y="190"/>
                      <a:pt x="13" y="220"/>
                      <a:pt x="30" y="240"/>
                    </a:cubicBezTo>
                    <a:cubicBezTo>
                      <a:pt x="47" y="261"/>
                      <a:pt x="67" y="273"/>
                      <a:pt x="84" y="273"/>
                    </a:cubicBezTo>
                    <a:cubicBezTo>
                      <a:pt x="424" y="273"/>
                      <a:pt x="424" y="273"/>
                      <a:pt x="424" y="273"/>
                    </a:cubicBezTo>
                    <a:cubicBezTo>
                      <a:pt x="432" y="273"/>
                      <a:pt x="440" y="270"/>
                      <a:pt x="448" y="264"/>
                    </a:cubicBezTo>
                    <a:cubicBezTo>
                      <a:pt x="456" y="258"/>
                      <a:pt x="465" y="250"/>
                      <a:pt x="473" y="239"/>
                    </a:cubicBezTo>
                    <a:cubicBezTo>
                      <a:pt x="489" y="219"/>
                      <a:pt x="502" y="190"/>
                      <a:pt x="502" y="156"/>
                    </a:cubicBezTo>
                    <a:cubicBezTo>
                      <a:pt x="502" y="153"/>
                      <a:pt x="501" y="151"/>
                      <a:pt x="500" y="150"/>
                    </a:cubicBezTo>
                    <a:close/>
                    <a:moveTo>
                      <a:pt x="247" y="65"/>
                    </a:moveTo>
                    <a:cubicBezTo>
                      <a:pt x="280" y="65"/>
                      <a:pt x="280" y="65"/>
                      <a:pt x="280" y="65"/>
                    </a:cubicBezTo>
                    <a:cubicBezTo>
                      <a:pt x="280" y="98"/>
                      <a:pt x="280" y="98"/>
                      <a:pt x="280" y="98"/>
                    </a:cubicBezTo>
                    <a:cubicBezTo>
                      <a:pt x="247" y="98"/>
                      <a:pt x="247" y="98"/>
                      <a:pt x="247" y="98"/>
                    </a:cubicBezTo>
                    <a:cubicBezTo>
                      <a:pt x="247" y="82"/>
                      <a:pt x="247" y="82"/>
                      <a:pt x="247" y="82"/>
                    </a:cubicBezTo>
                    <a:lnTo>
                      <a:pt x="247" y="65"/>
                    </a:lnTo>
                    <a:close/>
                    <a:moveTo>
                      <a:pt x="247" y="114"/>
                    </a:moveTo>
                    <a:cubicBezTo>
                      <a:pt x="280" y="114"/>
                      <a:pt x="280" y="114"/>
                      <a:pt x="280" y="114"/>
                    </a:cubicBezTo>
                    <a:cubicBezTo>
                      <a:pt x="280" y="147"/>
                      <a:pt x="280" y="147"/>
                      <a:pt x="280" y="147"/>
                    </a:cubicBezTo>
                    <a:cubicBezTo>
                      <a:pt x="247" y="147"/>
                      <a:pt x="247" y="147"/>
                      <a:pt x="247" y="147"/>
                    </a:cubicBezTo>
                    <a:cubicBezTo>
                      <a:pt x="247" y="131"/>
                      <a:pt x="247" y="131"/>
                      <a:pt x="247" y="131"/>
                    </a:cubicBezTo>
                    <a:lnTo>
                      <a:pt x="247" y="114"/>
                    </a:lnTo>
                    <a:close/>
                    <a:moveTo>
                      <a:pt x="198" y="16"/>
                    </a:moveTo>
                    <a:cubicBezTo>
                      <a:pt x="231" y="16"/>
                      <a:pt x="231" y="16"/>
                      <a:pt x="231" y="16"/>
                    </a:cubicBezTo>
                    <a:cubicBezTo>
                      <a:pt x="231" y="49"/>
                      <a:pt x="231" y="49"/>
                      <a:pt x="231" y="49"/>
                    </a:cubicBezTo>
                    <a:cubicBezTo>
                      <a:pt x="198" y="49"/>
                      <a:pt x="198" y="49"/>
                      <a:pt x="198" y="49"/>
                    </a:cubicBezTo>
                    <a:lnTo>
                      <a:pt x="198" y="16"/>
                    </a:lnTo>
                    <a:close/>
                    <a:moveTo>
                      <a:pt x="198" y="65"/>
                    </a:moveTo>
                    <a:cubicBezTo>
                      <a:pt x="231" y="65"/>
                      <a:pt x="231" y="65"/>
                      <a:pt x="231" y="65"/>
                    </a:cubicBezTo>
                    <a:cubicBezTo>
                      <a:pt x="231" y="98"/>
                      <a:pt x="231" y="98"/>
                      <a:pt x="231" y="98"/>
                    </a:cubicBezTo>
                    <a:cubicBezTo>
                      <a:pt x="198" y="98"/>
                      <a:pt x="198" y="98"/>
                      <a:pt x="198" y="98"/>
                    </a:cubicBezTo>
                    <a:lnTo>
                      <a:pt x="198" y="65"/>
                    </a:lnTo>
                    <a:close/>
                    <a:moveTo>
                      <a:pt x="198" y="114"/>
                    </a:moveTo>
                    <a:cubicBezTo>
                      <a:pt x="231" y="114"/>
                      <a:pt x="231" y="114"/>
                      <a:pt x="231" y="114"/>
                    </a:cubicBezTo>
                    <a:cubicBezTo>
                      <a:pt x="231" y="147"/>
                      <a:pt x="231" y="147"/>
                      <a:pt x="231" y="147"/>
                    </a:cubicBezTo>
                    <a:cubicBezTo>
                      <a:pt x="198" y="147"/>
                      <a:pt x="198" y="147"/>
                      <a:pt x="198" y="147"/>
                    </a:cubicBezTo>
                    <a:lnTo>
                      <a:pt x="198" y="114"/>
                    </a:lnTo>
                    <a:close/>
                    <a:moveTo>
                      <a:pt x="149" y="16"/>
                    </a:moveTo>
                    <a:cubicBezTo>
                      <a:pt x="182" y="16"/>
                      <a:pt x="182" y="16"/>
                      <a:pt x="182" y="16"/>
                    </a:cubicBezTo>
                    <a:cubicBezTo>
                      <a:pt x="182" y="49"/>
                      <a:pt x="182" y="49"/>
                      <a:pt x="182" y="49"/>
                    </a:cubicBezTo>
                    <a:cubicBezTo>
                      <a:pt x="149" y="49"/>
                      <a:pt x="149" y="49"/>
                      <a:pt x="149" y="49"/>
                    </a:cubicBezTo>
                    <a:lnTo>
                      <a:pt x="149" y="16"/>
                    </a:lnTo>
                    <a:close/>
                    <a:moveTo>
                      <a:pt x="149" y="65"/>
                    </a:moveTo>
                    <a:cubicBezTo>
                      <a:pt x="182" y="65"/>
                      <a:pt x="182" y="65"/>
                      <a:pt x="182" y="65"/>
                    </a:cubicBezTo>
                    <a:cubicBezTo>
                      <a:pt x="182" y="98"/>
                      <a:pt x="182" y="98"/>
                      <a:pt x="182" y="98"/>
                    </a:cubicBezTo>
                    <a:cubicBezTo>
                      <a:pt x="149" y="98"/>
                      <a:pt x="149" y="98"/>
                      <a:pt x="149" y="98"/>
                    </a:cubicBezTo>
                    <a:lnTo>
                      <a:pt x="149" y="65"/>
                    </a:lnTo>
                    <a:close/>
                    <a:moveTo>
                      <a:pt x="149" y="114"/>
                    </a:moveTo>
                    <a:cubicBezTo>
                      <a:pt x="182" y="114"/>
                      <a:pt x="182" y="114"/>
                      <a:pt x="182" y="114"/>
                    </a:cubicBezTo>
                    <a:cubicBezTo>
                      <a:pt x="182" y="147"/>
                      <a:pt x="182" y="147"/>
                      <a:pt x="182" y="147"/>
                    </a:cubicBezTo>
                    <a:cubicBezTo>
                      <a:pt x="149" y="147"/>
                      <a:pt x="149" y="147"/>
                      <a:pt x="149" y="147"/>
                    </a:cubicBezTo>
                    <a:lnTo>
                      <a:pt x="149" y="114"/>
                    </a:lnTo>
                    <a:close/>
                    <a:moveTo>
                      <a:pt x="133" y="16"/>
                    </a:moveTo>
                    <a:cubicBezTo>
                      <a:pt x="133" y="49"/>
                      <a:pt x="133" y="49"/>
                      <a:pt x="133" y="49"/>
                    </a:cubicBezTo>
                    <a:cubicBezTo>
                      <a:pt x="100" y="49"/>
                      <a:pt x="100" y="49"/>
                      <a:pt x="100" y="49"/>
                    </a:cubicBezTo>
                    <a:cubicBezTo>
                      <a:pt x="100" y="16"/>
                      <a:pt x="100" y="16"/>
                      <a:pt x="100" y="16"/>
                    </a:cubicBezTo>
                    <a:lnTo>
                      <a:pt x="133" y="16"/>
                    </a:lnTo>
                    <a:close/>
                    <a:moveTo>
                      <a:pt x="133" y="65"/>
                    </a:moveTo>
                    <a:cubicBezTo>
                      <a:pt x="133" y="98"/>
                      <a:pt x="133" y="98"/>
                      <a:pt x="133" y="98"/>
                    </a:cubicBezTo>
                    <a:cubicBezTo>
                      <a:pt x="100" y="98"/>
                      <a:pt x="100" y="98"/>
                      <a:pt x="100" y="98"/>
                    </a:cubicBezTo>
                    <a:cubicBezTo>
                      <a:pt x="100" y="79"/>
                      <a:pt x="100" y="79"/>
                      <a:pt x="100" y="79"/>
                    </a:cubicBezTo>
                    <a:cubicBezTo>
                      <a:pt x="100" y="65"/>
                      <a:pt x="100" y="65"/>
                      <a:pt x="100" y="65"/>
                    </a:cubicBezTo>
                    <a:lnTo>
                      <a:pt x="133" y="65"/>
                    </a:lnTo>
                    <a:close/>
                    <a:moveTo>
                      <a:pt x="133" y="114"/>
                    </a:moveTo>
                    <a:cubicBezTo>
                      <a:pt x="133" y="147"/>
                      <a:pt x="133" y="147"/>
                      <a:pt x="133" y="147"/>
                    </a:cubicBezTo>
                    <a:cubicBezTo>
                      <a:pt x="100" y="147"/>
                      <a:pt x="100" y="147"/>
                      <a:pt x="100" y="147"/>
                    </a:cubicBezTo>
                    <a:cubicBezTo>
                      <a:pt x="100" y="114"/>
                      <a:pt x="100" y="114"/>
                      <a:pt x="100" y="114"/>
                    </a:cubicBezTo>
                    <a:lnTo>
                      <a:pt x="133" y="114"/>
                    </a:lnTo>
                    <a:close/>
                    <a:moveTo>
                      <a:pt x="84" y="65"/>
                    </a:moveTo>
                    <a:cubicBezTo>
                      <a:pt x="84" y="98"/>
                      <a:pt x="84" y="98"/>
                      <a:pt x="84" y="98"/>
                    </a:cubicBezTo>
                    <a:cubicBezTo>
                      <a:pt x="51" y="98"/>
                      <a:pt x="51" y="98"/>
                      <a:pt x="51" y="98"/>
                    </a:cubicBezTo>
                    <a:cubicBezTo>
                      <a:pt x="51" y="65"/>
                      <a:pt x="51" y="65"/>
                      <a:pt x="51" y="65"/>
                    </a:cubicBezTo>
                    <a:lnTo>
                      <a:pt x="84" y="65"/>
                    </a:lnTo>
                    <a:close/>
                    <a:moveTo>
                      <a:pt x="84" y="114"/>
                    </a:moveTo>
                    <a:cubicBezTo>
                      <a:pt x="84" y="147"/>
                      <a:pt x="84" y="147"/>
                      <a:pt x="84" y="147"/>
                    </a:cubicBezTo>
                    <a:cubicBezTo>
                      <a:pt x="51" y="147"/>
                      <a:pt x="51" y="147"/>
                      <a:pt x="51" y="147"/>
                    </a:cubicBezTo>
                    <a:cubicBezTo>
                      <a:pt x="51" y="114"/>
                      <a:pt x="51" y="114"/>
                      <a:pt x="51" y="114"/>
                    </a:cubicBezTo>
                    <a:lnTo>
                      <a:pt x="84" y="114"/>
                    </a:lnTo>
                    <a:close/>
                    <a:moveTo>
                      <a:pt x="439" y="251"/>
                    </a:moveTo>
                    <a:cubicBezTo>
                      <a:pt x="432" y="255"/>
                      <a:pt x="426" y="258"/>
                      <a:pt x="424" y="257"/>
                    </a:cubicBezTo>
                    <a:cubicBezTo>
                      <a:pt x="84" y="257"/>
                      <a:pt x="84" y="257"/>
                      <a:pt x="84" y="257"/>
                    </a:cubicBezTo>
                    <a:cubicBezTo>
                      <a:pt x="75" y="258"/>
                      <a:pt x="57" y="248"/>
                      <a:pt x="43" y="230"/>
                    </a:cubicBezTo>
                    <a:cubicBezTo>
                      <a:pt x="29" y="214"/>
                      <a:pt x="18" y="191"/>
                      <a:pt x="16" y="164"/>
                    </a:cubicBezTo>
                    <a:cubicBezTo>
                      <a:pt x="198" y="164"/>
                      <a:pt x="198" y="164"/>
                      <a:pt x="198" y="164"/>
                    </a:cubicBezTo>
                    <a:cubicBezTo>
                      <a:pt x="198" y="164"/>
                      <a:pt x="198" y="164"/>
                      <a:pt x="198" y="164"/>
                    </a:cubicBezTo>
                    <a:cubicBezTo>
                      <a:pt x="206" y="164"/>
                      <a:pt x="206" y="164"/>
                      <a:pt x="206" y="164"/>
                    </a:cubicBezTo>
                    <a:cubicBezTo>
                      <a:pt x="486" y="164"/>
                      <a:pt x="486" y="164"/>
                      <a:pt x="486" y="164"/>
                    </a:cubicBezTo>
                    <a:cubicBezTo>
                      <a:pt x="483" y="204"/>
                      <a:pt x="458" y="237"/>
                      <a:pt x="439"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46" name="Freeform 3"/>
              <p:cNvSpPr>
                <a:spLocks noChangeAspect="1"/>
              </p:cNvSpPr>
              <p:nvPr/>
            </p:nvSpPr>
            <p:spPr bwMode="auto">
              <a:xfrm>
                <a:off x="5679372" y="2884239"/>
                <a:ext cx="161696" cy="157927"/>
              </a:xfrm>
              <a:custGeom>
                <a:avLst/>
                <a:gdLst>
                  <a:gd name="T0" fmla="*/ 2147483647 w 409"/>
                  <a:gd name="T1" fmla="*/ 2147483647 h 408"/>
                  <a:gd name="T2" fmla="*/ 2147483647 w 409"/>
                  <a:gd name="T3" fmla="*/ 2147483647 h 408"/>
                  <a:gd name="T4" fmla="*/ 2147483647 w 409"/>
                  <a:gd name="T5" fmla="*/ 2147483647 h 408"/>
                  <a:gd name="T6" fmla="*/ 2147483647 w 409"/>
                  <a:gd name="T7" fmla="*/ 2147483647 h 408"/>
                  <a:gd name="T8" fmla="*/ 2147483647 w 409"/>
                  <a:gd name="T9" fmla="*/ 2147483647 h 408"/>
                  <a:gd name="T10" fmla="*/ 2147483647 w 409"/>
                  <a:gd name="T11" fmla="*/ 2147483647 h 408"/>
                  <a:gd name="T12" fmla="*/ 2147483647 w 409"/>
                  <a:gd name="T13" fmla="*/ 2147483647 h 408"/>
                  <a:gd name="T14" fmla="*/ 2147483647 w 409"/>
                  <a:gd name="T15" fmla="*/ 2147483647 h 408"/>
                  <a:gd name="T16" fmla="*/ 2147483647 w 409"/>
                  <a:gd name="T17" fmla="*/ 2147483647 h 408"/>
                  <a:gd name="T18" fmla="*/ 2147483647 w 409"/>
                  <a:gd name="T19" fmla="*/ 2147483647 h 408"/>
                  <a:gd name="T20" fmla="*/ 2147483647 w 409"/>
                  <a:gd name="T21" fmla="*/ 2147483647 h 408"/>
                  <a:gd name="T22" fmla="*/ 2147483647 w 409"/>
                  <a:gd name="T23" fmla="*/ 2147483647 h 408"/>
                  <a:gd name="T24" fmla="*/ 2147483647 w 409"/>
                  <a:gd name="T25" fmla="*/ 2147483647 h 408"/>
                  <a:gd name="T26" fmla="*/ 2147483647 w 409"/>
                  <a:gd name="T27" fmla="*/ 2147483647 h 408"/>
                  <a:gd name="T28" fmla="*/ 2147483647 w 409"/>
                  <a:gd name="T29" fmla="*/ 2147483647 h 408"/>
                  <a:gd name="T30" fmla="*/ 2147483647 w 409"/>
                  <a:gd name="T31" fmla="*/ 2147483647 h 408"/>
                  <a:gd name="T32" fmla="*/ 2147483647 w 409"/>
                  <a:gd name="T33" fmla="*/ 2147483647 h 408"/>
                  <a:gd name="T34" fmla="*/ 2147483647 w 409"/>
                  <a:gd name="T35" fmla="*/ 2147483647 h 408"/>
                  <a:gd name="T36" fmla="*/ 2147483647 w 409"/>
                  <a:gd name="T37" fmla="*/ 2147483647 h 408"/>
                  <a:gd name="T38" fmla="*/ 2147483647 w 409"/>
                  <a:gd name="T39" fmla="*/ 2147483647 h 408"/>
                  <a:gd name="T40" fmla="*/ 2147483647 w 409"/>
                  <a:gd name="T41" fmla="*/ 2147483647 h 408"/>
                  <a:gd name="T42" fmla="*/ 2147483647 w 409"/>
                  <a:gd name="T43" fmla="*/ 2147483647 h 408"/>
                  <a:gd name="T44" fmla="*/ 2147483647 w 409"/>
                  <a:gd name="T45" fmla="*/ 2147483647 h 408"/>
                  <a:gd name="T46" fmla="*/ 2147483647 w 409"/>
                  <a:gd name="T47" fmla="*/ 2147483647 h 408"/>
                  <a:gd name="T48" fmla="*/ 2147483647 w 409"/>
                  <a:gd name="T49" fmla="*/ 2147483647 h 408"/>
                  <a:gd name="T50" fmla="*/ 2147483647 w 409"/>
                  <a:gd name="T51" fmla="*/ 2147483647 h 408"/>
                  <a:gd name="T52" fmla="*/ 2147483647 w 409"/>
                  <a:gd name="T53" fmla="*/ 2147483647 h 408"/>
                  <a:gd name="T54" fmla="*/ 2147483647 w 409"/>
                  <a:gd name="T55" fmla="*/ 2147483647 h 408"/>
                  <a:gd name="T56" fmla="*/ 2147483647 w 409"/>
                  <a:gd name="T57" fmla="*/ 2147483647 h 408"/>
                  <a:gd name="T58" fmla="*/ 2147483647 w 409"/>
                  <a:gd name="T59" fmla="*/ 2147483647 h 408"/>
                  <a:gd name="T60" fmla="*/ 2147483647 w 409"/>
                  <a:gd name="T61" fmla="*/ 2147483647 h 408"/>
                  <a:gd name="T62" fmla="*/ 2147483647 w 409"/>
                  <a:gd name="T63" fmla="*/ 2147483647 h 408"/>
                  <a:gd name="T64" fmla="*/ 2147483647 w 409"/>
                  <a:gd name="T65" fmla="*/ 2147483647 h 408"/>
                  <a:gd name="T66" fmla="*/ 2147483647 w 409"/>
                  <a:gd name="T67" fmla="*/ 2147483647 h 408"/>
                  <a:gd name="T68" fmla="*/ 2147483647 w 409"/>
                  <a:gd name="T69" fmla="*/ 2147483647 h 408"/>
                  <a:gd name="T70" fmla="*/ 2147483647 w 409"/>
                  <a:gd name="T71" fmla="*/ 2147483647 h 408"/>
                  <a:gd name="T72" fmla="*/ 2147483647 w 409"/>
                  <a:gd name="T73" fmla="*/ 2147483647 h 408"/>
                  <a:gd name="T74" fmla="*/ 2147483647 w 409"/>
                  <a:gd name="T75" fmla="*/ 2147483647 h 408"/>
                  <a:gd name="T76" fmla="*/ 2147483647 w 409"/>
                  <a:gd name="T77" fmla="*/ 2147483647 h 408"/>
                  <a:gd name="T78" fmla="*/ 2147483647 w 409"/>
                  <a:gd name="T79" fmla="*/ 2147483647 h 408"/>
                  <a:gd name="T80" fmla="*/ 2147483647 w 409"/>
                  <a:gd name="T81" fmla="*/ 2147483647 h 408"/>
                  <a:gd name="T82" fmla="*/ 2147483647 w 409"/>
                  <a:gd name="T83" fmla="*/ 2147483647 h 408"/>
                  <a:gd name="T84" fmla="*/ 2147483647 w 409"/>
                  <a:gd name="T85" fmla="*/ 2147483647 h 408"/>
                  <a:gd name="T86" fmla="*/ 2147483647 w 409"/>
                  <a:gd name="T87" fmla="*/ 2147483647 h 408"/>
                  <a:gd name="T88" fmla="*/ 2147483647 w 409"/>
                  <a:gd name="T89" fmla="*/ 2147483647 h 408"/>
                  <a:gd name="T90" fmla="*/ 2147483647 w 409"/>
                  <a:gd name="T91" fmla="*/ 2147483647 h 408"/>
                  <a:gd name="T92" fmla="*/ 2147483647 w 409"/>
                  <a:gd name="T93" fmla="*/ 2147483647 h 408"/>
                  <a:gd name="T94" fmla="*/ 2147483647 w 409"/>
                  <a:gd name="T95" fmla="*/ 2147483647 h 408"/>
                  <a:gd name="T96" fmla="*/ 2147483647 w 409"/>
                  <a:gd name="T97" fmla="*/ 2147483647 h 408"/>
                  <a:gd name="T98" fmla="*/ 2147483647 w 409"/>
                  <a:gd name="T99" fmla="*/ 2147483647 h 408"/>
                  <a:gd name="T100" fmla="*/ 2147483647 w 409"/>
                  <a:gd name="T101" fmla="*/ 2147483647 h 408"/>
                  <a:gd name="T102" fmla="*/ 2147483647 w 409"/>
                  <a:gd name="T103" fmla="*/ 2147483647 h 408"/>
                  <a:gd name="T104" fmla="*/ 2147483647 w 409"/>
                  <a:gd name="T105" fmla="*/ 2147483647 h 408"/>
                  <a:gd name="T106" fmla="*/ 2147483647 w 409"/>
                  <a:gd name="T107" fmla="*/ 2147483647 h 408"/>
                  <a:gd name="T108" fmla="*/ 2147483647 w 409"/>
                  <a:gd name="T109" fmla="*/ 2147483647 h 408"/>
                  <a:gd name="T110" fmla="*/ 2147483647 w 409"/>
                  <a:gd name="T111" fmla="*/ 2147483647 h 408"/>
                  <a:gd name="T112" fmla="*/ 2147483647 w 409"/>
                  <a:gd name="T113" fmla="*/ 2147483647 h 408"/>
                  <a:gd name="T114" fmla="*/ 2147483647 w 409"/>
                  <a:gd name="T115" fmla="*/ 2147483647 h 408"/>
                  <a:gd name="T116" fmla="*/ 2147483647 w 409"/>
                  <a:gd name="T117" fmla="*/ 2147483647 h 40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409" h="408">
                    <a:moveTo>
                      <a:pt x="364" y="266"/>
                    </a:moveTo>
                    <a:cubicBezTo>
                      <a:pt x="358" y="260"/>
                      <a:pt x="347" y="260"/>
                      <a:pt x="335" y="266"/>
                    </a:cubicBezTo>
                    <a:cubicBezTo>
                      <a:pt x="329" y="242"/>
                      <a:pt x="329" y="242"/>
                      <a:pt x="329" y="242"/>
                    </a:cubicBezTo>
                    <a:cubicBezTo>
                      <a:pt x="330" y="241"/>
                      <a:pt x="332" y="240"/>
                      <a:pt x="333" y="239"/>
                    </a:cubicBezTo>
                    <a:cubicBezTo>
                      <a:pt x="340" y="232"/>
                      <a:pt x="346" y="223"/>
                      <a:pt x="349" y="216"/>
                    </a:cubicBezTo>
                    <a:cubicBezTo>
                      <a:pt x="354" y="202"/>
                      <a:pt x="350" y="195"/>
                      <a:pt x="346" y="192"/>
                    </a:cubicBezTo>
                    <a:cubicBezTo>
                      <a:pt x="340" y="186"/>
                      <a:pt x="330" y="186"/>
                      <a:pt x="318" y="192"/>
                    </a:cubicBezTo>
                    <a:cubicBezTo>
                      <a:pt x="307" y="146"/>
                      <a:pt x="307" y="146"/>
                      <a:pt x="307" y="146"/>
                    </a:cubicBezTo>
                    <a:cubicBezTo>
                      <a:pt x="364" y="90"/>
                      <a:pt x="364" y="90"/>
                      <a:pt x="364" y="90"/>
                    </a:cubicBezTo>
                    <a:cubicBezTo>
                      <a:pt x="375" y="78"/>
                      <a:pt x="409" y="37"/>
                      <a:pt x="390" y="19"/>
                    </a:cubicBezTo>
                    <a:cubicBezTo>
                      <a:pt x="372" y="0"/>
                      <a:pt x="331" y="34"/>
                      <a:pt x="319" y="46"/>
                    </a:cubicBezTo>
                    <a:cubicBezTo>
                      <a:pt x="263" y="102"/>
                      <a:pt x="263" y="102"/>
                      <a:pt x="263" y="102"/>
                    </a:cubicBezTo>
                    <a:cubicBezTo>
                      <a:pt x="216" y="91"/>
                      <a:pt x="216" y="91"/>
                      <a:pt x="216" y="91"/>
                    </a:cubicBezTo>
                    <a:cubicBezTo>
                      <a:pt x="223" y="79"/>
                      <a:pt x="223" y="68"/>
                      <a:pt x="216" y="62"/>
                    </a:cubicBezTo>
                    <a:cubicBezTo>
                      <a:pt x="213" y="59"/>
                      <a:pt x="206" y="54"/>
                      <a:pt x="193" y="60"/>
                    </a:cubicBezTo>
                    <a:cubicBezTo>
                      <a:pt x="185" y="63"/>
                      <a:pt x="177" y="68"/>
                      <a:pt x="169" y="76"/>
                    </a:cubicBezTo>
                    <a:cubicBezTo>
                      <a:pt x="168" y="77"/>
                      <a:pt x="167" y="78"/>
                      <a:pt x="166" y="79"/>
                    </a:cubicBezTo>
                    <a:cubicBezTo>
                      <a:pt x="144" y="75"/>
                      <a:pt x="144" y="75"/>
                      <a:pt x="144" y="75"/>
                    </a:cubicBezTo>
                    <a:cubicBezTo>
                      <a:pt x="150" y="63"/>
                      <a:pt x="150" y="52"/>
                      <a:pt x="144" y="46"/>
                    </a:cubicBezTo>
                    <a:cubicBezTo>
                      <a:pt x="133" y="35"/>
                      <a:pt x="112" y="45"/>
                      <a:pt x="97" y="60"/>
                    </a:cubicBezTo>
                    <a:cubicBezTo>
                      <a:pt x="96" y="61"/>
                      <a:pt x="95" y="62"/>
                      <a:pt x="94" y="63"/>
                    </a:cubicBezTo>
                    <a:cubicBezTo>
                      <a:pt x="50" y="53"/>
                      <a:pt x="50" y="53"/>
                      <a:pt x="50" y="53"/>
                    </a:cubicBezTo>
                    <a:cubicBezTo>
                      <a:pt x="48" y="53"/>
                      <a:pt x="45" y="54"/>
                      <a:pt x="43" y="55"/>
                    </a:cubicBezTo>
                    <a:cubicBezTo>
                      <a:pt x="13" y="86"/>
                      <a:pt x="13" y="86"/>
                      <a:pt x="13" y="86"/>
                    </a:cubicBezTo>
                    <a:cubicBezTo>
                      <a:pt x="11" y="87"/>
                      <a:pt x="10" y="90"/>
                      <a:pt x="10" y="92"/>
                    </a:cubicBezTo>
                    <a:cubicBezTo>
                      <a:pt x="11" y="95"/>
                      <a:pt x="12" y="97"/>
                      <a:pt x="15" y="98"/>
                    </a:cubicBezTo>
                    <a:cubicBezTo>
                      <a:pt x="31" y="108"/>
                      <a:pt x="31" y="108"/>
                      <a:pt x="31" y="108"/>
                    </a:cubicBezTo>
                    <a:cubicBezTo>
                      <a:pt x="35" y="110"/>
                      <a:pt x="40" y="108"/>
                      <a:pt x="42" y="104"/>
                    </a:cubicBezTo>
                    <a:cubicBezTo>
                      <a:pt x="44" y="100"/>
                      <a:pt x="43" y="96"/>
                      <a:pt x="39" y="94"/>
                    </a:cubicBezTo>
                    <a:cubicBezTo>
                      <a:pt x="32" y="89"/>
                      <a:pt x="32" y="89"/>
                      <a:pt x="32" y="89"/>
                    </a:cubicBezTo>
                    <a:cubicBezTo>
                      <a:pt x="51" y="70"/>
                      <a:pt x="51" y="70"/>
                      <a:pt x="51" y="70"/>
                    </a:cubicBezTo>
                    <a:cubicBezTo>
                      <a:pt x="95" y="80"/>
                      <a:pt x="95" y="80"/>
                      <a:pt x="95" y="80"/>
                    </a:cubicBezTo>
                    <a:cubicBezTo>
                      <a:pt x="98" y="81"/>
                      <a:pt x="101" y="79"/>
                      <a:pt x="103" y="77"/>
                    </a:cubicBezTo>
                    <a:cubicBezTo>
                      <a:pt x="104" y="75"/>
                      <a:pt x="106" y="73"/>
                      <a:pt x="108" y="71"/>
                    </a:cubicBezTo>
                    <a:cubicBezTo>
                      <a:pt x="120" y="59"/>
                      <a:pt x="130" y="57"/>
                      <a:pt x="133" y="57"/>
                    </a:cubicBezTo>
                    <a:cubicBezTo>
                      <a:pt x="133" y="59"/>
                      <a:pt x="132" y="66"/>
                      <a:pt x="125" y="75"/>
                    </a:cubicBezTo>
                    <a:cubicBezTo>
                      <a:pt x="123" y="77"/>
                      <a:pt x="123" y="80"/>
                      <a:pt x="124" y="83"/>
                    </a:cubicBezTo>
                    <a:cubicBezTo>
                      <a:pt x="124" y="85"/>
                      <a:pt x="127" y="87"/>
                      <a:pt x="129" y="88"/>
                    </a:cubicBezTo>
                    <a:cubicBezTo>
                      <a:pt x="167" y="96"/>
                      <a:pt x="167" y="96"/>
                      <a:pt x="167" y="96"/>
                    </a:cubicBezTo>
                    <a:cubicBezTo>
                      <a:pt x="170" y="97"/>
                      <a:pt x="173" y="96"/>
                      <a:pt x="175" y="93"/>
                    </a:cubicBezTo>
                    <a:cubicBezTo>
                      <a:pt x="177" y="91"/>
                      <a:pt x="179" y="89"/>
                      <a:pt x="180" y="87"/>
                    </a:cubicBezTo>
                    <a:cubicBezTo>
                      <a:pt x="192" y="75"/>
                      <a:pt x="202" y="73"/>
                      <a:pt x="205" y="73"/>
                    </a:cubicBezTo>
                    <a:cubicBezTo>
                      <a:pt x="205" y="75"/>
                      <a:pt x="204" y="82"/>
                      <a:pt x="197" y="91"/>
                    </a:cubicBezTo>
                    <a:cubicBezTo>
                      <a:pt x="195" y="93"/>
                      <a:pt x="195" y="96"/>
                      <a:pt x="196" y="99"/>
                    </a:cubicBezTo>
                    <a:cubicBezTo>
                      <a:pt x="197" y="101"/>
                      <a:pt x="199" y="103"/>
                      <a:pt x="201" y="104"/>
                    </a:cubicBezTo>
                    <a:cubicBezTo>
                      <a:pt x="264" y="118"/>
                      <a:pt x="264" y="118"/>
                      <a:pt x="264" y="118"/>
                    </a:cubicBezTo>
                    <a:cubicBezTo>
                      <a:pt x="267" y="119"/>
                      <a:pt x="269" y="118"/>
                      <a:pt x="271" y="116"/>
                    </a:cubicBezTo>
                    <a:cubicBezTo>
                      <a:pt x="330" y="57"/>
                      <a:pt x="330" y="57"/>
                      <a:pt x="330" y="57"/>
                    </a:cubicBezTo>
                    <a:cubicBezTo>
                      <a:pt x="350" y="39"/>
                      <a:pt x="374" y="25"/>
                      <a:pt x="379" y="30"/>
                    </a:cubicBezTo>
                    <a:cubicBezTo>
                      <a:pt x="384" y="35"/>
                      <a:pt x="370" y="59"/>
                      <a:pt x="352" y="79"/>
                    </a:cubicBezTo>
                    <a:cubicBezTo>
                      <a:pt x="293" y="138"/>
                      <a:pt x="293" y="138"/>
                      <a:pt x="293" y="138"/>
                    </a:cubicBezTo>
                    <a:cubicBezTo>
                      <a:pt x="291" y="140"/>
                      <a:pt x="290" y="142"/>
                      <a:pt x="291" y="145"/>
                    </a:cubicBezTo>
                    <a:cubicBezTo>
                      <a:pt x="305" y="207"/>
                      <a:pt x="305" y="207"/>
                      <a:pt x="305" y="207"/>
                    </a:cubicBezTo>
                    <a:cubicBezTo>
                      <a:pt x="305" y="209"/>
                      <a:pt x="307" y="211"/>
                      <a:pt x="310" y="212"/>
                    </a:cubicBezTo>
                    <a:cubicBezTo>
                      <a:pt x="312" y="213"/>
                      <a:pt x="315" y="213"/>
                      <a:pt x="317" y="211"/>
                    </a:cubicBezTo>
                    <a:cubicBezTo>
                      <a:pt x="327" y="204"/>
                      <a:pt x="333" y="203"/>
                      <a:pt x="335" y="203"/>
                    </a:cubicBezTo>
                    <a:cubicBezTo>
                      <a:pt x="336" y="206"/>
                      <a:pt x="333" y="216"/>
                      <a:pt x="321" y="228"/>
                    </a:cubicBezTo>
                    <a:cubicBezTo>
                      <a:pt x="319" y="230"/>
                      <a:pt x="317" y="231"/>
                      <a:pt x="315" y="233"/>
                    </a:cubicBezTo>
                    <a:cubicBezTo>
                      <a:pt x="313" y="235"/>
                      <a:pt x="312" y="238"/>
                      <a:pt x="313" y="241"/>
                    </a:cubicBezTo>
                    <a:cubicBezTo>
                      <a:pt x="322" y="281"/>
                      <a:pt x="322" y="281"/>
                      <a:pt x="322" y="281"/>
                    </a:cubicBezTo>
                    <a:cubicBezTo>
                      <a:pt x="322" y="284"/>
                      <a:pt x="324" y="286"/>
                      <a:pt x="327" y="287"/>
                    </a:cubicBezTo>
                    <a:cubicBezTo>
                      <a:pt x="329" y="288"/>
                      <a:pt x="332" y="287"/>
                      <a:pt x="334" y="286"/>
                    </a:cubicBezTo>
                    <a:cubicBezTo>
                      <a:pt x="344" y="278"/>
                      <a:pt x="351" y="277"/>
                      <a:pt x="353" y="277"/>
                    </a:cubicBezTo>
                    <a:cubicBezTo>
                      <a:pt x="353" y="280"/>
                      <a:pt x="350" y="290"/>
                      <a:pt x="339" y="302"/>
                    </a:cubicBezTo>
                    <a:cubicBezTo>
                      <a:pt x="337" y="304"/>
                      <a:pt x="335" y="306"/>
                      <a:pt x="332" y="307"/>
                    </a:cubicBezTo>
                    <a:cubicBezTo>
                      <a:pt x="330" y="309"/>
                      <a:pt x="329" y="313"/>
                      <a:pt x="330" y="316"/>
                    </a:cubicBezTo>
                    <a:cubicBezTo>
                      <a:pt x="339" y="358"/>
                      <a:pt x="339" y="358"/>
                      <a:pt x="339" y="358"/>
                    </a:cubicBezTo>
                    <a:cubicBezTo>
                      <a:pt x="320" y="377"/>
                      <a:pt x="320" y="377"/>
                      <a:pt x="320" y="377"/>
                    </a:cubicBezTo>
                    <a:cubicBezTo>
                      <a:pt x="233" y="220"/>
                      <a:pt x="233" y="220"/>
                      <a:pt x="233" y="220"/>
                    </a:cubicBezTo>
                    <a:cubicBezTo>
                      <a:pt x="232" y="218"/>
                      <a:pt x="230" y="216"/>
                      <a:pt x="228" y="216"/>
                    </a:cubicBezTo>
                    <a:cubicBezTo>
                      <a:pt x="225" y="215"/>
                      <a:pt x="223" y="216"/>
                      <a:pt x="221" y="218"/>
                    </a:cubicBezTo>
                    <a:cubicBezTo>
                      <a:pt x="132" y="296"/>
                      <a:pt x="132" y="296"/>
                      <a:pt x="132" y="296"/>
                    </a:cubicBezTo>
                    <a:cubicBezTo>
                      <a:pt x="130" y="298"/>
                      <a:pt x="129" y="300"/>
                      <a:pt x="130" y="303"/>
                    </a:cubicBezTo>
                    <a:cubicBezTo>
                      <a:pt x="136" y="384"/>
                      <a:pt x="136" y="384"/>
                      <a:pt x="136" y="384"/>
                    </a:cubicBezTo>
                    <a:cubicBezTo>
                      <a:pt x="130" y="388"/>
                      <a:pt x="130" y="388"/>
                      <a:pt x="130" y="388"/>
                    </a:cubicBezTo>
                    <a:cubicBezTo>
                      <a:pt x="102" y="335"/>
                      <a:pt x="102" y="335"/>
                      <a:pt x="102" y="335"/>
                    </a:cubicBezTo>
                    <a:cubicBezTo>
                      <a:pt x="101" y="333"/>
                      <a:pt x="99" y="332"/>
                      <a:pt x="97" y="331"/>
                    </a:cubicBezTo>
                    <a:cubicBezTo>
                      <a:pt x="94" y="331"/>
                      <a:pt x="92" y="331"/>
                      <a:pt x="90" y="333"/>
                    </a:cubicBezTo>
                    <a:cubicBezTo>
                      <a:pt x="66" y="352"/>
                      <a:pt x="57" y="355"/>
                      <a:pt x="54" y="355"/>
                    </a:cubicBezTo>
                    <a:cubicBezTo>
                      <a:pt x="54" y="352"/>
                      <a:pt x="57" y="343"/>
                      <a:pt x="76" y="319"/>
                    </a:cubicBezTo>
                    <a:cubicBezTo>
                      <a:pt x="78" y="317"/>
                      <a:pt x="78" y="315"/>
                      <a:pt x="78" y="312"/>
                    </a:cubicBezTo>
                    <a:cubicBezTo>
                      <a:pt x="77" y="310"/>
                      <a:pt x="76" y="308"/>
                      <a:pt x="74" y="307"/>
                    </a:cubicBezTo>
                    <a:cubicBezTo>
                      <a:pt x="21" y="279"/>
                      <a:pt x="21" y="279"/>
                      <a:pt x="21" y="279"/>
                    </a:cubicBezTo>
                    <a:cubicBezTo>
                      <a:pt x="25" y="273"/>
                      <a:pt x="25" y="273"/>
                      <a:pt x="25" y="273"/>
                    </a:cubicBezTo>
                    <a:cubicBezTo>
                      <a:pt x="106" y="279"/>
                      <a:pt x="106" y="279"/>
                      <a:pt x="106" y="279"/>
                    </a:cubicBezTo>
                    <a:cubicBezTo>
                      <a:pt x="109" y="280"/>
                      <a:pt x="111" y="279"/>
                      <a:pt x="113" y="277"/>
                    </a:cubicBezTo>
                    <a:cubicBezTo>
                      <a:pt x="191" y="188"/>
                      <a:pt x="191" y="188"/>
                      <a:pt x="191" y="188"/>
                    </a:cubicBezTo>
                    <a:cubicBezTo>
                      <a:pt x="193" y="186"/>
                      <a:pt x="193" y="184"/>
                      <a:pt x="193" y="181"/>
                    </a:cubicBezTo>
                    <a:cubicBezTo>
                      <a:pt x="192" y="179"/>
                      <a:pt x="191" y="177"/>
                      <a:pt x="189" y="176"/>
                    </a:cubicBezTo>
                    <a:cubicBezTo>
                      <a:pt x="67" y="109"/>
                      <a:pt x="67" y="109"/>
                      <a:pt x="67" y="109"/>
                    </a:cubicBezTo>
                    <a:cubicBezTo>
                      <a:pt x="63" y="107"/>
                      <a:pt x="58" y="108"/>
                      <a:pt x="56" y="112"/>
                    </a:cubicBezTo>
                    <a:cubicBezTo>
                      <a:pt x="54" y="116"/>
                      <a:pt x="55" y="121"/>
                      <a:pt x="59" y="123"/>
                    </a:cubicBezTo>
                    <a:cubicBezTo>
                      <a:pt x="172" y="185"/>
                      <a:pt x="172" y="185"/>
                      <a:pt x="172" y="185"/>
                    </a:cubicBezTo>
                    <a:cubicBezTo>
                      <a:pt x="103" y="263"/>
                      <a:pt x="103" y="263"/>
                      <a:pt x="103" y="263"/>
                    </a:cubicBezTo>
                    <a:cubicBezTo>
                      <a:pt x="22" y="257"/>
                      <a:pt x="22" y="257"/>
                      <a:pt x="22" y="257"/>
                    </a:cubicBezTo>
                    <a:cubicBezTo>
                      <a:pt x="19" y="257"/>
                      <a:pt x="17" y="258"/>
                      <a:pt x="15" y="260"/>
                    </a:cubicBezTo>
                    <a:cubicBezTo>
                      <a:pt x="2" y="277"/>
                      <a:pt x="2" y="277"/>
                      <a:pt x="2" y="277"/>
                    </a:cubicBezTo>
                    <a:cubicBezTo>
                      <a:pt x="1" y="279"/>
                      <a:pt x="0" y="282"/>
                      <a:pt x="1" y="284"/>
                    </a:cubicBezTo>
                    <a:cubicBezTo>
                      <a:pt x="1" y="286"/>
                      <a:pt x="3" y="288"/>
                      <a:pt x="5" y="289"/>
                    </a:cubicBezTo>
                    <a:cubicBezTo>
                      <a:pt x="58" y="316"/>
                      <a:pt x="58" y="316"/>
                      <a:pt x="58" y="316"/>
                    </a:cubicBezTo>
                    <a:cubicBezTo>
                      <a:pt x="38" y="343"/>
                      <a:pt x="33" y="358"/>
                      <a:pt x="42" y="367"/>
                    </a:cubicBezTo>
                    <a:cubicBezTo>
                      <a:pt x="51" y="376"/>
                      <a:pt x="66" y="371"/>
                      <a:pt x="93" y="351"/>
                    </a:cubicBezTo>
                    <a:cubicBezTo>
                      <a:pt x="120" y="404"/>
                      <a:pt x="120" y="404"/>
                      <a:pt x="120" y="404"/>
                    </a:cubicBezTo>
                    <a:cubicBezTo>
                      <a:pt x="121" y="406"/>
                      <a:pt x="123" y="408"/>
                      <a:pt x="125" y="408"/>
                    </a:cubicBezTo>
                    <a:cubicBezTo>
                      <a:pt x="126" y="408"/>
                      <a:pt x="126" y="408"/>
                      <a:pt x="127" y="408"/>
                    </a:cubicBezTo>
                    <a:cubicBezTo>
                      <a:pt x="129" y="408"/>
                      <a:pt x="130" y="408"/>
                      <a:pt x="132" y="407"/>
                    </a:cubicBezTo>
                    <a:cubicBezTo>
                      <a:pt x="149" y="394"/>
                      <a:pt x="149" y="394"/>
                      <a:pt x="149" y="394"/>
                    </a:cubicBezTo>
                    <a:cubicBezTo>
                      <a:pt x="151" y="392"/>
                      <a:pt x="152" y="390"/>
                      <a:pt x="152" y="387"/>
                    </a:cubicBezTo>
                    <a:cubicBezTo>
                      <a:pt x="146" y="306"/>
                      <a:pt x="146" y="306"/>
                      <a:pt x="146" y="306"/>
                    </a:cubicBezTo>
                    <a:cubicBezTo>
                      <a:pt x="224" y="236"/>
                      <a:pt x="224" y="236"/>
                      <a:pt x="224" y="236"/>
                    </a:cubicBezTo>
                    <a:cubicBezTo>
                      <a:pt x="311" y="394"/>
                      <a:pt x="311" y="394"/>
                      <a:pt x="311" y="394"/>
                    </a:cubicBezTo>
                    <a:cubicBezTo>
                      <a:pt x="312" y="397"/>
                      <a:pt x="314" y="398"/>
                      <a:pt x="317" y="399"/>
                    </a:cubicBezTo>
                    <a:cubicBezTo>
                      <a:pt x="319" y="399"/>
                      <a:pt x="322" y="398"/>
                      <a:pt x="323" y="396"/>
                    </a:cubicBezTo>
                    <a:cubicBezTo>
                      <a:pt x="354" y="366"/>
                      <a:pt x="354" y="366"/>
                      <a:pt x="354" y="366"/>
                    </a:cubicBezTo>
                    <a:cubicBezTo>
                      <a:pt x="355" y="364"/>
                      <a:pt x="356" y="361"/>
                      <a:pt x="356" y="359"/>
                    </a:cubicBezTo>
                    <a:cubicBezTo>
                      <a:pt x="346" y="317"/>
                      <a:pt x="346" y="317"/>
                      <a:pt x="346" y="317"/>
                    </a:cubicBezTo>
                    <a:cubicBezTo>
                      <a:pt x="348" y="316"/>
                      <a:pt x="349" y="314"/>
                      <a:pt x="350" y="313"/>
                    </a:cubicBezTo>
                    <a:cubicBezTo>
                      <a:pt x="365" y="298"/>
                      <a:pt x="375" y="277"/>
                      <a:pt x="364" y="2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47" name="Freeform 3"/>
              <p:cNvSpPr>
                <a:spLocks noChangeAspect="1" noEditPoints="1"/>
              </p:cNvSpPr>
              <p:nvPr/>
            </p:nvSpPr>
            <p:spPr bwMode="auto">
              <a:xfrm>
                <a:off x="4987772" y="2842158"/>
                <a:ext cx="136227" cy="110369"/>
              </a:xfrm>
              <a:custGeom>
                <a:avLst/>
                <a:gdLst>
                  <a:gd name="T0" fmla="*/ 2147483647 w 344"/>
                  <a:gd name="T1" fmla="*/ 2147483647 h 285"/>
                  <a:gd name="T2" fmla="*/ 2147483647 w 344"/>
                  <a:gd name="T3" fmla="*/ 2147483647 h 285"/>
                  <a:gd name="T4" fmla="*/ 2147483647 w 344"/>
                  <a:gd name="T5" fmla="*/ 2147483647 h 285"/>
                  <a:gd name="T6" fmla="*/ 2147483647 w 344"/>
                  <a:gd name="T7" fmla="*/ 2147483647 h 285"/>
                  <a:gd name="T8" fmla="*/ 2147483647 w 344"/>
                  <a:gd name="T9" fmla="*/ 2147483647 h 285"/>
                  <a:gd name="T10" fmla="*/ 2147483647 w 344"/>
                  <a:gd name="T11" fmla="*/ 2147483647 h 285"/>
                  <a:gd name="T12" fmla="*/ 2147483647 w 344"/>
                  <a:gd name="T13" fmla="*/ 2147483647 h 285"/>
                  <a:gd name="T14" fmla="*/ 2147483647 w 344"/>
                  <a:gd name="T15" fmla="*/ 2147483647 h 285"/>
                  <a:gd name="T16" fmla="*/ 2147483647 w 344"/>
                  <a:gd name="T17" fmla="*/ 2147483647 h 285"/>
                  <a:gd name="T18" fmla="*/ 2147483647 w 344"/>
                  <a:gd name="T19" fmla="*/ 2147483647 h 285"/>
                  <a:gd name="T20" fmla="*/ 2147483647 w 344"/>
                  <a:gd name="T21" fmla="*/ 2147483647 h 285"/>
                  <a:gd name="T22" fmla="*/ 2147483647 w 344"/>
                  <a:gd name="T23" fmla="*/ 2147483647 h 285"/>
                  <a:gd name="T24" fmla="*/ 2147483647 w 344"/>
                  <a:gd name="T25" fmla="*/ 2147483647 h 285"/>
                  <a:gd name="T26" fmla="*/ 2147483647 w 344"/>
                  <a:gd name="T27" fmla="*/ 2147483647 h 285"/>
                  <a:gd name="T28" fmla="*/ 2147483647 w 344"/>
                  <a:gd name="T29" fmla="*/ 2147483647 h 285"/>
                  <a:gd name="T30" fmla="*/ 2147483647 w 344"/>
                  <a:gd name="T31" fmla="*/ 2147483647 h 285"/>
                  <a:gd name="T32" fmla="*/ 2147483647 w 344"/>
                  <a:gd name="T33" fmla="*/ 2147483647 h 285"/>
                  <a:gd name="T34" fmla="*/ 2147483647 w 344"/>
                  <a:gd name="T35" fmla="*/ 2147483647 h 285"/>
                  <a:gd name="T36" fmla="*/ 2147483647 w 344"/>
                  <a:gd name="T37" fmla="*/ 2147483647 h 285"/>
                  <a:gd name="T38" fmla="*/ 2147483647 w 344"/>
                  <a:gd name="T39" fmla="*/ 2147483647 h 285"/>
                  <a:gd name="T40" fmla="*/ 2147483647 w 344"/>
                  <a:gd name="T41" fmla="*/ 2147483647 h 285"/>
                  <a:gd name="T42" fmla="*/ 2147483647 w 344"/>
                  <a:gd name="T43" fmla="*/ 2147483647 h 285"/>
                  <a:gd name="T44" fmla="*/ 2147483647 w 344"/>
                  <a:gd name="T45" fmla="*/ 2147483647 h 285"/>
                  <a:gd name="T46" fmla="*/ 2147483647 w 344"/>
                  <a:gd name="T47" fmla="*/ 2147483647 h 285"/>
                  <a:gd name="T48" fmla="*/ 2147483647 w 344"/>
                  <a:gd name="T49" fmla="*/ 2147483647 h 285"/>
                  <a:gd name="T50" fmla="*/ 2147483647 w 344"/>
                  <a:gd name="T51" fmla="*/ 2147483647 h 285"/>
                  <a:gd name="T52" fmla="*/ 2147483647 w 344"/>
                  <a:gd name="T53" fmla="*/ 2147483647 h 285"/>
                  <a:gd name="T54" fmla="*/ 2147483647 w 344"/>
                  <a:gd name="T55" fmla="*/ 2147483647 h 285"/>
                  <a:gd name="T56" fmla="*/ 2147483647 w 344"/>
                  <a:gd name="T57" fmla="*/ 2147483647 h 285"/>
                  <a:gd name="T58" fmla="*/ 2147483647 w 344"/>
                  <a:gd name="T59" fmla="*/ 2147483647 h 285"/>
                  <a:gd name="T60" fmla="*/ 2147483647 w 344"/>
                  <a:gd name="T61" fmla="*/ 2147483647 h 285"/>
                  <a:gd name="T62" fmla="*/ 2147483647 w 344"/>
                  <a:gd name="T63" fmla="*/ 2147483647 h 285"/>
                  <a:gd name="T64" fmla="*/ 2147483647 w 344"/>
                  <a:gd name="T65" fmla="*/ 2147483647 h 285"/>
                  <a:gd name="T66" fmla="*/ 2147483647 w 344"/>
                  <a:gd name="T67" fmla="*/ 2147483647 h 285"/>
                  <a:gd name="T68" fmla="*/ 2147483647 w 344"/>
                  <a:gd name="T69" fmla="*/ 2147483647 h 285"/>
                  <a:gd name="T70" fmla="*/ 2147483647 w 344"/>
                  <a:gd name="T71" fmla="*/ 2147483647 h 285"/>
                  <a:gd name="T72" fmla="*/ 2147483647 w 344"/>
                  <a:gd name="T73" fmla="*/ 2147483647 h 285"/>
                  <a:gd name="T74" fmla="*/ 2147483647 w 344"/>
                  <a:gd name="T75" fmla="*/ 2147483647 h 285"/>
                  <a:gd name="T76" fmla="*/ 2147483647 w 344"/>
                  <a:gd name="T77" fmla="*/ 2147483647 h 285"/>
                  <a:gd name="T78" fmla="*/ 2147483647 w 344"/>
                  <a:gd name="T79" fmla="*/ 2147483647 h 285"/>
                  <a:gd name="T80" fmla="*/ 2147483647 w 344"/>
                  <a:gd name="T81" fmla="*/ 2147483647 h 285"/>
                  <a:gd name="T82" fmla="*/ 2147483647 w 344"/>
                  <a:gd name="T83" fmla="*/ 2147483647 h 285"/>
                  <a:gd name="T84" fmla="*/ 2147483647 w 344"/>
                  <a:gd name="T85" fmla="*/ 2147483647 h 285"/>
                  <a:gd name="T86" fmla="*/ 2147483647 w 344"/>
                  <a:gd name="T87" fmla="*/ 2147483647 h 285"/>
                  <a:gd name="T88" fmla="*/ 2147483647 w 344"/>
                  <a:gd name="T89" fmla="*/ 2147483647 h 285"/>
                  <a:gd name="T90" fmla="*/ 2147483647 w 344"/>
                  <a:gd name="T91" fmla="*/ 2147483647 h 285"/>
                  <a:gd name="T92" fmla="*/ 2147483647 w 344"/>
                  <a:gd name="T93" fmla="*/ 2147483647 h 285"/>
                  <a:gd name="T94" fmla="*/ 2147483647 w 344"/>
                  <a:gd name="T95" fmla="*/ 2147483647 h 285"/>
                  <a:gd name="T96" fmla="*/ 2147483647 w 344"/>
                  <a:gd name="T97" fmla="*/ 2147483647 h 285"/>
                  <a:gd name="T98" fmla="*/ 2147483647 w 344"/>
                  <a:gd name="T99" fmla="*/ 2147483647 h 285"/>
                  <a:gd name="T100" fmla="*/ 2147483647 w 344"/>
                  <a:gd name="T101" fmla="*/ 2147483647 h 285"/>
                  <a:gd name="T102" fmla="*/ 2147483647 w 344"/>
                  <a:gd name="T103" fmla="*/ 2147483647 h 285"/>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344" h="285">
                    <a:moveTo>
                      <a:pt x="131" y="2"/>
                    </a:moveTo>
                    <a:cubicBezTo>
                      <a:pt x="127" y="0"/>
                      <a:pt x="122" y="2"/>
                      <a:pt x="120" y="6"/>
                    </a:cubicBezTo>
                    <a:cubicBezTo>
                      <a:pt x="2" y="273"/>
                      <a:pt x="2" y="273"/>
                      <a:pt x="2" y="273"/>
                    </a:cubicBezTo>
                    <a:cubicBezTo>
                      <a:pt x="0" y="278"/>
                      <a:pt x="2" y="282"/>
                      <a:pt x="6" y="284"/>
                    </a:cubicBezTo>
                    <a:cubicBezTo>
                      <a:pt x="7" y="285"/>
                      <a:pt x="8" y="285"/>
                      <a:pt x="9" y="285"/>
                    </a:cubicBezTo>
                    <a:cubicBezTo>
                      <a:pt x="12" y="285"/>
                      <a:pt x="15" y="283"/>
                      <a:pt x="16" y="280"/>
                    </a:cubicBezTo>
                    <a:cubicBezTo>
                      <a:pt x="135" y="12"/>
                      <a:pt x="135" y="12"/>
                      <a:pt x="135" y="12"/>
                    </a:cubicBezTo>
                    <a:cubicBezTo>
                      <a:pt x="137" y="8"/>
                      <a:pt x="135" y="3"/>
                      <a:pt x="131" y="2"/>
                    </a:cubicBezTo>
                    <a:close/>
                    <a:moveTo>
                      <a:pt x="172" y="1"/>
                    </a:moveTo>
                    <a:cubicBezTo>
                      <a:pt x="168" y="1"/>
                      <a:pt x="164" y="4"/>
                      <a:pt x="164" y="9"/>
                    </a:cubicBezTo>
                    <a:cubicBezTo>
                      <a:pt x="164" y="25"/>
                      <a:pt x="164" y="25"/>
                      <a:pt x="164" y="25"/>
                    </a:cubicBezTo>
                    <a:cubicBezTo>
                      <a:pt x="164" y="29"/>
                      <a:pt x="168" y="33"/>
                      <a:pt x="172" y="33"/>
                    </a:cubicBezTo>
                    <a:cubicBezTo>
                      <a:pt x="177" y="33"/>
                      <a:pt x="180" y="29"/>
                      <a:pt x="180" y="25"/>
                    </a:cubicBezTo>
                    <a:cubicBezTo>
                      <a:pt x="180" y="9"/>
                      <a:pt x="180" y="9"/>
                      <a:pt x="180" y="9"/>
                    </a:cubicBezTo>
                    <a:cubicBezTo>
                      <a:pt x="180" y="4"/>
                      <a:pt x="177" y="1"/>
                      <a:pt x="172" y="1"/>
                    </a:cubicBezTo>
                    <a:close/>
                    <a:moveTo>
                      <a:pt x="172" y="159"/>
                    </a:moveTo>
                    <a:cubicBezTo>
                      <a:pt x="168" y="159"/>
                      <a:pt x="164" y="162"/>
                      <a:pt x="164" y="167"/>
                    </a:cubicBezTo>
                    <a:cubicBezTo>
                      <a:pt x="164" y="202"/>
                      <a:pt x="164" y="202"/>
                      <a:pt x="164" y="202"/>
                    </a:cubicBezTo>
                    <a:cubicBezTo>
                      <a:pt x="164" y="207"/>
                      <a:pt x="168" y="210"/>
                      <a:pt x="172" y="210"/>
                    </a:cubicBezTo>
                    <a:cubicBezTo>
                      <a:pt x="177" y="210"/>
                      <a:pt x="180" y="207"/>
                      <a:pt x="180" y="202"/>
                    </a:cubicBezTo>
                    <a:cubicBezTo>
                      <a:pt x="180" y="167"/>
                      <a:pt x="180" y="167"/>
                      <a:pt x="180" y="167"/>
                    </a:cubicBezTo>
                    <a:cubicBezTo>
                      <a:pt x="180" y="162"/>
                      <a:pt x="177" y="159"/>
                      <a:pt x="172" y="159"/>
                    </a:cubicBezTo>
                    <a:close/>
                    <a:moveTo>
                      <a:pt x="172" y="70"/>
                    </a:moveTo>
                    <a:cubicBezTo>
                      <a:pt x="168" y="70"/>
                      <a:pt x="164" y="74"/>
                      <a:pt x="164" y="78"/>
                    </a:cubicBezTo>
                    <a:cubicBezTo>
                      <a:pt x="164" y="114"/>
                      <a:pt x="164" y="114"/>
                      <a:pt x="164" y="114"/>
                    </a:cubicBezTo>
                    <a:cubicBezTo>
                      <a:pt x="164" y="118"/>
                      <a:pt x="168" y="122"/>
                      <a:pt x="172" y="122"/>
                    </a:cubicBezTo>
                    <a:cubicBezTo>
                      <a:pt x="177" y="122"/>
                      <a:pt x="180" y="118"/>
                      <a:pt x="180" y="114"/>
                    </a:cubicBezTo>
                    <a:cubicBezTo>
                      <a:pt x="180" y="78"/>
                      <a:pt x="180" y="78"/>
                      <a:pt x="180" y="78"/>
                    </a:cubicBezTo>
                    <a:cubicBezTo>
                      <a:pt x="180" y="74"/>
                      <a:pt x="177" y="70"/>
                      <a:pt x="172" y="70"/>
                    </a:cubicBezTo>
                    <a:close/>
                    <a:moveTo>
                      <a:pt x="172" y="247"/>
                    </a:moveTo>
                    <a:cubicBezTo>
                      <a:pt x="168" y="247"/>
                      <a:pt x="164" y="251"/>
                      <a:pt x="164" y="255"/>
                    </a:cubicBezTo>
                    <a:cubicBezTo>
                      <a:pt x="164" y="271"/>
                      <a:pt x="164" y="271"/>
                      <a:pt x="164" y="271"/>
                    </a:cubicBezTo>
                    <a:cubicBezTo>
                      <a:pt x="164" y="276"/>
                      <a:pt x="168" y="279"/>
                      <a:pt x="172" y="279"/>
                    </a:cubicBezTo>
                    <a:cubicBezTo>
                      <a:pt x="177" y="279"/>
                      <a:pt x="180" y="276"/>
                      <a:pt x="180" y="271"/>
                    </a:cubicBezTo>
                    <a:cubicBezTo>
                      <a:pt x="180" y="255"/>
                      <a:pt x="180" y="255"/>
                      <a:pt x="180" y="255"/>
                    </a:cubicBezTo>
                    <a:cubicBezTo>
                      <a:pt x="180" y="251"/>
                      <a:pt x="177" y="247"/>
                      <a:pt x="172" y="247"/>
                    </a:cubicBezTo>
                    <a:close/>
                    <a:moveTo>
                      <a:pt x="235" y="30"/>
                    </a:moveTo>
                    <a:cubicBezTo>
                      <a:pt x="224" y="6"/>
                      <a:pt x="224" y="6"/>
                      <a:pt x="224" y="6"/>
                    </a:cubicBezTo>
                    <a:cubicBezTo>
                      <a:pt x="222" y="2"/>
                      <a:pt x="218" y="0"/>
                      <a:pt x="213" y="2"/>
                    </a:cubicBezTo>
                    <a:cubicBezTo>
                      <a:pt x="209" y="3"/>
                      <a:pt x="208" y="8"/>
                      <a:pt x="209" y="12"/>
                    </a:cubicBezTo>
                    <a:cubicBezTo>
                      <a:pt x="220" y="36"/>
                      <a:pt x="220" y="36"/>
                      <a:pt x="220" y="36"/>
                    </a:cubicBezTo>
                    <a:cubicBezTo>
                      <a:pt x="222" y="39"/>
                      <a:pt x="224" y="41"/>
                      <a:pt x="227" y="41"/>
                    </a:cubicBezTo>
                    <a:cubicBezTo>
                      <a:pt x="229" y="41"/>
                      <a:pt x="230" y="41"/>
                      <a:pt x="231" y="41"/>
                    </a:cubicBezTo>
                    <a:cubicBezTo>
                      <a:pt x="235" y="39"/>
                      <a:pt x="237" y="34"/>
                      <a:pt x="235" y="30"/>
                    </a:cubicBezTo>
                    <a:close/>
                    <a:moveTo>
                      <a:pt x="343" y="273"/>
                    </a:moveTo>
                    <a:cubicBezTo>
                      <a:pt x="248" y="60"/>
                      <a:pt x="248" y="60"/>
                      <a:pt x="248" y="60"/>
                    </a:cubicBezTo>
                    <a:cubicBezTo>
                      <a:pt x="246" y="56"/>
                      <a:pt x="241" y="54"/>
                      <a:pt x="237" y="56"/>
                    </a:cubicBezTo>
                    <a:cubicBezTo>
                      <a:pt x="233" y="58"/>
                      <a:pt x="232" y="62"/>
                      <a:pt x="233" y="66"/>
                    </a:cubicBezTo>
                    <a:cubicBezTo>
                      <a:pt x="328" y="280"/>
                      <a:pt x="328" y="280"/>
                      <a:pt x="328" y="280"/>
                    </a:cubicBezTo>
                    <a:cubicBezTo>
                      <a:pt x="329" y="283"/>
                      <a:pt x="332" y="285"/>
                      <a:pt x="335" y="285"/>
                    </a:cubicBezTo>
                    <a:cubicBezTo>
                      <a:pt x="336" y="285"/>
                      <a:pt x="337" y="285"/>
                      <a:pt x="339" y="284"/>
                    </a:cubicBezTo>
                    <a:cubicBezTo>
                      <a:pt x="343" y="282"/>
                      <a:pt x="344" y="278"/>
                      <a:pt x="343" y="2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48" name="Freeform 3"/>
              <p:cNvSpPr>
                <a:spLocks noChangeAspect="1" noEditPoints="1"/>
              </p:cNvSpPr>
              <p:nvPr/>
            </p:nvSpPr>
            <p:spPr bwMode="auto">
              <a:xfrm>
                <a:off x="5447318" y="2464659"/>
                <a:ext cx="95345" cy="148743"/>
              </a:xfrm>
              <a:custGeom>
                <a:avLst/>
                <a:gdLst>
                  <a:gd name="T0" fmla="*/ 2147483647 w 241"/>
                  <a:gd name="T1" fmla="*/ 2147483647 h 384"/>
                  <a:gd name="T2" fmla="*/ 2147483647 w 241"/>
                  <a:gd name="T3" fmla="*/ 2147483647 h 384"/>
                  <a:gd name="T4" fmla="*/ 2147483647 w 241"/>
                  <a:gd name="T5" fmla="*/ 2147483647 h 384"/>
                  <a:gd name="T6" fmla="*/ 2147483647 w 241"/>
                  <a:gd name="T7" fmla="*/ 2147483647 h 384"/>
                  <a:gd name="T8" fmla="*/ 2147483647 w 241"/>
                  <a:gd name="T9" fmla="*/ 2147483647 h 384"/>
                  <a:gd name="T10" fmla="*/ 2147483647 w 241"/>
                  <a:gd name="T11" fmla="*/ 2147483647 h 384"/>
                  <a:gd name="T12" fmla="*/ 2147483647 w 241"/>
                  <a:gd name="T13" fmla="*/ 2147483647 h 384"/>
                  <a:gd name="T14" fmla="*/ 2147483647 w 241"/>
                  <a:gd name="T15" fmla="*/ 0 h 384"/>
                  <a:gd name="T16" fmla="*/ 0 w 241"/>
                  <a:gd name="T17" fmla="*/ 2147483647 h 384"/>
                  <a:gd name="T18" fmla="*/ 2147483647 w 241"/>
                  <a:gd name="T19" fmla="*/ 2147483647 h 384"/>
                  <a:gd name="T20" fmla="*/ 2147483647 w 241"/>
                  <a:gd name="T21" fmla="*/ 2147483647 h 384"/>
                  <a:gd name="T22" fmla="*/ 2147483647 w 241"/>
                  <a:gd name="T23" fmla="*/ 2147483647 h 384"/>
                  <a:gd name="T24" fmla="*/ 2147483647 w 241"/>
                  <a:gd name="T25" fmla="*/ 2147483647 h 384"/>
                  <a:gd name="T26" fmla="*/ 2147483647 w 241"/>
                  <a:gd name="T27" fmla="*/ 2147483647 h 384"/>
                  <a:gd name="T28" fmla="*/ 2147483647 w 241"/>
                  <a:gd name="T29" fmla="*/ 2147483647 h 384"/>
                  <a:gd name="T30" fmla="*/ 2147483647 w 241"/>
                  <a:gd name="T31" fmla="*/ 2147483647 h 384"/>
                  <a:gd name="T32" fmla="*/ 2147483647 w 241"/>
                  <a:gd name="T33" fmla="*/ 2147483647 h 384"/>
                  <a:gd name="T34" fmla="*/ 2147483647 w 241"/>
                  <a:gd name="T35" fmla="*/ 2147483647 h 384"/>
                  <a:gd name="T36" fmla="*/ 2147483647 w 241"/>
                  <a:gd name="T37" fmla="*/ 2147483647 h 384"/>
                  <a:gd name="T38" fmla="*/ 2147483647 w 241"/>
                  <a:gd name="T39" fmla="*/ 2147483647 h 384"/>
                  <a:gd name="T40" fmla="*/ 2147483647 w 241"/>
                  <a:gd name="T41" fmla="*/ 2147483647 h 384"/>
                  <a:gd name="T42" fmla="*/ 2147483647 w 241"/>
                  <a:gd name="T43" fmla="*/ 2147483647 h 384"/>
                  <a:gd name="T44" fmla="*/ 2147483647 w 241"/>
                  <a:gd name="T45" fmla="*/ 2147483647 h 384"/>
                  <a:gd name="T46" fmla="*/ 2147483647 w 241"/>
                  <a:gd name="T47" fmla="*/ 2147483647 h 384"/>
                  <a:gd name="T48" fmla="*/ 2147483647 w 241"/>
                  <a:gd name="T49" fmla="*/ 2147483647 h 384"/>
                  <a:gd name="T50" fmla="*/ 2147483647 w 241"/>
                  <a:gd name="T51" fmla="*/ 2147483647 h 384"/>
                  <a:gd name="T52" fmla="*/ 2147483647 w 241"/>
                  <a:gd name="T53" fmla="*/ 2147483647 h 384"/>
                  <a:gd name="T54" fmla="*/ 2147483647 w 241"/>
                  <a:gd name="T55" fmla="*/ 2147483647 h 384"/>
                  <a:gd name="T56" fmla="*/ 2147483647 w 241"/>
                  <a:gd name="T57" fmla="*/ 2147483647 h 384"/>
                  <a:gd name="T58" fmla="*/ 2147483647 w 241"/>
                  <a:gd name="T59" fmla="*/ 2147483647 h 384"/>
                  <a:gd name="T60" fmla="*/ 2147483647 w 241"/>
                  <a:gd name="T61" fmla="*/ 2147483647 h 384"/>
                  <a:gd name="T62" fmla="*/ 2147483647 w 241"/>
                  <a:gd name="T63" fmla="*/ 2147483647 h 384"/>
                  <a:gd name="T64" fmla="*/ 2147483647 w 241"/>
                  <a:gd name="T65" fmla="*/ 2147483647 h 384"/>
                  <a:gd name="T66" fmla="*/ 2147483647 w 241"/>
                  <a:gd name="T67" fmla="*/ 2147483647 h 384"/>
                  <a:gd name="T68" fmla="*/ 2147483647 w 241"/>
                  <a:gd name="T69" fmla="*/ 2147483647 h 384"/>
                  <a:gd name="T70" fmla="*/ 2147483647 w 241"/>
                  <a:gd name="T71" fmla="*/ 2147483647 h 384"/>
                  <a:gd name="T72" fmla="*/ 2147483647 w 241"/>
                  <a:gd name="T73" fmla="*/ 2147483647 h 384"/>
                  <a:gd name="T74" fmla="*/ 2147483647 w 241"/>
                  <a:gd name="T75" fmla="*/ 2147483647 h 384"/>
                  <a:gd name="T76" fmla="*/ 2147483647 w 241"/>
                  <a:gd name="T77" fmla="*/ 2147483647 h 384"/>
                  <a:gd name="T78" fmla="*/ 2147483647 w 241"/>
                  <a:gd name="T79" fmla="*/ 2147483647 h 384"/>
                  <a:gd name="T80" fmla="*/ 2147483647 w 241"/>
                  <a:gd name="T81" fmla="*/ 2147483647 h 384"/>
                  <a:gd name="T82" fmla="*/ 2147483647 w 241"/>
                  <a:gd name="T83" fmla="*/ 2147483647 h 384"/>
                  <a:gd name="T84" fmla="*/ 2147483647 w 241"/>
                  <a:gd name="T85" fmla="*/ 2147483647 h 384"/>
                  <a:gd name="T86" fmla="*/ 2147483647 w 241"/>
                  <a:gd name="T87" fmla="*/ 2147483647 h 384"/>
                  <a:gd name="T88" fmla="*/ 2147483647 w 241"/>
                  <a:gd name="T89" fmla="*/ 2147483647 h 384"/>
                  <a:gd name="T90" fmla="*/ 2147483647 w 241"/>
                  <a:gd name="T91" fmla="*/ 2147483647 h 384"/>
                  <a:gd name="T92" fmla="*/ 2147483647 w 241"/>
                  <a:gd name="T93" fmla="*/ 2147483647 h 384"/>
                  <a:gd name="T94" fmla="*/ 2147483647 w 241"/>
                  <a:gd name="T95" fmla="*/ 2147483647 h 384"/>
                  <a:gd name="T96" fmla="*/ 2147483647 w 241"/>
                  <a:gd name="T97" fmla="*/ 2147483647 h 384"/>
                  <a:gd name="T98" fmla="*/ 2147483647 w 241"/>
                  <a:gd name="T99" fmla="*/ 2147483647 h 384"/>
                  <a:gd name="T100" fmla="*/ 2147483647 w 241"/>
                  <a:gd name="T101" fmla="*/ 2147483647 h 384"/>
                  <a:gd name="T102" fmla="*/ 2147483647 w 241"/>
                  <a:gd name="T103" fmla="*/ 2147483647 h 38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241" h="384">
                    <a:moveTo>
                      <a:pt x="117" y="356"/>
                    </a:moveTo>
                    <a:cubicBezTo>
                      <a:pt x="127" y="356"/>
                      <a:pt x="135" y="348"/>
                      <a:pt x="135" y="339"/>
                    </a:cubicBezTo>
                    <a:cubicBezTo>
                      <a:pt x="135" y="329"/>
                      <a:pt x="127" y="321"/>
                      <a:pt x="117" y="321"/>
                    </a:cubicBezTo>
                    <a:cubicBezTo>
                      <a:pt x="107" y="321"/>
                      <a:pt x="99" y="329"/>
                      <a:pt x="99" y="339"/>
                    </a:cubicBezTo>
                    <a:cubicBezTo>
                      <a:pt x="99" y="348"/>
                      <a:pt x="107" y="356"/>
                      <a:pt x="117" y="356"/>
                    </a:cubicBezTo>
                    <a:close/>
                    <a:moveTo>
                      <a:pt x="135" y="26"/>
                    </a:moveTo>
                    <a:cubicBezTo>
                      <a:pt x="99" y="26"/>
                      <a:pt x="99" y="26"/>
                      <a:pt x="99" y="26"/>
                    </a:cubicBezTo>
                    <a:cubicBezTo>
                      <a:pt x="95" y="26"/>
                      <a:pt x="91" y="30"/>
                      <a:pt x="91" y="34"/>
                    </a:cubicBezTo>
                    <a:cubicBezTo>
                      <a:pt x="91" y="39"/>
                      <a:pt x="95" y="42"/>
                      <a:pt x="99" y="42"/>
                    </a:cubicBezTo>
                    <a:cubicBezTo>
                      <a:pt x="135" y="42"/>
                      <a:pt x="135" y="42"/>
                      <a:pt x="135" y="42"/>
                    </a:cubicBezTo>
                    <a:cubicBezTo>
                      <a:pt x="139" y="42"/>
                      <a:pt x="143" y="39"/>
                      <a:pt x="143" y="34"/>
                    </a:cubicBezTo>
                    <a:cubicBezTo>
                      <a:pt x="143" y="30"/>
                      <a:pt x="139" y="26"/>
                      <a:pt x="135" y="26"/>
                    </a:cubicBezTo>
                    <a:close/>
                    <a:moveTo>
                      <a:pt x="233" y="91"/>
                    </a:moveTo>
                    <a:cubicBezTo>
                      <a:pt x="237" y="91"/>
                      <a:pt x="241" y="87"/>
                      <a:pt x="241" y="83"/>
                    </a:cubicBezTo>
                    <a:cubicBezTo>
                      <a:pt x="241" y="19"/>
                      <a:pt x="241" y="19"/>
                      <a:pt x="241" y="19"/>
                    </a:cubicBezTo>
                    <a:cubicBezTo>
                      <a:pt x="241" y="9"/>
                      <a:pt x="232" y="0"/>
                      <a:pt x="221" y="0"/>
                    </a:cubicBezTo>
                    <a:cubicBezTo>
                      <a:pt x="19" y="0"/>
                      <a:pt x="19" y="0"/>
                      <a:pt x="19" y="0"/>
                    </a:cubicBezTo>
                    <a:cubicBezTo>
                      <a:pt x="8" y="0"/>
                      <a:pt x="0" y="9"/>
                      <a:pt x="0" y="19"/>
                    </a:cubicBezTo>
                    <a:cubicBezTo>
                      <a:pt x="0" y="364"/>
                      <a:pt x="0" y="364"/>
                      <a:pt x="0" y="364"/>
                    </a:cubicBezTo>
                    <a:cubicBezTo>
                      <a:pt x="0" y="375"/>
                      <a:pt x="8" y="384"/>
                      <a:pt x="19" y="384"/>
                    </a:cubicBezTo>
                    <a:cubicBezTo>
                      <a:pt x="221" y="384"/>
                      <a:pt x="221" y="384"/>
                      <a:pt x="221" y="384"/>
                    </a:cubicBezTo>
                    <a:cubicBezTo>
                      <a:pt x="232" y="384"/>
                      <a:pt x="241" y="375"/>
                      <a:pt x="241" y="364"/>
                    </a:cubicBezTo>
                    <a:cubicBezTo>
                      <a:pt x="241" y="114"/>
                      <a:pt x="241" y="114"/>
                      <a:pt x="241" y="114"/>
                    </a:cubicBezTo>
                    <a:cubicBezTo>
                      <a:pt x="241" y="110"/>
                      <a:pt x="237" y="106"/>
                      <a:pt x="233" y="106"/>
                    </a:cubicBezTo>
                    <a:cubicBezTo>
                      <a:pt x="228" y="106"/>
                      <a:pt x="225" y="110"/>
                      <a:pt x="225" y="114"/>
                    </a:cubicBezTo>
                    <a:cubicBezTo>
                      <a:pt x="225" y="296"/>
                      <a:pt x="225" y="296"/>
                      <a:pt x="225" y="296"/>
                    </a:cubicBezTo>
                    <a:cubicBezTo>
                      <a:pt x="16" y="296"/>
                      <a:pt x="16" y="296"/>
                      <a:pt x="16" y="296"/>
                    </a:cubicBezTo>
                    <a:cubicBezTo>
                      <a:pt x="16" y="69"/>
                      <a:pt x="16" y="69"/>
                      <a:pt x="16" y="69"/>
                    </a:cubicBezTo>
                    <a:cubicBezTo>
                      <a:pt x="225" y="69"/>
                      <a:pt x="225" y="69"/>
                      <a:pt x="225" y="69"/>
                    </a:cubicBezTo>
                    <a:cubicBezTo>
                      <a:pt x="225" y="83"/>
                      <a:pt x="225" y="83"/>
                      <a:pt x="225" y="83"/>
                    </a:cubicBezTo>
                    <a:cubicBezTo>
                      <a:pt x="225" y="87"/>
                      <a:pt x="228" y="91"/>
                      <a:pt x="233" y="91"/>
                    </a:cubicBezTo>
                    <a:close/>
                    <a:moveTo>
                      <a:pt x="225" y="312"/>
                    </a:moveTo>
                    <a:cubicBezTo>
                      <a:pt x="225" y="364"/>
                      <a:pt x="225" y="364"/>
                      <a:pt x="225" y="364"/>
                    </a:cubicBezTo>
                    <a:cubicBezTo>
                      <a:pt x="225" y="366"/>
                      <a:pt x="223" y="368"/>
                      <a:pt x="221" y="368"/>
                    </a:cubicBezTo>
                    <a:cubicBezTo>
                      <a:pt x="19" y="368"/>
                      <a:pt x="19" y="368"/>
                      <a:pt x="19" y="368"/>
                    </a:cubicBezTo>
                    <a:cubicBezTo>
                      <a:pt x="17" y="368"/>
                      <a:pt x="16" y="366"/>
                      <a:pt x="16" y="364"/>
                    </a:cubicBezTo>
                    <a:cubicBezTo>
                      <a:pt x="16" y="312"/>
                      <a:pt x="16" y="312"/>
                      <a:pt x="16" y="312"/>
                    </a:cubicBezTo>
                    <a:lnTo>
                      <a:pt x="225" y="312"/>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14" y="137"/>
                    </a:moveTo>
                    <a:cubicBezTo>
                      <a:pt x="114" y="142"/>
                      <a:pt x="114" y="142"/>
                      <a:pt x="114" y="142"/>
                    </a:cubicBezTo>
                    <a:cubicBezTo>
                      <a:pt x="111" y="143"/>
                      <a:pt x="109" y="143"/>
                      <a:pt x="106" y="144"/>
                    </a:cubicBezTo>
                    <a:cubicBezTo>
                      <a:pt x="103" y="146"/>
                      <a:pt x="99" y="148"/>
                      <a:pt x="96" y="151"/>
                    </a:cubicBezTo>
                    <a:cubicBezTo>
                      <a:pt x="93" y="154"/>
                      <a:pt x="91" y="159"/>
                      <a:pt x="91" y="165"/>
                    </a:cubicBezTo>
                    <a:cubicBezTo>
                      <a:pt x="91" y="170"/>
                      <a:pt x="92" y="174"/>
                      <a:pt x="94" y="178"/>
                    </a:cubicBezTo>
                    <a:cubicBezTo>
                      <a:pt x="98" y="183"/>
                      <a:pt x="103" y="186"/>
                      <a:pt x="108" y="188"/>
                    </a:cubicBezTo>
                    <a:cubicBezTo>
                      <a:pt x="113" y="189"/>
                      <a:pt x="117" y="190"/>
                      <a:pt x="120" y="190"/>
                    </a:cubicBezTo>
                    <a:cubicBezTo>
                      <a:pt x="123" y="191"/>
                      <a:pt x="127" y="192"/>
                      <a:pt x="131" y="194"/>
                    </a:cubicBezTo>
                    <a:cubicBezTo>
                      <a:pt x="134" y="195"/>
                      <a:pt x="137" y="197"/>
                      <a:pt x="138" y="200"/>
                    </a:cubicBezTo>
                    <a:cubicBezTo>
                      <a:pt x="138" y="201"/>
                      <a:pt x="138" y="202"/>
                      <a:pt x="138" y="204"/>
                    </a:cubicBezTo>
                    <a:cubicBezTo>
                      <a:pt x="138" y="206"/>
                      <a:pt x="138" y="207"/>
                      <a:pt x="137" y="209"/>
                    </a:cubicBezTo>
                    <a:cubicBezTo>
                      <a:pt x="135" y="210"/>
                      <a:pt x="132" y="212"/>
                      <a:pt x="128" y="213"/>
                    </a:cubicBezTo>
                    <a:cubicBezTo>
                      <a:pt x="125" y="214"/>
                      <a:pt x="121" y="214"/>
                      <a:pt x="121" y="214"/>
                    </a:cubicBezTo>
                    <a:cubicBezTo>
                      <a:pt x="121" y="214"/>
                      <a:pt x="121" y="214"/>
                      <a:pt x="121" y="214"/>
                    </a:cubicBezTo>
                    <a:cubicBezTo>
                      <a:pt x="116" y="214"/>
                      <a:pt x="111" y="212"/>
                      <a:pt x="107" y="210"/>
                    </a:cubicBezTo>
                    <a:cubicBezTo>
                      <a:pt x="105" y="209"/>
                      <a:pt x="103" y="208"/>
                      <a:pt x="102" y="207"/>
                    </a:cubicBezTo>
                    <a:cubicBezTo>
                      <a:pt x="102" y="207"/>
                      <a:pt x="101" y="206"/>
                      <a:pt x="101" y="206"/>
                    </a:cubicBezTo>
                    <a:cubicBezTo>
                      <a:pt x="101" y="206"/>
                      <a:pt x="101" y="206"/>
                      <a:pt x="101" y="206"/>
                    </a:cubicBezTo>
                    <a:cubicBezTo>
                      <a:pt x="98" y="203"/>
                      <a:pt x="93" y="204"/>
                      <a:pt x="91" y="207"/>
                    </a:cubicBezTo>
                    <a:cubicBezTo>
                      <a:pt x="89" y="210"/>
                      <a:pt x="89" y="214"/>
                      <a:pt x="92" y="217"/>
                    </a:cubicBezTo>
                    <a:cubicBezTo>
                      <a:pt x="92" y="217"/>
                      <a:pt x="101" y="224"/>
                      <a:pt x="114" y="227"/>
                    </a:cubicBezTo>
                    <a:cubicBezTo>
                      <a:pt x="114" y="233"/>
                      <a:pt x="114" y="233"/>
                      <a:pt x="114" y="233"/>
                    </a:cubicBezTo>
                    <a:cubicBezTo>
                      <a:pt x="114" y="236"/>
                      <a:pt x="117" y="240"/>
                      <a:pt x="121" y="240"/>
                    </a:cubicBezTo>
                    <a:cubicBezTo>
                      <a:pt x="125" y="240"/>
                      <a:pt x="128" y="236"/>
                      <a:pt x="128" y="233"/>
                    </a:cubicBezTo>
                    <a:cubicBezTo>
                      <a:pt x="128" y="227"/>
                      <a:pt x="128" y="227"/>
                      <a:pt x="128" y="227"/>
                    </a:cubicBezTo>
                    <a:cubicBezTo>
                      <a:pt x="130" y="227"/>
                      <a:pt x="133" y="226"/>
                      <a:pt x="136" y="225"/>
                    </a:cubicBezTo>
                    <a:cubicBezTo>
                      <a:pt x="140" y="223"/>
                      <a:pt x="144" y="221"/>
                      <a:pt x="147" y="218"/>
                    </a:cubicBezTo>
                    <a:cubicBezTo>
                      <a:pt x="150" y="214"/>
                      <a:pt x="152" y="209"/>
                      <a:pt x="152" y="203"/>
                    </a:cubicBezTo>
                    <a:cubicBezTo>
                      <a:pt x="152" y="200"/>
                      <a:pt x="152" y="197"/>
                      <a:pt x="150" y="194"/>
                    </a:cubicBezTo>
                    <a:cubicBezTo>
                      <a:pt x="148" y="187"/>
                      <a:pt x="142" y="183"/>
                      <a:pt x="136" y="181"/>
                    </a:cubicBezTo>
                    <a:cubicBezTo>
                      <a:pt x="131" y="179"/>
                      <a:pt x="126" y="178"/>
                      <a:pt x="123" y="177"/>
                    </a:cubicBezTo>
                    <a:cubicBezTo>
                      <a:pt x="118" y="176"/>
                      <a:pt x="113" y="175"/>
                      <a:pt x="110" y="173"/>
                    </a:cubicBezTo>
                    <a:cubicBezTo>
                      <a:pt x="108" y="172"/>
                      <a:pt x="107" y="172"/>
                      <a:pt x="106" y="170"/>
                    </a:cubicBezTo>
                    <a:cubicBezTo>
                      <a:pt x="105" y="169"/>
                      <a:pt x="105" y="168"/>
                      <a:pt x="105" y="165"/>
                    </a:cubicBezTo>
                    <a:cubicBezTo>
                      <a:pt x="105" y="163"/>
                      <a:pt x="105" y="162"/>
                      <a:pt x="106" y="160"/>
                    </a:cubicBezTo>
                    <a:cubicBezTo>
                      <a:pt x="108" y="159"/>
                      <a:pt x="111" y="157"/>
                      <a:pt x="114" y="156"/>
                    </a:cubicBezTo>
                    <a:cubicBezTo>
                      <a:pt x="116" y="156"/>
                      <a:pt x="118" y="156"/>
                      <a:pt x="119" y="156"/>
                    </a:cubicBezTo>
                    <a:cubicBezTo>
                      <a:pt x="119" y="156"/>
                      <a:pt x="120" y="156"/>
                      <a:pt x="120" y="156"/>
                    </a:cubicBezTo>
                    <a:cubicBezTo>
                      <a:pt x="120" y="156"/>
                      <a:pt x="120" y="156"/>
                      <a:pt x="120" y="156"/>
                    </a:cubicBezTo>
                    <a:cubicBezTo>
                      <a:pt x="126" y="156"/>
                      <a:pt x="130" y="157"/>
                      <a:pt x="132" y="158"/>
                    </a:cubicBezTo>
                    <a:cubicBezTo>
                      <a:pt x="133" y="158"/>
                      <a:pt x="134" y="159"/>
                      <a:pt x="134" y="159"/>
                    </a:cubicBezTo>
                    <a:cubicBezTo>
                      <a:pt x="135" y="159"/>
                      <a:pt x="135" y="159"/>
                      <a:pt x="135" y="159"/>
                    </a:cubicBezTo>
                    <a:cubicBezTo>
                      <a:pt x="135" y="159"/>
                      <a:pt x="135" y="159"/>
                      <a:pt x="135" y="159"/>
                    </a:cubicBezTo>
                    <a:cubicBezTo>
                      <a:pt x="138" y="162"/>
                      <a:pt x="142" y="162"/>
                      <a:pt x="145" y="159"/>
                    </a:cubicBezTo>
                    <a:cubicBezTo>
                      <a:pt x="147" y="156"/>
                      <a:pt x="147" y="152"/>
                      <a:pt x="144" y="149"/>
                    </a:cubicBezTo>
                    <a:cubicBezTo>
                      <a:pt x="143" y="148"/>
                      <a:pt x="138" y="144"/>
                      <a:pt x="127" y="142"/>
                    </a:cubicBezTo>
                    <a:cubicBezTo>
                      <a:pt x="127" y="137"/>
                      <a:pt x="127" y="137"/>
                      <a:pt x="127" y="137"/>
                    </a:cubicBezTo>
                    <a:cubicBezTo>
                      <a:pt x="127" y="133"/>
                      <a:pt x="124" y="130"/>
                      <a:pt x="121" y="130"/>
                    </a:cubicBezTo>
                    <a:cubicBezTo>
                      <a:pt x="117" y="130"/>
                      <a:pt x="114" y="133"/>
                      <a:pt x="114" y="137"/>
                    </a:cubicBezTo>
                    <a:close/>
                    <a:moveTo>
                      <a:pt x="34" y="185"/>
                    </a:moveTo>
                    <a:cubicBezTo>
                      <a:pt x="34" y="233"/>
                      <a:pt x="73" y="272"/>
                      <a:pt x="121" y="272"/>
                    </a:cubicBezTo>
                    <a:cubicBezTo>
                      <a:pt x="169" y="272"/>
                      <a:pt x="208" y="233"/>
                      <a:pt x="208" y="185"/>
                    </a:cubicBezTo>
                    <a:cubicBezTo>
                      <a:pt x="208" y="137"/>
                      <a:pt x="169" y="98"/>
                      <a:pt x="121" y="98"/>
                    </a:cubicBezTo>
                    <a:cubicBezTo>
                      <a:pt x="73" y="98"/>
                      <a:pt x="34" y="137"/>
                      <a:pt x="34" y="185"/>
                    </a:cubicBezTo>
                    <a:close/>
                    <a:moveTo>
                      <a:pt x="192" y="185"/>
                    </a:moveTo>
                    <a:cubicBezTo>
                      <a:pt x="192" y="224"/>
                      <a:pt x="160" y="256"/>
                      <a:pt x="121" y="256"/>
                    </a:cubicBezTo>
                    <a:cubicBezTo>
                      <a:pt x="82" y="256"/>
                      <a:pt x="50" y="224"/>
                      <a:pt x="50" y="185"/>
                    </a:cubicBezTo>
                    <a:cubicBezTo>
                      <a:pt x="50" y="146"/>
                      <a:pt x="82" y="114"/>
                      <a:pt x="121" y="114"/>
                    </a:cubicBezTo>
                    <a:cubicBezTo>
                      <a:pt x="160" y="114"/>
                      <a:pt x="192" y="146"/>
                      <a:pt x="192" y="1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49" name="Freeform 3"/>
              <p:cNvSpPr>
                <a:spLocks noChangeAspect="1" noEditPoints="1"/>
              </p:cNvSpPr>
              <p:nvPr/>
            </p:nvSpPr>
            <p:spPr bwMode="auto">
              <a:xfrm>
                <a:off x="5106279" y="2654430"/>
                <a:ext cx="142092" cy="138246"/>
              </a:xfrm>
              <a:custGeom>
                <a:avLst/>
                <a:gdLst>
                  <a:gd name="T0" fmla="*/ 2147483647 w 359"/>
                  <a:gd name="T1" fmla="*/ 2147483647 h 357"/>
                  <a:gd name="T2" fmla="*/ 2147483647 w 359"/>
                  <a:gd name="T3" fmla="*/ 2147483647 h 357"/>
                  <a:gd name="T4" fmla="*/ 2147483647 w 359"/>
                  <a:gd name="T5" fmla="*/ 2147483647 h 357"/>
                  <a:gd name="T6" fmla="*/ 2147483647 w 359"/>
                  <a:gd name="T7" fmla="*/ 2147483647 h 357"/>
                  <a:gd name="T8" fmla="*/ 2147483647 w 359"/>
                  <a:gd name="T9" fmla="*/ 2147483647 h 357"/>
                  <a:gd name="T10" fmla="*/ 2147483647 w 359"/>
                  <a:gd name="T11" fmla="*/ 2147483647 h 357"/>
                  <a:gd name="T12" fmla="*/ 2147483647 w 359"/>
                  <a:gd name="T13" fmla="*/ 2147483647 h 357"/>
                  <a:gd name="T14" fmla="*/ 2147483647 w 359"/>
                  <a:gd name="T15" fmla="*/ 2147483647 h 357"/>
                  <a:gd name="T16" fmla="*/ 2147483647 w 359"/>
                  <a:gd name="T17" fmla="*/ 2147483647 h 357"/>
                  <a:gd name="T18" fmla="*/ 2147483647 w 359"/>
                  <a:gd name="T19" fmla="*/ 2147483647 h 357"/>
                  <a:gd name="T20" fmla="*/ 2147483647 w 359"/>
                  <a:gd name="T21" fmla="*/ 2147483647 h 357"/>
                  <a:gd name="T22" fmla="*/ 2147483647 w 359"/>
                  <a:gd name="T23" fmla="*/ 2147483647 h 357"/>
                  <a:gd name="T24" fmla="*/ 2147483647 w 359"/>
                  <a:gd name="T25" fmla="*/ 2147483647 h 357"/>
                  <a:gd name="T26" fmla="*/ 2147483647 w 359"/>
                  <a:gd name="T27" fmla="*/ 2147483647 h 357"/>
                  <a:gd name="T28" fmla="*/ 2147483647 w 359"/>
                  <a:gd name="T29" fmla="*/ 2147483647 h 357"/>
                  <a:gd name="T30" fmla="*/ 2147483647 w 359"/>
                  <a:gd name="T31" fmla="*/ 2147483647 h 357"/>
                  <a:gd name="T32" fmla="*/ 2147483647 w 359"/>
                  <a:gd name="T33" fmla="*/ 2147483647 h 357"/>
                  <a:gd name="T34" fmla="*/ 2147483647 w 359"/>
                  <a:gd name="T35" fmla="*/ 2147483647 h 357"/>
                  <a:gd name="T36" fmla="*/ 2147483647 w 359"/>
                  <a:gd name="T37" fmla="*/ 2147483647 h 357"/>
                  <a:gd name="T38" fmla="*/ 2147483647 w 359"/>
                  <a:gd name="T39" fmla="*/ 2147483647 h 357"/>
                  <a:gd name="T40" fmla="*/ 2147483647 w 359"/>
                  <a:gd name="T41" fmla="*/ 2147483647 h 357"/>
                  <a:gd name="T42" fmla="*/ 2147483647 w 359"/>
                  <a:gd name="T43" fmla="*/ 2147483647 h 357"/>
                  <a:gd name="T44" fmla="*/ 2147483647 w 359"/>
                  <a:gd name="T45" fmla="*/ 2147483647 h 357"/>
                  <a:gd name="T46" fmla="*/ 2147483647 w 359"/>
                  <a:gd name="T47" fmla="*/ 2147483647 h 357"/>
                  <a:gd name="T48" fmla="*/ 2147483647 w 359"/>
                  <a:gd name="T49" fmla="*/ 2147483647 h 357"/>
                  <a:gd name="T50" fmla="*/ 2147483647 w 359"/>
                  <a:gd name="T51" fmla="*/ 2147483647 h 357"/>
                  <a:gd name="T52" fmla="*/ 2147483647 w 359"/>
                  <a:gd name="T53" fmla="*/ 2147483647 h 357"/>
                  <a:gd name="T54" fmla="*/ 2147483647 w 359"/>
                  <a:gd name="T55" fmla="*/ 2147483647 h 357"/>
                  <a:gd name="T56" fmla="*/ 2147483647 w 359"/>
                  <a:gd name="T57" fmla="*/ 2147483647 h 357"/>
                  <a:gd name="T58" fmla="*/ 2147483647 w 359"/>
                  <a:gd name="T59" fmla="*/ 2147483647 h 357"/>
                  <a:gd name="T60" fmla="*/ 2147483647 w 359"/>
                  <a:gd name="T61" fmla="*/ 2147483647 h 357"/>
                  <a:gd name="T62" fmla="*/ 2147483647 w 359"/>
                  <a:gd name="T63" fmla="*/ 2147483647 h 357"/>
                  <a:gd name="T64" fmla="*/ 2147483647 w 359"/>
                  <a:gd name="T65" fmla="*/ 2147483647 h 357"/>
                  <a:gd name="T66" fmla="*/ 2147483647 w 359"/>
                  <a:gd name="T67" fmla="*/ 2147483647 h 357"/>
                  <a:gd name="T68" fmla="*/ 2147483647 w 359"/>
                  <a:gd name="T69" fmla="*/ 2147483647 h 357"/>
                  <a:gd name="T70" fmla="*/ 2147483647 w 359"/>
                  <a:gd name="T71" fmla="*/ 2147483647 h 357"/>
                  <a:gd name="T72" fmla="*/ 2147483647 w 359"/>
                  <a:gd name="T73" fmla="*/ 2147483647 h 357"/>
                  <a:gd name="T74" fmla="*/ 2147483647 w 359"/>
                  <a:gd name="T75" fmla="*/ 2147483647 h 357"/>
                  <a:gd name="T76" fmla="*/ 2147483647 w 359"/>
                  <a:gd name="T77" fmla="*/ 2147483647 h 357"/>
                  <a:gd name="T78" fmla="*/ 2147483647 w 359"/>
                  <a:gd name="T79" fmla="*/ 2147483647 h 357"/>
                  <a:gd name="T80" fmla="*/ 2147483647 w 359"/>
                  <a:gd name="T81" fmla="*/ 2147483647 h 357"/>
                  <a:gd name="T82" fmla="*/ 2147483647 w 359"/>
                  <a:gd name="T83" fmla="*/ 2147483647 h 357"/>
                  <a:gd name="T84" fmla="*/ 2147483647 w 359"/>
                  <a:gd name="T85" fmla="*/ 2147483647 h 357"/>
                  <a:gd name="T86" fmla="*/ 2147483647 w 359"/>
                  <a:gd name="T87" fmla="*/ 2147483647 h 357"/>
                  <a:gd name="T88" fmla="*/ 2147483647 w 359"/>
                  <a:gd name="T89" fmla="*/ 2147483647 h 357"/>
                  <a:gd name="T90" fmla="*/ 2147483647 w 359"/>
                  <a:gd name="T91" fmla="*/ 2147483647 h 357"/>
                  <a:gd name="T92" fmla="*/ 2147483647 w 359"/>
                  <a:gd name="T93" fmla="*/ 2147483647 h 357"/>
                  <a:gd name="T94" fmla="*/ 2147483647 w 359"/>
                  <a:gd name="T95" fmla="*/ 2147483647 h 357"/>
                  <a:gd name="T96" fmla="*/ 2147483647 w 359"/>
                  <a:gd name="T97" fmla="*/ 2147483647 h 357"/>
                  <a:gd name="T98" fmla="*/ 2147483647 w 359"/>
                  <a:gd name="T99" fmla="*/ 2147483647 h 357"/>
                  <a:gd name="T100" fmla="*/ 2147483647 w 359"/>
                  <a:gd name="T101" fmla="*/ 2147483647 h 357"/>
                  <a:gd name="T102" fmla="*/ 2147483647 w 359"/>
                  <a:gd name="T103" fmla="*/ 2147483647 h 357"/>
                  <a:gd name="T104" fmla="*/ 2147483647 w 359"/>
                  <a:gd name="T105" fmla="*/ 2147483647 h 357"/>
                  <a:gd name="T106" fmla="*/ 2147483647 w 359"/>
                  <a:gd name="T107" fmla="*/ 2147483647 h 357"/>
                  <a:gd name="T108" fmla="*/ 2147483647 w 359"/>
                  <a:gd name="T109" fmla="*/ 2147483647 h 357"/>
                  <a:gd name="T110" fmla="*/ 2147483647 w 359"/>
                  <a:gd name="T111" fmla="*/ 2147483647 h 357"/>
                  <a:gd name="T112" fmla="*/ 2147483647 w 359"/>
                  <a:gd name="T113" fmla="*/ 2147483647 h 357"/>
                  <a:gd name="T114" fmla="*/ 2147483647 w 359"/>
                  <a:gd name="T115" fmla="*/ 2147483647 h 35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59" h="357">
                    <a:moveTo>
                      <a:pt x="355" y="50"/>
                    </a:moveTo>
                    <a:cubicBezTo>
                      <a:pt x="359" y="34"/>
                      <a:pt x="356" y="21"/>
                      <a:pt x="347" y="12"/>
                    </a:cubicBezTo>
                    <a:cubicBezTo>
                      <a:pt x="338" y="3"/>
                      <a:pt x="325" y="0"/>
                      <a:pt x="310" y="4"/>
                    </a:cubicBezTo>
                    <a:cubicBezTo>
                      <a:pt x="296" y="7"/>
                      <a:pt x="282" y="16"/>
                      <a:pt x="270" y="28"/>
                    </a:cubicBezTo>
                    <a:cubicBezTo>
                      <a:pt x="267" y="30"/>
                      <a:pt x="265" y="33"/>
                      <a:pt x="263" y="35"/>
                    </a:cubicBezTo>
                    <a:cubicBezTo>
                      <a:pt x="243" y="33"/>
                      <a:pt x="243" y="33"/>
                      <a:pt x="243" y="33"/>
                    </a:cubicBezTo>
                    <a:cubicBezTo>
                      <a:pt x="239" y="33"/>
                      <a:pt x="235" y="36"/>
                      <a:pt x="234" y="40"/>
                    </a:cubicBezTo>
                    <a:cubicBezTo>
                      <a:pt x="234" y="45"/>
                      <a:pt x="237" y="49"/>
                      <a:pt x="242" y="49"/>
                    </a:cubicBezTo>
                    <a:cubicBezTo>
                      <a:pt x="253" y="50"/>
                      <a:pt x="253" y="50"/>
                      <a:pt x="253" y="50"/>
                    </a:cubicBezTo>
                    <a:cubicBezTo>
                      <a:pt x="249" y="57"/>
                      <a:pt x="247" y="63"/>
                      <a:pt x="246" y="70"/>
                    </a:cubicBezTo>
                    <a:cubicBezTo>
                      <a:pt x="242" y="71"/>
                      <a:pt x="239" y="73"/>
                      <a:pt x="236" y="76"/>
                    </a:cubicBezTo>
                    <a:cubicBezTo>
                      <a:pt x="223" y="89"/>
                      <a:pt x="223" y="110"/>
                      <a:pt x="236" y="123"/>
                    </a:cubicBezTo>
                    <a:cubicBezTo>
                      <a:pt x="242" y="129"/>
                      <a:pt x="251" y="133"/>
                      <a:pt x="260" y="133"/>
                    </a:cubicBezTo>
                    <a:cubicBezTo>
                      <a:pt x="268" y="133"/>
                      <a:pt x="277" y="129"/>
                      <a:pt x="283" y="123"/>
                    </a:cubicBezTo>
                    <a:cubicBezTo>
                      <a:pt x="296" y="110"/>
                      <a:pt x="296" y="89"/>
                      <a:pt x="283" y="76"/>
                    </a:cubicBezTo>
                    <a:cubicBezTo>
                      <a:pt x="277" y="71"/>
                      <a:pt x="270" y="67"/>
                      <a:pt x="263" y="67"/>
                    </a:cubicBezTo>
                    <a:cubicBezTo>
                      <a:pt x="265" y="62"/>
                      <a:pt x="267" y="57"/>
                      <a:pt x="271" y="52"/>
                    </a:cubicBezTo>
                    <a:cubicBezTo>
                      <a:pt x="304" y="55"/>
                      <a:pt x="304" y="55"/>
                      <a:pt x="304" y="55"/>
                    </a:cubicBezTo>
                    <a:cubicBezTo>
                      <a:pt x="315" y="161"/>
                      <a:pt x="315" y="161"/>
                      <a:pt x="315" y="161"/>
                    </a:cubicBezTo>
                    <a:cubicBezTo>
                      <a:pt x="137" y="339"/>
                      <a:pt x="137" y="339"/>
                      <a:pt x="137" y="339"/>
                    </a:cubicBezTo>
                    <a:cubicBezTo>
                      <a:pt x="134" y="342"/>
                      <a:pt x="129" y="342"/>
                      <a:pt x="126" y="339"/>
                    </a:cubicBezTo>
                    <a:cubicBezTo>
                      <a:pt x="20" y="233"/>
                      <a:pt x="20" y="233"/>
                      <a:pt x="20" y="233"/>
                    </a:cubicBezTo>
                    <a:cubicBezTo>
                      <a:pt x="17" y="230"/>
                      <a:pt x="17" y="225"/>
                      <a:pt x="20" y="222"/>
                    </a:cubicBezTo>
                    <a:cubicBezTo>
                      <a:pt x="198" y="44"/>
                      <a:pt x="198" y="44"/>
                      <a:pt x="198" y="44"/>
                    </a:cubicBezTo>
                    <a:cubicBezTo>
                      <a:pt x="210" y="45"/>
                      <a:pt x="210" y="45"/>
                      <a:pt x="210" y="45"/>
                    </a:cubicBezTo>
                    <a:cubicBezTo>
                      <a:pt x="214" y="46"/>
                      <a:pt x="218" y="43"/>
                      <a:pt x="219" y="38"/>
                    </a:cubicBezTo>
                    <a:cubicBezTo>
                      <a:pt x="219" y="34"/>
                      <a:pt x="216" y="30"/>
                      <a:pt x="212" y="29"/>
                    </a:cubicBezTo>
                    <a:cubicBezTo>
                      <a:pt x="197" y="28"/>
                      <a:pt x="197" y="28"/>
                      <a:pt x="197" y="28"/>
                    </a:cubicBezTo>
                    <a:cubicBezTo>
                      <a:pt x="194" y="27"/>
                      <a:pt x="192" y="28"/>
                      <a:pt x="190" y="30"/>
                    </a:cubicBezTo>
                    <a:cubicBezTo>
                      <a:pt x="9" y="211"/>
                      <a:pt x="9" y="211"/>
                      <a:pt x="9" y="211"/>
                    </a:cubicBezTo>
                    <a:cubicBezTo>
                      <a:pt x="0" y="220"/>
                      <a:pt x="0" y="235"/>
                      <a:pt x="9" y="245"/>
                    </a:cubicBezTo>
                    <a:cubicBezTo>
                      <a:pt x="114" y="350"/>
                      <a:pt x="114" y="350"/>
                      <a:pt x="114" y="350"/>
                    </a:cubicBezTo>
                    <a:cubicBezTo>
                      <a:pt x="119" y="355"/>
                      <a:pt x="125" y="357"/>
                      <a:pt x="131" y="357"/>
                    </a:cubicBezTo>
                    <a:cubicBezTo>
                      <a:pt x="137" y="357"/>
                      <a:pt x="143" y="355"/>
                      <a:pt x="148" y="350"/>
                    </a:cubicBezTo>
                    <a:cubicBezTo>
                      <a:pt x="329" y="169"/>
                      <a:pt x="329" y="169"/>
                      <a:pt x="329" y="169"/>
                    </a:cubicBezTo>
                    <a:cubicBezTo>
                      <a:pt x="331" y="167"/>
                      <a:pt x="332" y="165"/>
                      <a:pt x="331" y="163"/>
                    </a:cubicBezTo>
                    <a:cubicBezTo>
                      <a:pt x="324" y="96"/>
                      <a:pt x="324" y="96"/>
                      <a:pt x="324" y="96"/>
                    </a:cubicBezTo>
                    <a:cubicBezTo>
                      <a:pt x="325" y="96"/>
                      <a:pt x="325" y="95"/>
                      <a:pt x="326" y="95"/>
                    </a:cubicBezTo>
                    <a:cubicBezTo>
                      <a:pt x="340" y="80"/>
                      <a:pt x="350" y="65"/>
                      <a:pt x="355" y="50"/>
                    </a:cubicBezTo>
                    <a:close/>
                    <a:moveTo>
                      <a:pt x="260" y="117"/>
                    </a:moveTo>
                    <a:cubicBezTo>
                      <a:pt x="255" y="117"/>
                      <a:pt x="251" y="115"/>
                      <a:pt x="247" y="112"/>
                    </a:cubicBezTo>
                    <a:cubicBezTo>
                      <a:pt x="242" y="106"/>
                      <a:pt x="241" y="97"/>
                      <a:pt x="245" y="90"/>
                    </a:cubicBezTo>
                    <a:cubicBezTo>
                      <a:pt x="247" y="96"/>
                      <a:pt x="250" y="101"/>
                      <a:pt x="254" y="105"/>
                    </a:cubicBezTo>
                    <a:cubicBezTo>
                      <a:pt x="258" y="109"/>
                      <a:pt x="263" y="112"/>
                      <a:pt x="269" y="114"/>
                    </a:cubicBezTo>
                    <a:cubicBezTo>
                      <a:pt x="266" y="115"/>
                      <a:pt x="263" y="117"/>
                      <a:pt x="260" y="117"/>
                    </a:cubicBezTo>
                    <a:close/>
                    <a:moveTo>
                      <a:pt x="272" y="88"/>
                    </a:moveTo>
                    <a:cubicBezTo>
                      <a:pt x="275" y="91"/>
                      <a:pt x="276" y="95"/>
                      <a:pt x="276" y="99"/>
                    </a:cubicBezTo>
                    <a:cubicBezTo>
                      <a:pt x="272" y="98"/>
                      <a:pt x="268" y="97"/>
                      <a:pt x="265" y="94"/>
                    </a:cubicBezTo>
                    <a:cubicBezTo>
                      <a:pt x="262" y="91"/>
                      <a:pt x="261" y="87"/>
                      <a:pt x="260" y="83"/>
                    </a:cubicBezTo>
                    <a:cubicBezTo>
                      <a:pt x="265" y="83"/>
                      <a:pt x="269" y="85"/>
                      <a:pt x="272" y="88"/>
                    </a:cubicBezTo>
                    <a:close/>
                    <a:moveTo>
                      <a:pt x="322" y="75"/>
                    </a:moveTo>
                    <a:cubicBezTo>
                      <a:pt x="319" y="47"/>
                      <a:pt x="319" y="47"/>
                      <a:pt x="319" y="47"/>
                    </a:cubicBezTo>
                    <a:cubicBezTo>
                      <a:pt x="319" y="43"/>
                      <a:pt x="316" y="40"/>
                      <a:pt x="312" y="40"/>
                    </a:cubicBezTo>
                    <a:cubicBezTo>
                      <a:pt x="283" y="37"/>
                      <a:pt x="283" y="37"/>
                      <a:pt x="283" y="37"/>
                    </a:cubicBezTo>
                    <a:cubicBezTo>
                      <a:pt x="293" y="28"/>
                      <a:pt x="303" y="22"/>
                      <a:pt x="314" y="20"/>
                    </a:cubicBezTo>
                    <a:cubicBezTo>
                      <a:pt x="319" y="18"/>
                      <a:pt x="330" y="17"/>
                      <a:pt x="336" y="23"/>
                    </a:cubicBezTo>
                    <a:cubicBezTo>
                      <a:pt x="342" y="30"/>
                      <a:pt x="341" y="40"/>
                      <a:pt x="339" y="46"/>
                    </a:cubicBezTo>
                    <a:cubicBezTo>
                      <a:pt x="337" y="55"/>
                      <a:pt x="331" y="65"/>
                      <a:pt x="322"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50" name="Freeform 6"/>
              <p:cNvSpPr>
                <a:spLocks noEditPoints="1"/>
              </p:cNvSpPr>
              <p:nvPr/>
            </p:nvSpPr>
            <p:spPr bwMode="auto">
              <a:xfrm>
                <a:off x="4740824" y="2460874"/>
                <a:ext cx="115785" cy="151367"/>
              </a:xfrm>
              <a:custGeom>
                <a:avLst/>
                <a:gdLst>
                  <a:gd name="T0" fmla="*/ 2147483647 w 292"/>
                  <a:gd name="T1" fmla="*/ 2147483647 h 391"/>
                  <a:gd name="T2" fmla="*/ 2147483647 w 292"/>
                  <a:gd name="T3" fmla="*/ 0 h 391"/>
                  <a:gd name="T4" fmla="*/ 0 w 292"/>
                  <a:gd name="T5" fmla="*/ 2147483647 h 391"/>
                  <a:gd name="T6" fmla="*/ 2147483647 w 292"/>
                  <a:gd name="T7" fmla="*/ 2147483647 h 391"/>
                  <a:gd name="T8" fmla="*/ 2147483647 w 292"/>
                  <a:gd name="T9" fmla="*/ 2147483647 h 391"/>
                  <a:gd name="T10" fmla="*/ 2147483647 w 292"/>
                  <a:gd name="T11" fmla="*/ 2147483647 h 391"/>
                  <a:gd name="T12" fmla="*/ 2147483647 w 292"/>
                  <a:gd name="T13" fmla="*/ 2147483647 h 391"/>
                  <a:gd name="T14" fmla="*/ 2147483647 w 292"/>
                  <a:gd name="T15" fmla="*/ 2147483647 h 391"/>
                  <a:gd name="T16" fmla="*/ 2147483647 w 292"/>
                  <a:gd name="T17" fmla="*/ 2147483647 h 391"/>
                  <a:gd name="T18" fmla="*/ 2147483647 w 292"/>
                  <a:gd name="T19" fmla="*/ 2147483647 h 391"/>
                  <a:gd name="T20" fmla="*/ 2147483647 w 292"/>
                  <a:gd name="T21" fmla="*/ 2147483647 h 391"/>
                  <a:gd name="T22" fmla="*/ 2147483647 w 292"/>
                  <a:gd name="T23" fmla="*/ 2147483647 h 391"/>
                  <a:gd name="T24" fmla="*/ 2147483647 w 292"/>
                  <a:gd name="T25" fmla="*/ 2147483647 h 391"/>
                  <a:gd name="T26" fmla="*/ 2147483647 w 292"/>
                  <a:gd name="T27" fmla="*/ 2147483647 h 391"/>
                  <a:gd name="T28" fmla="*/ 2147483647 w 292"/>
                  <a:gd name="T29" fmla="*/ 2147483647 h 391"/>
                  <a:gd name="T30" fmla="*/ 2147483647 w 292"/>
                  <a:gd name="T31" fmla="*/ 2147483647 h 391"/>
                  <a:gd name="T32" fmla="*/ 2147483647 w 292"/>
                  <a:gd name="T33" fmla="*/ 2147483647 h 391"/>
                  <a:gd name="T34" fmla="*/ 2147483647 w 292"/>
                  <a:gd name="T35" fmla="*/ 2147483647 h 391"/>
                  <a:gd name="T36" fmla="*/ 2147483647 w 292"/>
                  <a:gd name="T37" fmla="*/ 2147483647 h 391"/>
                  <a:gd name="T38" fmla="*/ 2147483647 w 292"/>
                  <a:gd name="T39" fmla="*/ 2147483647 h 391"/>
                  <a:gd name="T40" fmla="*/ 2147483647 w 292"/>
                  <a:gd name="T41" fmla="*/ 2147483647 h 391"/>
                  <a:gd name="T42" fmla="*/ 2147483647 w 292"/>
                  <a:gd name="T43" fmla="*/ 2147483647 h 391"/>
                  <a:gd name="T44" fmla="*/ 2147483647 w 292"/>
                  <a:gd name="T45" fmla="*/ 2147483647 h 391"/>
                  <a:gd name="T46" fmla="*/ 2147483647 w 292"/>
                  <a:gd name="T47" fmla="*/ 2147483647 h 391"/>
                  <a:gd name="T48" fmla="*/ 2147483647 w 292"/>
                  <a:gd name="T49" fmla="*/ 2147483647 h 391"/>
                  <a:gd name="T50" fmla="*/ 2147483647 w 292"/>
                  <a:gd name="T51" fmla="*/ 2147483647 h 391"/>
                  <a:gd name="T52" fmla="*/ 2147483647 w 292"/>
                  <a:gd name="T53" fmla="*/ 2147483647 h 391"/>
                  <a:gd name="T54" fmla="*/ 2147483647 w 292"/>
                  <a:gd name="T55" fmla="*/ 2147483647 h 391"/>
                  <a:gd name="T56" fmla="*/ 2147483647 w 292"/>
                  <a:gd name="T57" fmla="*/ 2147483647 h 391"/>
                  <a:gd name="T58" fmla="*/ 2147483647 w 292"/>
                  <a:gd name="T59" fmla="*/ 2147483647 h 391"/>
                  <a:gd name="T60" fmla="*/ 2147483647 w 292"/>
                  <a:gd name="T61" fmla="*/ 2147483647 h 391"/>
                  <a:gd name="T62" fmla="*/ 2147483647 w 292"/>
                  <a:gd name="T63" fmla="*/ 2147483647 h 391"/>
                  <a:gd name="T64" fmla="*/ 2147483647 w 292"/>
                  <a:gd name="T65" fmla="*/ 2147483647 h 391"/>
                  <a:gd name="T66" fmla="*/ 2147483647 w 292"/>
                  <a:gd name="T67" fmla="*/ 2147483647 h 391"/>
                  <a:gd name="T68" fmla="*/ 2147483647 w 292"/>
                  <a:gd name="T69" fmla="*/ 2147483647 h 391"/>
                  <a:gd name="T70" fmla="*/ 2147483647 w 292"/>
                  <a:gd name="T71" fmla="*/ 2147483647 h 391"/>
                  <a:gd name="T72" fmla="*/ 2147483647 w 292"/>
                  <a:gd name="T73" fmla="*/ 2147483647 h 391"/>
                  <a:gd name="T74" fmla="*/ 2147483647 w 292"/>
                  <a:gd name="T75" fmla="*/ 2147483647 h 391"/>
                  <a:gd name="T76" fmla="*/ 2147483647 w 292"/>
                  <a:gd name="T77" fmla="*/ 2147483647 h 391"/>
                  <a:gd name="T78" fmla="*/ 2147483647 w 292"/>
                  <a:gd name="T79" fmla="*/ 2147483647 h 391"/>
                  <a:gd name="T80" fmla="*/ 2147483647 w 292"/>
                  <a:gd name="T81" fmla="*/ 2147483647 h 391"/>
                  <a:gd name="T82" fmla="*/ 2147483647 w 292"/>
                  <a:gd name="T83" fmla="*/ 2147483647 h 391"/>
                  <a:gd name="T84" fmla="*/ 2147483647 w 292"/>
                  <a:gd name="T85" fmla="*/ 2147483647 h 391"/>
                  <a:gd name="T86" fmla="*/ 2147483647 w 292"/>
                  <a:gd name="T87" fmla="*/ 2147483647 h 391"/>
                  <a:gd name="T88" fmla="*/ 2147483647 w 292"/>
                  <a:gd name="T89" fmla="*/ 2147483647 h 391"/>
                  <a:gd name="T90" fmla="*/ 2147483647 w 292"/>
                  <a:gd name="T91" fmla="*/ 2147483647 h 391"/>
                  <a:gd name="T92" fmla="*/ 2147483647 w 292"/>
                  <a:gd name="T93" fmla="*/ 2147483647 h 391"/>
                  <a:gd name="T94" fmla="*/ 2147483647 w 292"/>
                  <a:gd name="T95" fmla="*/ 2147483647 h 39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292" h="391">
                    <a:moveTo>
                      <a:pt x="284" y="84"/>
                    </a:moveTo>
                    <a:cubicBezTo>
                      <a:pt x="288" y="84"/>
                      <a:pt x="292" y="80"/>
                      <a:pt x="292" y="76"/>
                    </a:cubicBezTo>
                    <a:cubicBezTo>
                      <a:pt x="292" y="49"/>
                      <a:pt x="292" y="49"/>
                      <a:pt x="292" y="49"/>
                    </a:cubicBezTo>
                    <a:cubicBezTo>
                      <a:pt x="292" y="22"/>
                      <a:pt x="270" y="0"/>
                      <a:pt x="244" y="0"/>
                    </a:cubicBezTo>
                    <a:cubicBezTo>
                      <a:pt x="48" y="0"/>
                      <a:pt x="48" y="0"/>
                      <a:pt x="48" y="0"/>
                    </a:cubicBezTo>
                    <a:cubicBezTo>
                      <a:pt x="22" y="0"/>
                      <a:pt x="0" y="22"/>
                      <a:pt x="0" y="49"/>
                    </a:cubicBezTo>
                    <a:cubicBezTo>
                      <a:pt x="0" y="343"/>
                      <a:pt x="0" y="343"/>
                      <a:pt x="0" y="343"/>
                    </a:cubicBezTo>
                    <a:cubicBezTo>
                      <a:pt x="0" y="370"/>
                      <a:pt x="22" y="391"/>
                      <a:pt x="48" y="391"/>
                    </a:cubicBezTo>
                    <a:cubicBezTo>
                      <a:pt x="244" y="391"/>
                      <a:pt x="244" y="391"/>
                      <a:pt x="244" y="391"/>
                    </a:cubicBezTo>
                    <a:cubicBezTo>
                      <a:pt x="270" y="391"/>
                      <a:pt x="292" y="370"/>
                      <a:pt x="292" y="343"/>
                    </a:cubicBezTo>
                    <a:cubicBezTo>
                      <a:pt x="292" y="108"/>
                      <a:pt x="292" y="108"/>
                      <a:pt x="292" y="108"/>
                    </a:cubicBezTo>
                    <a:cubicBezTo>
                      <a:pt x="292" y="103"/>
                      <a:pt x="288" y="100"/>
                      <a:pt x="284" y="100"/>
                    </a:cubicBezTo>
                    <a:cubicBezTo>
                      <a:pt x="280" y="100"/>
                      <a:pt x="276" y="103"/>
                      <a:pt x="276" y="108"/>
                    </a:cubicBezTo>
                    <a:cubicBezTo>
                      <a:pt x="276" y="343"/>
                      <a:pt x="276" y="343"/>
                      <a:pt x="276" y="343"/>
                    </a:cubicBezTo>
                    <a:cubicBezTo>
                      <a:pt x="276" y="361"/>
                      <a:pt x="262" y="375"/>
                      <a:pt x="244" y="375"/>
                    </a:cubicBezTo>
                    <a:cubicBezTo>
                      <a:pt x="48" y="375"/>
                      <a:pt x="48" y="375"/>
                      <a:pt x="48" y="375"/>
                    </a:cubicBezTo>
                    <a:cubicBezTo>
                      <a:pt x="30" y="375"/>
                      <a:pt x="16" y="361"/>
                      <a:pt x="16" y="343"/>
                    </a:cubicBezTo>
                    <a:cubicBezTo>
                      <a:pt x="16" y="49"/>
                      <a:pt x="16" y="49"/>
                      <a:pt x="16" y="49"/>
                    </a:cubicBezTo>
                    <a:cubicBezTo>
                      <a:pt x="16" y="31"/>
                      <a:pt x="30" y="16"/>
                      <a:pt x="48" y="16"/>
                    </a:cubicBezTo>
                    <a:cubicBezTo>
                      <a:pt x="244" y="16"/>
                      <a:pt x="244" y="16"/>
                      <a:pt x="244" y="16"/>
                    </a:cubicBezTo>
                    <a:cubicBezTo>
                      <a:pt x="262" y="16"/>
                      <a:pt x="276" y="31"/>
                      <a:pt x="276" y="49"/>
                    </a:cubicBezTo>
                    <a:cubicBezTo>
                      <a:pt x="276" y="76"/>
                      <a:pt x="276" y="76"/>
                      <a:pt x="276" y="76"/>
                    </a:cubicBezTo>
                    <a:cubicBezTo>
                      <a:pt x="276" y="80"/>
                      <a:pt x="280" y="84"/>
                      <a:pt x="284" y="84"/>
                    </a:cubicBezTo>
                    <a:close/>
                    <a:moveTo>
                      <a:pt x="216" y="70"/>
                    </a:moveTo>
                    <a:cubicBezTo>
                      <a:pt x="214" y="68"/>
                      <a:pt x="211" y="67"/>
                      <a:pt x="209" y="68"/>
                    </a:cubicBezTo>
                    <a:cubicBezTo>
                      <a:pt x="120" y="89"/>
                      <a:pt x="120" y="89"/>
                      <a:pt x="120" y="89"/>
                    </a:cubicBezTo>
                    <a:cubicBezTo>
                      <a:pt x="117" y="89"/>
                      <a:pt x="114" y="93"/>
                      <a:pt x="114" y="96"/>
                    </a:cubicBezTo>
                    <a:cubicBezTo>
                      <a:pt x="114" y="165"/>
                      <a:pt x="114" y="165"/>
                      <a:pt x="114" y="165"/>
                    </a:cubicBezTo>
                    <a:cubicBezTo>
                      <a:pt x="110" y="164"/>
                      <a:pt x="106" y="163"/>
                      <a:pt x="102" y="163"/>
                    </a:cubicBezTo>
                    <a:cubicBezTo>
                      <a:pt x="86" y="163"/>
                      <a:pt x="73" y="175"/>
                      <a:pt x="73" y="191"/>
                    </a:cubicBezTo>
                    <a:cubicBezTo>
                      <a:pt x="73" y="207"/>
                      <a:pt x="86" y="219"/>
                      <a:pt x="102" y="219"/>
                    </a:cubicBezTo>
                    <a:cubicBezTo>
                      <a:pt x="117" y="219"/>
                      <a:pt x="130" y="207"/>
                      <a:pt x="130" y="191"/>
                    </a:cubicBezTo>
                    <a:cubicBezTo>
                      <a:pt x="130" y="191"/>
                      <a:pt x="130" y="191"/>
                      <a:pt x="130" y="191"/>
                    </a:cubicBezTo>
                    <a:cubicBezTo>
                      <a:pt x="130" y="103"/>
                      <a:pt x="130" y="103"/>
                      <a:pt x="130" y="103"/>
                    </a:cubicBezTo>
                    <a:cubicBezTo>
                      <a:pt x="203" y="86"/>
                      <a:pt x="203" y="86"/>
                      <a:pt x="203" y="86"/>
                    </a:cubicBezTo>
                    <a:cubicBezTo>
                      <a:pt x="203" y="143"/>
                      <a:pt x="203" y="143"/>
                      <a:pt x="203" y="143"/>
                    </a:cubicBezTo>
                    <a:cubicBezTo>
                      <a:pt x="199" y="141"/>
                      <a:pt x="195" y="140"/>
                      <a:pt x="190" y="140"/>
                    </a:cubicBezTo>
                    <a:cubicBezTo>
                      <a:pt x="175" y="140"/>
                      <a:pt x="162" y="153"/>
                      <a:pt x="162" y="169"/>
                    </a:cubicBezTo>
                    <a:cubicBezTo>
                      <a:pt x="162" y="184"/>
                      <a:pt x="175" y="197"/>
                      <a:pt x="190" y="197"/>
                    </a:cubicBezTo>
                    <a:cubicBezTo>
                      <a:pt x="206" y="197"/>
                      <a:pt x="219" y="184"/>
                      <a:pt x="219" y="169"/>
                    </a:cubicBezTo>
                    <a:cubicBezTo>
                      <a:pt x="219" y="76"/>
                      <a:pt x="219" y="76"/>
                      <a:pt x="219" y="76"/>
                    </a:cubicBezTo>
                    <a:cubicBezTo>
                      <a:pt x="219" y="73"/>
                      <a:pt x="218" y="71"/>
                      <a:pt x="216" y="70"/>
                    </a:cubicBezTo>
                    <a:close/>
                    <a:moveTo>
                      <a:pt x="56" y="295"/>
                    </a:moveTo>
                    <a:cubicBezTo>
                      <a:pt x="49" y="295"/>
                      <a:pt x="44" y="300"/>
                      <a:pt x="44" y="307"/>
                    </a:cubicBezTo>
                    <a:cubicBezTo>
                      <a:pt x="44" y="333"/>
                      <a:pt x="44" y="333"/>
                      <a:pt x="44" y="333"/>
                    </a:cubicBezTo>
                    <a:cubicBezTo>
                      <a:pt x="44" y="340"/>
                      <a:pt x="49" y="345"/>
                      <a:pt x="56" y="345"/>
                    </a:cubicBezTo>
                    <a:cubicBezTo>
                      <a:pt x="82" y="345"/>
                      <a:pt x="82" y="345"/>
                      <a:pt x="82" y="345"/>
                    </a:cubicBezTo>
                    <a:cubicBezTo>
                      <a:pt x="88" y="345"/>
                      <a:pt x="93" y="340"/>
                      <a:pt x="93" y="333"/>
                    </a:cubicBezTo>
                    <a:cubicBezTo>
                      <a:pt x="93" y="307"/>
                      <a:pt x="93" y="307"/>
                      <a:pt x="93" y="307"/>
                    </a:cubicBezTo>
                    <a:cubicBezTo>
                      <a:pt x="93" y="300"/>
                      <a:pt x="88" y="295"/>
                      <a:pt x="82" y="295"/>
                    </a:cubicBezTo>
                    <a:lnTo>
                      <a:pt x="56" y="295"/>
                    </a:lnTo>
                    <a:close/>
                    <a:moveTo>
                      <a:pt x="120" y="285"/>
                    </a:moveTo>
                    <a:cubicBezTo>
                      <a:pt x="114" y="285"/>
                      <a:pt x="109" y="290"/>
                      <a:pt x="109" y="296"/>
                    </a:cubicBezTo>
                    <a:cubicBezTo>
                      <a:pt x="109" y="343"/>
                      <a:pt x="109" y="343"/>
                      <a:pt x="109" y="343"/>
                    </a:cubicBezTo>
                    <a:cubicBezTo>
                      <a:pt x="109" y="350"/>
                      <a:pt x="114" y="355"/>
                      <a:pt x="120" y="355"/>
                    </a:cubicBezTo>
                    <a:cubicBezTo>
                      <a:pt x="172" y="355"/>
                      <a:pt x="172" y="355"/>
                      <a:pt x="172" y="355"/>
                    </a:cubicBezTo>
                    <a:cubicBezTo>
                      <a:pt x="178" y="355"/>
                      <a:pt x="183" y="350"/>
                      <a:pt x="183" y="343"/>
                    </a:cubicBezTo>
                    <a:cubicBezTo>
                      <a:pt x="183" y="296"/>
                      <a:pt x="183" y="296"/>
                      <a:pt x="183" y="296"/>
                    </a:cubicBezTo>
                    <a:cubicBezTo>
                      <a:pt x="183" y="290"/>
                      <a:pt x="178" y="285"/>
                      <a:pt x="172" y="285"/>
                    </a:cubicBezTo>
                    <a:lnTo>
                      <a:pt x="120" y="285"/>
                    </a:lnTo>
                    <a:close/>
                    <a:moveTo>
                      <a:pt x="161" y="321"/>
                    </a:moveTo>
                    <a:cubicBezTo>
                      <a:pt x="134" y="336"/>
                      <a:pt x="134" y="336"/>
                      <a:pt x="134" y="336"/>
                    </a:cubicBezTo>
                    <a:cubicBezTo>
                      <a:pt x="134" y="336"/>
                      <a:pt x="133" y="336"/>
                      <a:pt x="133" y="336"/>
                    </a:cubicBezTo>
                    <a:cubicBezTo>
                      <a:pt x="133" y="336"/>
                      <a:pt x="132" y="335"/>
                      <a:pt x="132" y="335"/>
                    </a:cubicBezTo>
                    <a:cubicBezTo>
                      <a:pt x="132" y="305"/>
                      <a:pt x="132" y="305"/>
                      <a:pt x="132" y="305"/>
                    </a:cubicBezTo>
                    <a:cubicBezTo>
                      <a:pt x="132" y="304"/>
                      <a:pt x="133" y="304"/>
                      <a:pt x="133" y="304"/>
                    </a:cubicBezTo>
                    <a:cubicBezTo>
                      <a:pt x="133" y="303"/>
                      <a:pt x="134" y="303"/>
                      <a:pt x="134" y="304"/>
                    </a:cubicBezTo>
                    <a:cubicBezTo>
                      <a:pt x="161" y="319"/>
                      <a:pt x="161" y="319"/>
                      <a:pt x="161" y="319"/>
                    </a:cubicBezTo>
                    <a:cubicBezTo>
                      <a:pt x="161" y="319"/>
                      <a:pt x="161" y="319"/>
                      <a:pt x="161" y="320"/>
                    </a:cubicBezTo>
                    <a:cubicBezTo>
                      <a:pt x="161" y="320"/>
                      <a:pt x="161" y="321"/>
                      <a:pt x="161" y="321"/>
                    </a:cubicBezTo>
                    <a:close/>
                    <a:moveTo>
                      <a:pt x="262" y="233"/>
                    </a:moveTo>
                    <a:cubicBezTo>
                      <a:pt x="262" y="62"/>
                      <a:pt x="262" y="62"/>
                      <a:pt x="262" y="62"/>
                    </a:cubicBezTo>
                    <a:cubicBezTo>
                      <a:pt x="262" y="45"/>
                      <a:pt x="248" y="32"/>
                      <a:pt x="231" y="32"/>
                    </a:cubicBezTo>
                    <a:cubicBezTo>
                      <a:pt x="61" y="32"/>
                      <a:pt x="61" y="32"/>
                      <a:pt x="61" y="32"/>
                    </a:cubicBezTo>
                    <a:cubicBezTo>
                      <a:pt x="44" y="32"/>
                      <a:pt x="30" y="45"/>
                      <a:pt x="30" y="62"/>
                    </a:cubicBezTo>
                    <a:cubicBezTo>
                      <a:pt x="30" y="233"/>
                      <a:pt x="30" y="233"/>
                      <a:pt x="30" y="233"/>
                    </a:cubicBezTo>
                    <a:cubicBezTo>
                      <a:pt x="30" y="250"/>
                      <a:pt x="44" y="264"/>
                      <a:pt x="61" y="264"/>
                    </a:cubicBezTo>
                    <a:cubicBezTo>
                      <a:pt x="231" y="264"/>
                      <a:pt x="231" y="264"/>
                      <a:pt x="231" y="264"/>
                    </a:cubicBezTo>
                    <a:cubicBezTo>
                      <a:pt x="248" y="264"/>
                      <a:pt x="262" y="250"/>
                      <a:pt x="262" y="233"/>
                    </a:cubicBezTo>
                    <a:close/>
                    <a:moveTo>
                      <a:pt x="246" y="233"/>
                    </a:moveTo>
                    <a:cubicBezTo>
                      <a:pt x="246" y="241"/>
                      <a:pt x="239" y="248"/>
                      <a:pt x="231" y="248"/>
                    </a:cubicBezTo>
                    <a:cubicBezTo>
                      <a:pt x="61" y="248"/>
                      <a:pt x="61" y="248"/>
                      <a:pt x="61" y="248"/>
                    </a:cubicBezTo>
                    <a:cubicBezTo>
                      <a:pt x="53" y="248"/>
                      <a:pt x="46" y="241"/>
                      <a:pt x="46" y="233"/>
                    </a:cubicBezTo>
                    <a:cubicBezTo>
                      <a:pt x="46" y="62"/>
                      <a:pt x="46" y="62"/>
                      <a:pt x="46" y="62"/>
                    </a:cubicBezTo>
                    <a:cubicBezTo>
                      <a:pt x="46" y="54"/>
                      <a:pt x="53" y="48"/>
                      <a:pt x="61" y="48"/>
                    </a:cubicBezTo>
                    <a:cubicBezTo>
                      <a:pt x="231" y="48"/>
                      <a:pt x="231" y="48"/>
                      <a:pt x="231" y="48"/>
                    </a:cubicBezTo>
                    <a:cubicBezTo>
                      <a:pt x="239" y="48"/>
                      <a:pt x="246" y="54"/>
                      <a:pt x="246" y="62"/>
                    </a:cubicBezTo>
                    <a:lnTo>
                      <a:pt x="246" y="233"/>
                    </a:lnTo>
                    <a:close/>
                    <a:moveTo>
                      <a:pt x="210" y="295"/>
                    </a:moveTo>
                    <a:cubicBezTo>
                      <a:pt x="203" y="295"/>
                      <a:pt x="198" y="300"/>
                      <a:pt x="198" y="307"/>
                    </a:cubicBezTo>
                    <a:cubicBezTo>
                      <a:pt x="198" y="333"/>
                      <a:pt x="198" y="333"/>
                      <a:pt x="198" y="333"/>
                    </a:cubicBezTo>
                    <a:cubicBezTo>
                      <a:pt x="198" y="340"/>
                      <a:pt x="203" y="345"/>
                      <a:pt x="210" y="345"/>
                    </a:cubicBezTo>
                    <a:cubicBezTo>
                      <a:pt x="235" y="345"/>
                      <a:pt x="235" y="345"/>
                      <a:pt x="235" y="345"/>
                    </a:cubicBezTo>
                    <a:cubicBezTo>
                      <a:pt x="242" y="345"/>
                      <a:pt x="247" y="340"/>
                      <a:pt x="247" y="333"/>
                    </a:cubicBezTo>
                    <a:cubicBezTo>
                      <a:pt x="247" y="307"/>
                      <a:pt x="247" y="307"/>
                      <a:pt x="247" y="307"/>
                    </a:cubicBezTo>
                    <a:cubicBezTo>
                      <a:pt x="247" y="300"/>
                      <a:pt x="242" y="295"/>
                      <a:pt x="235" y="295"/>
                    </a:cubicBezTo>
                    <a:lnTo>
                      <a:pt x="210" y="2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51" name="Freeform 3"/>
              <p:cNvSpPr>
                <a:spLocks noChangeAspect="1" noEditPoints="1"/>
              </p:cNvSpPr>
              <p:nvPr/>
            </p:nvSpPr>
            <p:spPr bwMode="auto">
              <a:xfrm>
                <a:off x="5912980" y="2478255"/>
                <a:ext cx="136896" cy="150218"/>
              </a:xfrm>
              <a:custGeom>
                <a:avLst/>
                <a:gdLst>
                  <a:gd name="T0" fmla="*/ 2147483647 w 346"/>
                  <a:gd name="T1" fmla="*/ 2147483647 h 388"/>
                  <a:gd name="T2" fmla="*/ 2147483647 w 346"/>
                  <a:gd name="T3" fmla="*/ 2147483647 h 388"/>
                  <a:gd name="T4" fmla="*/ 2147483647 w 346"/>
                  <a:gd name="T5" fmla="*/ 2147483647 h 388"/>
                  <a:gd name="T6" fmla="*/ 2147483647 w 346"/>
                  <a:gd name="T7" fmla="*/ 2147483647 h 388"/>
                  <a:gd name="T8" fmla="*/ 2147483647 w 346"/>
                  <a:gd name="T9" fmla="*/ 2147483647 h 388"/>
                  <a:gd name="T10" fmla="*/ 2147483647 w 346"/>
                  <a:gd name="T11" fmla="*/ 2147483647 h 388"/>
                  <a:gd name="T12" fmla="*/ 2147483647 w 346"/>
                  <a:gd name="T13" fmla="*/ 2147483647 h 388"/>
                  <a:gd name="T14" fmla="*/ 2147483647 w 346"/>
                  <a:gd name="T15" fmla="*/ 2147483647 h 388"/>
                  <a:gd name="T16" fmla="*/ 2147483647 w 346"/>
                  <a:gd name="T17" fmla="*/ 2147483647 h 388"/>
                  <a:gd name="T18" fmla="*/ 2147483647 w 346"/>
                  <a:gd name="T19" fmla="*/ 2147483647 h 388"/>
                  <a:gd name="T20" fmla="*/ 2147483647 w 346"/>
                  <a:gd name="T21" fmla="*/ 2147483647 h 388"/>
                  <a:gd name="T22" fmla="*/ 2147483647 w 346"/>
                  <a:gd name="T23" fmla="*/ 2147483647 h 388"/>
                  <a:gd name="T24" fmla="*/ 2147483647 w 346"/>
                  <a:gd name="T25" fmla="*/ 2147483647 h 388"/>
                  <a:gd name="T26" fmla="*/ 2147483647 w 346"/>
                  <a:gd name="T27" fmla="*/ 2147483647 h 388"/>
                  <a:gd name="T28" fmla="*/ 2147483647 w 346"/>
                  <a:gd name="T29" fmla="*/ 2147483647 h 388"/>
                  <a:gd name="T30" fmla="*/ 2147483647 w 346"/>
                  <a:gd name="T31" fmla="*/ 2147483647 h 388"/>
                  <a:gd name="T32" fmla="*/ 2147483647 w 346"/>
                  <a:gd name="T33" fmla="*/ 2147483647 h 388"/>
                  <a:gd name="T34" fmla="*/ 2147483647 w 346"/>
                  <a:gd name="T35" fmla="*/ 2147483647 h 388"/>
                  <a:gd name="T36" fmla="*/ 2147483647 w 346"/>
                  <a:gd name="T37" fmla="*/ 2147483647 h 388"/>
                  <a:gd name="T38" fmla="*/ 2147483647 w 346"/>
                  <a:gd name="T39" fmla="*/ 2147483647 h 388"/>
                  <a:gd name="T40" fmla="*/ 2147483647 w 346"/>
                  <a:gd name="T41" fmla="*/ 2147483647 h 388"/>
                  <a:gd name="T42" fmla="*/ 2147483647 w 346"/>
                  <a:gd name="T43" fmla="*/ 2147483647 h 388"/>
                  <a:gd name="T44" fmla="*/ 2147483647 w 346"/>
                  <a:gd name="T45" fmla="*/ 2147483647 h 388"/>
                  <a:gd name="T46" fmla="*/ 2147483647 w 346"/>
                  <a:gd name="T47" fmla="*/ 2147483647 h 388"/>
                  <a:gd name="T48" fmla="*/ 2147483647 w 346"/>
                  <a:gd name="T49" fmla="*/ 2147483647 h 388"/>
                  <a:gd name="T50" fmla="*/ 2147483647 w 346"/>
                  <a:gd name="T51" fmla="*/ 2147483647 h 388"/>
                  <a:gd name="T52" fmla="*/ 2147483647 w 346"/>
                  <a:gd name="T53" fmla="*/ 2147483647 h 388"/>
                  <a:gd name="T54" fmla="*/ 2147483647 w 346"/>
                  <a:gd name="T55" fmla="*/ 2147483647 h 388"/>
                  <a:gd name="T56" fmla="*/ 2147483647 w 346"/>
                  <a:gd name="T57" fmla="*/ 2147483647 h 388"/>
                  <a:gd name="T58" fmla="*/ 2147483647 w 346"/>
                  <a:gd name="T59" fmla="*/ 2147483647 h 388"/>
                  <a:gd name="T60" fmla="*/ 2147483647 w 346"/>
                  <a:gd name="T61" fmla="*/ 2147483647 h 388"/>
                  <a:gd name="T62" fmla="*/ 2147483647 w 346"/>
                  <a:gd name="T63" fmla="*/ 2147483647 h 388"/>
                  <a:gd name="T64" fmla="*/ 2147483647 w 346"/>
                  <a:gd name="T65" fmla="*/ 2147483647 h 388"/>
                  <a:gd name="T66" fmla="*/ 2147483647 w 346"/>
                  <a:gd name="T67" fmla="*/ 2147483647 h 388"/>
                  <a:gd name="T68" fmla="*/ 2147483647 w 346"/>
                  <a:gd name="T69" fmla="*/ 2147483647 h 388"/>
                  <a:gd name="T70" fmla="*/ 2147483647 w 346"/>
                  <a:gd name="T71" fmla="*/ 2147483647 h 388"/>
                  <a:gd name="T72" fmla="*/ 2147483647 w 346"/>
                  <a:gd name="T73" fmla="*/ 2147483647 h 388"/>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346" h="388">
                    <a:moveTo>
                      <a:pt x="99" y="274"/>
                    </a:moveTo>
                    <a:cubicBezTo>
                      <a:pt x="124" y="274"/>
                      <a:pt x="145" y="253"/>
                      <a:pt x="145" y="228"/>
                    </a:cubicBezTo>
                    <a:cubicBezTo>
                      <a:pt x="145" y="228"/>
                      <a:pt x="145" y="228"/>
                      <a:pt x="145" y="228"/>
                    </a:cubicBezTo>
                    <a:cubicBezTo>
                      <a:pt x="145" y="48"/>
                      <a:pt x="145" y="48"/>
                      <a:pt x="145" y="48"/>
                    </a:cubicBezTo>
                    <a:cubicBezTo>
                      <a:pt x="277" y="18"/>
                      <a:pt x="277" y="18"/>
                      <a:pt x="277" y="18"/>
                    </a:cubicBezTo>
                    <a:cubicBezTo>
                      <a:pt x="277" y="41"/>
                      <a:pt x="277" y="41"/>
                      <a:pt x="277" y="41"/>
                    </a:cubicBezTo>
                    <a:cubicBezTo>
                      <a:pt x="277" y="45"/>
                      <a:pt x="281" y="49"/>
                      <a:pt x="285" y="49"/>
                    </a:cubicBezTo>
                    <a:cubicBezTo>
                      <a:pt x="289" y="49"/>
                      <a:pt x="293" y="45"/>
                      <a:pt x="293" y="41"/>
                    </a:cubicBezTo>
                    <a:cubicBezTo>
                      <a:pt x="293" y="8"/>
                      <a:pt x="293" y="8"/>
                      <a:pt x="293" y="8"/>
                    </a:cubicBezTo>
                    <a:cubicBezTo>
                      <a:pt x="293" y="6"/>
                      <a:pt x="292" y="3"/>
                      <a:pt x="290" y="2"/>
                    </a:cubicBezTo>
                    <a:cubicBezTo>
                      <a:pt x="288" y="0"/>
                      <a:pt x="286" y="0"/>
                      <a:pt x="283" y="0"/>
                    </a:cubicBezTo>
                    <a:cubicBezTo>
                      <a:pt x="135" y="34"/>
                      <a:pt x="135" y="34"/>
                      <a:pt x="135" y="34"/>
                    </a:cubicBezTo>
                    <a:cubicBezTo>
                      <a:pt x="131" y="35"/>
                      <a:pt x="129" y="38"/>
                      <a:pt x="129" y="42"/>
                    </a:cubicBezTo>
                    <a:cubicBezTo>
                      <a:pt x="129" y="194"/>
                      <a:pt x="129" y="194"/>
                      <a:pt x="129" y="194"/>
                    </a:cubicBezTo>
                    <a:cubicBezTo>
                      <a:pt x="121" y="187"/>
                      <a:pt x="110" y="183"/>
                      <a:pt x="99" y="183"/>
                    </a:cubicBezTo>
                    <a:cubicBezTo>
                      <a:pt x="74" y="183"/>
                      <a:pt x="53" y="203"/>
                      <a:pt x="53" y="228"/>
                    </a:cubicBezTo>
                    <a:cubicBezTo>
                      <a:pt x="53" y="253"/>
                      <a:pt x="74" y="274"/>
                      <a:pt x="99" y="274"/>
                    </a:cubicBezTo>
                    <a:close/>
                    <a:moveTo>
                      <a:pt x="285" y="65"/>
                    </a:moveTo>
                    <a:cubicBezTo>
                      <a:pt x="281" y="65"/>
                      <a:pt x="277" y="69"/>
                      <a:pt x="277" y="73"/>
                    </a:cubicBezTo>
                    <a:cubicBezTo>
                      <a:pt x="277" y="160"/>
                      <a:pt x="277" y="160"/>
                      <a:pt x="277" y="160"/>
                    </a:cubicBezTo>
                    <a:cubicBezTo>
                      <a:pt x="269" y="153"/>
                      <a:pt x="259" y="149"/>
                      <a:pt x="247" y="149"/>
                    </a:cubicBezTo>
                    <a:cubicBezTo>
                      <a:pt x="222" y="149"/>
                      <a:pt x="202" y="169"/>
                      <a:pt x="202" y="195"/>
                    </a:cubicBezTo>
                    <a:cubicBezTo>
                      <a:pt x="202" y="220"/>
                      <a:pt x="222" y="240"/>
                      <a:pt x="247" y="240"/>
                    </a:cubicBezTo>
                    <a:cubicBezTo>
                      <a:pt x="272" y="240"/>
                      <a:pt x="293" y="220"/>
                      <a:pt x="293" y="195"/>
                    </a:cubicBezTo>
                    <a:cubicBezTo>
                      <a:pt x="293" y="195"/>
                      <a:pt x="293" y="195"/>
                      <a:pt x="293" y="195"/>
                    </a:cubicBezTo>
                    <a:cubicBezTo>
                      <a:pt x="293" y="73"/>
                      <a:pt x="293" y="73"/>
                      <a:pt x="293" y="73"/>
                    </a:cubicBezTo>
                    <a:cubicBezTo>
                      <a:pt x="293" y="69"/>
                      <a:pt x="289" y="65"/>
                      <a:pt x="285" y="65"/>
                    </a:cubicBezTo>
                    <a:close/>
                    <a:moveTo>
                      <a:pt x="2" y="309"/>
                    </a:moveTo>
                    <a:cubicBezTo>
                      <a:pt x="2" y="310"/>
                      <a:pt x="6" y="319"/>
                      <a:pt x="17" y="328"/>
                    </a:cubicBezTo>
                    <a:cubicBezTo>
                      <a:pt x="28" y="337"/>
                      <a:pt x="45" y="346"/>
                      <a:pt x="71" y="346"/>
                    </a:cubicBezTo>
                    <a:cubicBezTo>
                      <a:pt x="72" y="346"/>
                      <a:pt x="72" y="346"/>
                      <a:pt x="72" y="346"/>
                    </a:cubicBezTo>
                    <a:cubicBezTo>
                      <a:pt x="98" y="346"/>
                      <a:pt x="132" y="337"/>
                      <a:pt x="177" y="313"/>
                    </a:cubicBezTo>
                    <a:cubicBezTo>
                      <a:pt x="221" y="290"/>
                      <a:pt x="252" y="282"/>
                      <a:pt x="275" y="282"/>
                    </a:cubicBezTo>
                    <a:cubicBezTo>
                      <a:pt x="297" y="282"/>
                      <a:pt x="311" y="289"/>
                      <a:pt x="319" y="296"/>
                    </a:cubicBezTo>
                    <a:cubicBezTo>
                      <a:pt x="323" y="300"/>
                      <a:pt x="326" y="303"/>
                      <a:pt x="327" y="305"/>
                    </a:cubicBezTo>
                    <a:cubicBezTo>
                      <a:pt x="328" y="307"/>
                      <a:pt x="329" y="308"/>
                      <a:pt x="329" y="308"/>
                    </a:cubicBezTo>
                    <a:cubicBezTo>
                      <a:pt x="329" y="309"/>
                      <a:pt x="329" y="309"/>
                      <a:pt x="330" y="309"/>
                    </a:cubicBezTo>
                    <a:cubicBezTo>
                      <a:pt x="330" y="309"/>
                      <a:pt x="330" y="309"/>
                      <a:pt x="330" y="309"/>
                    </a:cubicBezTo>
                    <a:cubicBezTo>
                      <a:pt x="331" y="313"/>
                      <a:pt x="336" y="315"/>
                      <a:pt x="340" y="313"/>
                    </a:cubicBezTo>
                    <a:cubicBezTo>
                      <a:pt x="344" y="312"/>
                      <a:pt x="346" y="307"/>
                      <a:pt x="344" y="303"/>
                    </a:cubicBezTo>
                    <a:cubicBezTo>
                      <a:pt x="344" y="302"/>
                      <a:pt x="340" y="293"/>
                      <a:pt x="329" y="284"/>
                    </a:cubicBezTo>
                    <a:cubicBezTo>
                      <a:pt x="319" y="275"/>
                      <a:pt x="301" y="266"/>
                      <a:pt x="275" y="266"/>
                    </a:cubicBezTo>
                    <a:cubicBezTo>
                      <a:pt x="249" y="266"/>
                      <a:pt x="215" y="275"/>
                      <a:pt x="169" y="299"/>
                    </a:cubicBezTo>
                    <a:cubicBezTo>
                      <a:pt x="126" y="322"/>
                      <a:pt x="94" y="330"/>
                      <a:pt x="72" y="330"/>
                    </a:cubicBezTo>
                    <a:cubicBezTo>
                      <a:pt x="49" y="330"/>
                      <a:pt x="36" y="323"/>
                      <a:pt x="27" y="316"/>
                    </a:cubicBezTo>
                    <a:cubicBezTo>
                      <a:pt x="23" y="312"/>
                      <a:pt x="21" y="309"/>
                      <a:pt x="19" y="306"/>
                    </a:cubicBezTo>
                    <a:cubicBezTo>
                      <a:pt x="18" y="305"/>
                      <a:pt x="18" y="304"/>
                      <a:pt x="17" y="304"/>
                    </a:cubicBezTo>
                    <a:cubicBezTo>
                      <a:pt x="17" y="303"/>
                      <a:pt x="17" y="303"/>
                      <a:pt x="17" y="303"/>
                    </a:cubicBezTo>
                    <a:cubicBezTo>
                      <a:pt x="17" y="303"/>
                      <a:pt x="17" y="303"/>
                      <a:pt x="17" y="303"/>
                    </a:cubicBezTo>
                    <a:cubicBezTo>
                      <a:pt x="15" y="299"/>
                      <a:pt x="10" y="297"/>
                      <a:pt x="6" y="299"/>
                    </a:cubicBezTo>
                    <a:cubicBezTo>
                      <a:pt x="2" y="300"/>
                      <a:pt x="0" y="305"/>
                      <a:pt x="2" y="309"/>
                    </a:cubicBezTo>
                    <a:close/>
                    <a:moveTo>
                      <a:pt x="329" y="326"/>
                    </a:moveTo>
                    <a:cubicBezTo>
                      <a:pt x="319" y="317"/>
                      <a:pt x="301" y="308"/>
                      <a:pt x="275" y="308"/>
                    </a:cubicBezTo>
                    <a:cubicBezTo>
                      <a:pt x="249" y="308"/>
                      <a:pt x="215" y="316"/>
                      <a:pt x="169" y="341"/>
                    </a:cubicBezTo>
                    <a:cubicBezTo>
                      <a:pt x="126" y="364"/>
                      <a:pt x="94" y="372"/>
                      <a:pt x="72" y="372"/>
                    </a:cubicBezTo>
                    <a:cubicBezTo>
                      <a:pt x="49" y="372"/>
                      <a:pt x="36" y="364"/>
                      <a:pt x="27" y="358"/>
                    </a:cubicBezTo>
                    <a:cubicBezTo>
                      <a:pt x="23" y="354"/>
                      <a:pt x="21" y="351"/>
                      <a:pt x="19" y="348"/>
                    </a:cubicBezTo>
                    <a:cubicBezTo>
                      <a:pt x="18" y="347"/>
                      <a:pt x="18" y="346"/>
                      <a:pt x="17" y="345"/>
                    </a:cubicBezTo>
                    <a:cubicBezTo>
                      <a:pt x="17" y="345"/>
                      <a:pt x="17" y="345"/>
                      <a:pt x="17" y="345"/>
                    </a:cubicBezTo>
                    <a:cubicBezTo>
                      <a:pt x="17" y="345"/>
                      <a:pt x="17" y="345"/>
                      <a:pt x="17" y="345"/>
                    </a:cubicBezTo>
                    <a:cubicBezTo>
                      <a:pt x="15" y="341"/>
                      <a:pt x="10" y="339"/>
                      <a:pt x="6" y="340"/>
                    </a:cubicBezTo>
                    <a:cubicBezTo>
                      <a:pt x="2" y="342"/>
                      <a:pt x="0" y="347"/>
                      <a:pt x="2" y="351"/>
                    </a:cubicBezTo>
                    <a:cubicBezTo>
                      <a:pt x="2" y="352"/>
                      <a:pt x="6" y="361"/>
                      <a:pt x="17" y="370"/>
                    </a:cubicBezTo>
                    <a:cubicBezTo>
                      <a:pt x="28" y="379"/>
                      <a:pt x="45" y="388"/>
                      <a:pt x="71" y="388"/>
                    </a:cubicBezTo>
                    <a:cubicBezTo>
                      <a:pt x="72" y="388"/>
                      <a:pt x="72" y="388"/>
                      <a:pt x="72" y="388"/>
                    </a:cubicBezTo>
                    <a:cubicBezTo>
                      <a:pt x="98" y="388"/>
                      <a:pt x="132" y="379"/>
                      <a:pt x="177" y="355"/>
                    </a:cubicBezTo>
                    <a:cubicBezTo>
                      <a:pt x="221" y="331"/>
                      <a:pt x="252" y="324"/>
                      <a:pt x="275" y="324"/>
                    </a:cubicBezTo>
                    <a:cubicBezTo>
                      <a:pt x="297" y="324"/>
                      <a:pt x="311" y="331"/>
                      <a:pt x="319" y="338"/>
                    </a:cubicBezTo>
                    <a:cubicBezTo>
                      <a:pt x="323" y="341"/>
                      <a:pt x="326" y="345"/>
                      <a:pt x="327" y="347"/>
                    </a:cubicBezTo>
                    <a:cubicBezTo>
                      <a:pt x="328" y="348"/>
                      <a:pt x="329" y="349"/>
                      <a:pt x="329" y="350"/>
                    </a:cubicBezTo>
                    <a:cubicBezTo>
                      <a:pt x="329" y="350"/>
                      <a:pt x="329" y="351"/>
                      <a:pt x="330" y="351"/>
                    </a:cubicBezTo>
                    <a:cubicBezTo>
                      <a:pt x="330" y="351"/>
                      <a:pt x="330" y="351"/>
                      <a:pt x="330" y="351"/>
                    </a:cubicBezTo>
                    <a:cubicBezTo>
                      <a:pt x="331" y="355"/>
                      <a:pt x="336" y="357"/>
                      <a:pt x="340" y="355"/>
                    </a:cubicBezTo>
                    <a:cubicBezTo>
                      <a:pt x="344" y="353"/>
                      <a:pt x="346" y="349"/>
                      <a:pt x="344" y="345"/>
                    </a:cubicBezTo>
                    <a:cubicBezTo>
                      <a:pt x="344" y="344"/>
                      <a:pt x="340" y="335"/>
                      <a:pt x="329" y="3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52" name="Freeform 3"/>
              <p:cNvSpPr>
                <a:spLocks noChangeAspect="1" noEditPoints="1"/>
              </p:cNvSpPr>
              <p:nvPr/>
            </p:nvSpPr>
            <p:spPr bwMode="auto">
              <a:xfrm>
                <a:off x="5663281" y="2471863"/>
                <a:ext cx="106905" cy="137426"/>
              </a:xfrm>
              <a:custGeom>
                <a:avLst/>
                <a:gdLst>
                  <a:gd name="T0" fmla="*/ 2147483647 w 270"/>
                  <a:gd name="T1" fmla="*/ 2147483647 h 355"/>
                  <a:gd name="T2" fmla="*/ 2147483647 w 270"/>
                  <a:gd name="T3" fmla="*/ 2147483647 h 355"/>
                  <a:gd name="T4" fmla="*/ 2147483647 w 270"/>
                  <a:gd name="T5" fmla="*/ 2147483647 h 355"/>
                  <a:gd name="T6" fmla="*/ 2147483647 w 270"/>
                  <a:gd name="T7" fmla="*/ 2147483647 h 355"/>
                  <a:gd name="T8" fmla="*/ 2147483647 w 270"/>
                  <a:gd name="T9" fmla="*/ 2147483647 h 355"/>
                  <a:gd name="T10" fmla="*/ 2147483647 w 270"/>
                  <a:gd name="T11" fmla="*/ 2147483647 h 355"/>
                  <a:gd name="T12" fmla="*/ 2147483647 w 270"/>
                  <a:gd name="T13" fmla="*/ 2147483647 h 355"/>
                  <a:gd name="T14" fmla="*/ 2147483647 w 270"/>
                  <a:gd name="T15" fmla="*/ 2147483647 h 355"/>
                  <a:gd name="T16" fmla="*/ 2147483647 w 270"/>
                  <a:gd name="T17" fmla="*/ 2147483647 h 355"/>
                  <a:gd name="T18" fmla="*/ 2147483647 w 270"/>
                  <a:gd name="T19" fmla="*/ 2147483647 h 355"/>
                  <a:gd name="T20" fmla="*/ 2147483647 w 270"/>
                  <a:gd name="T21" fmla="*/ 2147483647 h 355"/>
                  <a:gd name="T22" fmla="*/ 2147483647 w 270"/>
                  <a:gd name="T23" fmla="*/ 2147483647 h 355"/>
                  <a:gd name="T24" fmla="*/ 2147483647 w 270"/>
                  <a:gd name="T25" fmla="*/ 2147483647 h 355"/>
                  <a:gd name="T26" fmla="*/ 2147483647 w 270"/>
                  <a:gd name="T27" fmla="*/ 2147483647 h 355"/>
                  <a:gd name="T28" fmla="*/ 2147483647 w 270"/>
                  <a:gd name="T29" fmla="*/ 2147483647 h 355"/>
                  <a:gd name="T30" fmla="*/ 2147483647 w 270"/>
                  <a:gd name="T31" fmla="*/ 2147483647 h 355"/>
                  <a:gd name="T32" fmla="*/ 2147483647 w 270"/>
                  <a:gd name="T33" fmla="*/ 2147483647 h 355"/>
                  <a:gd name="T34" fmla="*/ 2147483647 w 270"/>
                  <a:gd name="T35" fmla="*/ 2147483647 h 355"/>
                  <a:gd name="T36" fmla="*/ 2147483647 w 270"/>
                  <a:gd name="T37" fmla="*/ 2147483647 h 355"/>
                  <a:gd name="T38" fmla="*/ 2147483647 w 270"/>
                  <a:gd name="T39" fmla="*/ 2147483647 h 355"/>
                  <a:gd name="T40" fmla="*/ 2147483647 w 270"/>
                  <a:gd name="T41" fmla="*/ 2147483647 h 355"/>
                  <a:gd name="T42" fmla="*/ 2147483647 w 270"/>
                  <a:gd name="T43" fmla="*/ 2147483647 h 355"/>
                  <a:gd name="T44" fmla="*/ 2147483647 w 270"/>
                  <a:gd name="T45" fmla="*/ 0 h 355"/>
                  <a:gd name="T46" fmla="*/ 2147483647 w 270"/>
                  <a:gd name="T47" fmla="*/ 2147483647 h 355"/>
                  <a:gd name="T48" fmla="*/ 2147483647 w 270"/>
                  <a:gd name="T49" fmla="*/ 2147483647 h 355"/>
                  <a:gd name="T50" fmla="*/ 0 w 270"/>
                  <a:gd name="T51" fmla="*/ 2147483647 h 355"/>
                  <a:gd name="T52" fmla="*/ 2147483647 w 270"/>
                  <a:gd name="T53" fmla="*/ 2147483647 h 355"/>
                  <a:gd name="T54" fmla="*/ 2147483647 w 270"/>
                  <a:gd name="T55" fmla="*/ 2147483647 h 355"/>
                  <a:gd name="T56" fmla="*/ 2147483647 w 270"/>
                  <a:gd name="T57" fmla="*/ 2147483647 h 355"/>
                  <a:gd name="T58" fmla="*/ 2147483647 w 270"/>
                  <a:gd name="T59" fmla="*/ 2147483647 h 355"/>
                  <a:gd name="T60" fmla="*/ 2147483647 w 270"/>
                  <a:gd name="T61" fmla="*/ 2147483647 h 355"/>
                  <a:gd name="T62" fmla="*/ 2147483647 w 270"/>
                  <a:gd name="T63" fmla="*/ 2147483647 h 355"/>
                  <a:gd name="T64" fmla="*/ 2147483647 w 270"/>
                  <a:gd name="T65" fmla="*/ 2147483647 h 355"/>
                  <a:gd name="T66" fmla="*/ 2147483647 w 270"/>
                  <a:gd name="T67" fmla="*/ 2147483647 h 35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70" h="355">
                    <a:moveTo>
                      <a:pt x="113" y="254"/>
                    </a:moveTo>
                    <a:cubicBezTo>
                      <a:pt x="106" y="297"/>
                      <a:pt x="106" y="297"/>
                      <a:pt x="106" y="297"/>
                    </a:cubicBezTo>
                    <a:cubicBezTo>
                      <a:pt x="105" y="300"/>
                      <a:pt x="106" y="302"/>
                      <a:pt x="107" y="304"/>
                    </a:cubicBezTo>
                    <a:cubicBezTo>
                      <a:pt x="109" y="306"/>
                      <a:pt x="111" y="307"/>
                      <a:pt x="113" y="307"/>
                    </a:cubicBezTo>
                    <a:cubicBezTo>
                      <a:pt x="157" y="307"/>
                      <a:pt x="157" y="307"/>
                      <a:pt x="157" y="307"/>
                    </a:cubicBezTo>
                    <a:cubicBezTo>
                      <a:pt x="160" y="307"/>
                      <a:pt x="162" y="306"/>
                      <a:pt x="164" y="304"/>
                    </a:cubicBezTo>
                    <a:cubicBezTo>
                      <a:pt x="165" y="302"/>
                      <a:pt x="166" y="300"/>
                      <a:pt x="165" y="297"/>
                    </a:cubicBezTo>
                    <a:cubicBezTo>
                      <a:pt x="157" y="254"/>
                      <a:pt x="157" y="254"/>
                      <a:pt x="157" y="254"/>
                    </a:cubicBezTo>
                    <a:cubicBezTo>
                      <a:pt x="167" y="248"/>
                      <a:pt x="173" y="237"/>
                      <a:pt x="173" y="225"/>
                    </a:cubicBezTo>
                    <a:cubicBezTo>
                      <a:pt x="173" y="206"/>
                      <a:pt x="157" y="188"/>
                      <a:pt x="135" y="188"/>
                    </a:cubicBezTo>
                    <a:cubicBezTo>
                      <a:pt x="114" y="188"/>
                      <a:pt x="97" y="206"/>
                      <a:pt x="97" y="225"/>
                    </a:cubicBezTo>
                    <a:cubicBezTo>
                      <a:pt x="97" y="237"/>
                      <a:pt x="103" y="248"/>
                      <a:pt x="113" y="254"/>
                    </a:cubicBezTo>
                    <a:close/>
                    <a:moveTo>
                      <a:pt x="135" y="204"/>
                    </a:moveTo>
                    <a:cubicBezTo>
                      <a:pt x="148" y="204"/>
                      <a:pt x="157" y="214"/>
                      <a:pt x="157" y="225"/>
                    </a:cubicBezTo>
                    <a:cubicBezTo>
                      <a:pt x="157" y="233"/>
                      <a:pt x="152" y="240"/>
                      <a:pt x="145" y="243"/>
                    </a:cubicBezTo>
                    <a:cubicBezTo>
                      <a:pt x="141" y="244"/>
                      <a:pt x="139" y="248"/>
                      <a:pt x="140" y="252"/>
                    </a:cubicBezTo>
                    <a:cubicBezTo>
                      <a:pt x="147" y="291"/>
                      <a:pt x="147" y="291"/>
                      <a:pt x="147" y="291"/>
                    </a:cubicBezTo>
                    <a:cubicBezTo>
                      <a:pt x="123" y="291"/>
                      <a:pt x="123" y="291"/>
                      <a:pt x="123" y="291"/>
                    </a:cubicBezTo>
                    <a:cubicBezTo>
                      <a:pt x="130" y="252"/>
                      <a:pt x="130" y="252"/>
                      <a:pt x="130" y="252"/>
                    </a:cubicBezTo>
                    <a:cubicBezTo>
                      <a:pt x="131" y="248"/>
                      <a:pt x="129" y="244"/>
                      <a:pt x="125" y="243"/>
                    </a:cubicBezTo>
                    <a:cubicBezTo>
                      <a:pt x="118" y="240"/>
                      <a:pt x="113" y="233"/>
                      <a:pt x="113" y="225"/>
                    </a:cubicBezTo>
                    <a:cubicBezTo>
                      <a:pt x="113" y="214"/>
                      <a:pt x="122" y="204"/>
                      <a:pt x="135" y="204"/>
                    </a:cubicBezTo>
                    <a:close/>
                    <a:moveTo>
                      <a:pt x="256" y="141"/>
                    </a:moveTo>
                    <a:cubicBezTo>
                      <a:pt x="243" y="141"/>
                      <a:pt x="243" y="141"/>
                      <a:pt x="243" y="141"/>
                    </a:cubicBezTo>
                    <a:cubicBezTo>
                      <a:pt x="243" y="106"/>
                      <a:pt x="243" y="106"/>
                      <a:pt x="243" y="106"/>
                    </a:cubicBezTo>
                    <a:cubicBezTo>
                      <a:pt x="243" y="106"/>
                      <a:pt x="243" y="105"/>
                      <a:pt x="243" y="105"/>
                    </a:cubicBezTo>
                    <a:cubicBezTo>
                      <a:pt x="243" y="93"/>
                      <a:pt x="242" y="82"/>
                      <a:pt x="238" y="70"/>
                    </a:cubicBezTo>
                    <a:cubicBezTo>
                      <a:pt x="236" y="66"/>
                      <a:pt x="232" y="64"/>
                      <a:pt x="227" y="66"/>
                    </a:cubicBezTo>
                    <a:cubicBezTo>
                      <a:pt x="223" y="67"/>
                      <a:pt x="221" y="72"/>
                      <a:pt x="223" y="76"/>
                    </a:cubicBezTo>
                    <a:cubicBezTo>
                      <a:pt x="226" y="85"/>
                      <a:pt x="227" y="94"/>
                      <a:pt x="227" y="106"/>
                    </a:cubicBezTo>
                    <a:cubicBezTo>
                      <a:pt x="227" y="106"/>
                      <a:pt x="227" y="107"/>
                      <a:pt x="227" y="107"/>
                    </a:cubicBezTo>
                    <a:cubicBezTo>
                      <a:pt x="227" y="141"/>
                      <a:pt x="227" y="141"/>
                      <a:pt x="227" y="141"/>
                    </a:cubicBezTo>
                    <a:cubicBezTo>
                      <a:pt x="211" y="141"/>
                      <a:pt x="211" y="141"/>
                      <a:pt x="211" y="141"/>
                    </a:cubicBezTo>
                    <a:cubicBezTo>
                      <a:pt x="211" y="106"/>
                      <a:pt x="211" y="106"/>
                      <a:pt x="211" y="106"/>
                    </a:cubicBezTo>
                    <a:cubicBezTo>
                      <a:pt x="211" y="89"/>
                      <a:pt x="204" y="71"/>
                      <a:pt x="191" y="56"/>
                    </a:cubicBezTo>
                    <a:cubicBezTo>
                      <a:pt x="177" y="41"/>
                      <a:pt x="158" y="30"/>
                      <a:pt x="135" y="30"/>
                    </a:cubicBezTo>
                    <a:cubicBezTo>
                      <a:pt x="93" y="30"/>
                      <a:pt x="59" y="64"/>
                      <a:pt x="59" y="106"/>
                    </a:cubicBezTo>
                    <a:cubicBezTo>
                      <a:pt x="59" y="141"/>
                      <a:pt x="59" y="141"/>
                      <a:pt x="59" y="141"/>
                    </a:cubicBezTo>
                    <a:cubicBezTo>
                      <a:pt x="43" y="141"/>
                      <a:pt x="43" y="141"/>
                      <a:pt x="43" y="141"/>
                    </a:cubicBezTo>
                    <a:cubicBezTo>
                      <a:pt x="43" y="106"/>
                      <a:pt x="43" y="106"/>
                      <a:pt x="43" y="106"/>
                    </a:cubicBezTo>
                    <a:cubicBezTo>
                      <a:pt x="43" y="106"/>
                      <a:pt x="43" y="106"/>
                      <a:pt x="43" y="106"/>
                    </a:cubicBezTo>
                    <a:cubicBezTo>
                      <a:pt x="44" y="56"/>
                      <a:pt x="85" y="16"/>
                      <a:pt x="135" y="16"/>
                    </a:cubicBezTo>
                    <a:cubicBezTo>
                      <a:pt x="179" y="16"/>
                      <a:pt x="199" y="40"/>
                      <a:pt x="207" y="50"/>
                    </a:cubicBezTo>
                    <a:cubicBezTo>
                      <a:pt x="210" y="54"/>
                      <a:pt x="215" y="55"/>
                      <a:pt x="218" y="52"/>
                    </a:cubicBezTo>
                    <a:cubicBezTo>
                      <a:pt x="222" y="49"/>
                      <a:pt x="223" y="44"/>
                      <a:pt x="220" y="41"/>
                    </a:cubicBezTo>
                    <a:cubicBezTo>
                      <a:pt x="211" y="29"/>
                      <a:pt x="185" y="0"/>
                      <a:pt x="135" y="0"/>
                    </a:cubicBezTo>
                    <a:cubicBezTo>
                      <a:pt x="77" y="0"/>
                      <a:pt x="29" y="46"/>
                      <a:pt x="27" y="104"/>
                    </a:cubicBezTo>
                    <a:cubicBezTo>
                      <a:pt x="27" y="105"/>
                      <a:pt x="27" y="105"/>
                      <a:pt x="27" y="106"/>
                    </a:cubicBezTo>
                    <a:cubicBezTo>
                      <a:pt x="27" y="141"/>
                      <a:pt x="27" y="141"/>
                      <a:pt x="27" y="141"/>
                    </a:cubicBezTo>
                    <a:cubicBezTo>
                      <a:pt x="14" y="141"/>
                      <a:pt x="14" y="141"/>
                      <a:pt x="14" y="141"/>
                    </a:cubicBezTo>
                    <a:cubicBezTo>
                      <a:pt x="6" y="141"/>
                      <a:pt x="0" y="148"/>
                      <a:pt x="0" y="156"/>
                    </a:cubicBezTo>
                    <a:cubicBezTo>
                      <a:pt x="0" y="341"/>
                      <a:pt x="0" y="341"/>
                      <a:pt x="0" y="341"/>
                    </a:cubicBezTo>
                    <a:cubicBezTo>
                      <a:pt x="0" y="349"/>
                      <a:pt x="6" y="355"/>
                      <a:pt x="14" y="355"/>
                    </a:cubicBezTo>
                    <a:cubicBezTo>
                      <a:pt x="14" y="355"/>
                      <a:pt x="256" y="355"/>
                      <a:pt x="256" y="355"/>
                    </a:cubicBezTo>
                    <a:cubicBezTo>
                      <a:pt x="264" y="355"/>
                      <a:pt x="270" y="349"/>
                      <a:pt x="270" y="341"/>
                    </a:cubicBezTo>
                    <a:cubicBezTo>
                      <a:pt x="270" y="156"/>
                      <a:pt x="270" y="156"/>
                      <a:pt x="270" y="156"/>
                    </a:cubicBezTo>
                    <a:cubicBezTo>
                      <a:pt x="270" y="148"/>
                      <a:pt x="264" y="141"/>
                      <a:pt x="256" y="141"/>
                    </a:cubicBezTo>
                    <a:close/>
                    <a:moveTo>
                      <a:pt x="75" y="106"/>
                    </a:moveTo>
                    <a:cubicBezTo>
                      <a:pt x="75" y="72"/>
                      <a:pt x="102" y="46"/>
                      <a:pt x="135" y="46"/>
                    </a:cubicBezTo>
                    <a:cubicBezTo>
                      <a:pt x="153" y="46"/>
                      <a:pt x="168" y="54"/>
                      <a:pt x="178" y="67"/>
                    </a:cubicBezTo>
                    <a:cubicBezTo>
                      <a:pt x="189" y="79"/>
                      <a:pt x="195" y="94"/>
                      <a:pt x="195" y="106"/>
                    </a:cubicBezTo>
                    <a:cubicBezTo>
                      <a:pt x="195" y="141"/>
                      <a:pt x="195" y="141"/>
                      <a:pt x="195" y="141"/>
                    </a:cubicBezTo>
                    <a:cubicBezTo>
                      <a:pt x="75" y="141"/>
                      <a:pt x="75" y="141"/>
                      <a:pt x="75" y="141"/>
                    </a:cubicBezTo>
                    <a:lnTo>
                      <a:pt x="75" y="106"/>
                    </a:lnTo>
                    <a:close/>
                    <a:moveTo>
                      <a:pt x="254" y="339"/>
                    </a:moveTo>
                    <a:cubicBezTo>
                      <a:pt x="16" y="339"/>
                      <a:pt x="16" y="339"/>
                      <a:pt x="16" y="339"/>
                    </a:cubicBezTo>
                    <a:cubicBezTo>
                      <a:pt x="16" y="157"/>
                      <a:pt x="16" y="157"/>
                      <a:pt x="16" y="157"/>
                    </a:cubicBezTo>
                    <a:cubicBezTo>
                      <a:pt x="254" y="157"/>
                      <a:pt x="254" y="157"/>
                      <a:pt x="254" y="157"/>
                    </a:cubicBezTo>
                    <a:lnTo>
                      <a:pt x="254" y="3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53" name="Freeform 3"/>
              <p:cNvSpPr>
                <a:spLocks noChangeAspect="1" noEditPoints="1"/>
              </p:cNvSpPr>
              <p:nvPr/>
            </p:nvSpPr>
            <p:spPr bwMode="auto">
              <a:xfrm>
                <a:off x="5388151" y="2307395"/>
                <a:ext cx="118334" cy="86358"/>
              </a:xfrm>
              <a:custGeom>
                <a:avLst/>
                <a:gdLst>
                  <a:gd name="T0" fmla="*/ 2147483647 w 366"/>
                  <a:gd name="T1" fmla="*/ 2147483647 h 273"/>
                  <a:gd name="T2" fmla="*/ 2147483647 w 366"/>
                  <a:gd name="T3" fmla="*/ 2147483647 h 273"/>
                  <a:gd name="T4" fmla="*/ 2147483647 w 366"/>
                  <a:gd name="T5" fmla="*/ 2147483647 h 273"/>
                  <a:gd name="T6" fmla="*/ 2147483647 w 366"/>
                  <a:gd name="T7" fmla="*/ 0 h 273"/>
                  <a:gd name="T8" fmla="*/ 2147483647 w 366"/>
                  <a:gd name="T9" fmla="*/ 0 h 273"/>
                  <a:gd name="T10" fmla="*/ 0 w 366"/>
                  <a:gd name="T11" fmla="*/ 2147483647 h 273"/>
                  <a:gd name="T12" fmla="*/ 0 w 366"/>
                  <a:gd name="T13" fmla="*/ 2147483647 h 273"/>
                  <a:gd name="T14" fmla="*/ 2147483647 w 366"/>
                  <a:gd name="T15" fmla="*/ 2147483647 h 273"/>
                  <a:gd name="T16" fmla="*/ 2147483647 w 366"/>
                  <a:gd name="T17" fmla="*/ 2147483647 h 273"/>
                  <a:gd name="T18" fmla="*/ 2147483647 w 366"/>
                  <a:gd name="T19" fmla="*/ 2147483647 h 273"/>
                  <a:gd name="T20" fmla="*/ 2147483647 w 366"/>
                  <a:gd name="T21" fmla="*/ 2147483647 h 273"/>
                  <a:gd name="T22" fmla="*/ 2147483647 w 366"/>
                  <a:gd name="T23" fmla="*/ 2147483647 h 273"/>
                  <a:gd name="T24" fmla="*/ 2147483647 w 366"/>
                  <a:gd name="T25" fmla="*/ 2147483647 h 273"/>
                  <a:gd name="T26" fmla="*/ 2147483647 w 366"/>
                  <a:gd name="T27" fmla="*/ 2147483647 h 273"/>
                  <a:gd name="T28" fmla="*/ 2147483647 w 366"/>
                  <a:gd name="T29" fmla="*/ 2147483647 h 273"/>
                  <a:gd name="T30" fmla="*/ 2147483647 w 366"/>
                  <a:gd name="T31" fmla="*/ 2147483647 h 273"/>
                  <a:gd name="T32" fmla="*/ 2147483647 w 366"/>
                  <a:gd name="T33" fmla="*/ 2147483647 h 273"/>
                  <a:gd name="T34" fmla="*/ 2147483647 w 366"/>
                  <a:gd name="T35" fmla="*/ 2147483647 h 273"/>
                  <a:gd name="T36" fmla="*/ 2147483647 w 366"/>
                  <a:gd name="T37" fmla="*/ 2147483647 h 273"/>
                  <a:gd name="T38" fmla="*/ 2147483647 w 366"/>
                  <a:gd name="T39" fmla="*/ 2147483647 h 273"/>
                  <a:gd name="T40" fmla="*/ 2147483647 w 366"/>
                  <a:gd name="T41" fmla="*/ 2147483647 h 273"/>
                  <a:gd name="T42" fmla="*/ 2147483647 w 366"/>
                  <a:gd name="T43" fmla="*/ 2147483647 h 273"/>
                  <a:gd name="T44" fmla="*/ 2147483647 w 366"/>
                  <a:gd name="T45" fmla="*/ 2147483647 h 273"/>
                  <a:gd name="T46" fmla="*/ 2147483647 w 366"/>
                  <a:gd name="T47" fmla="*/ 2147483647 h 273"/>
                  <a:gd name="T48" fmla="*/ 2147483647 w 366"/>
                  <a:gd name="T49" fmla="*/ 2147483647 h 273"/>
                  <a:gd name="T50" fmla="*/ 2147483647 w 366"/>
                  <a:gd name="T51" fmla="*/ 2147483647 h 273"/>
                  <a:gd name="T52" fmla="*/ 2147483647 w 366"/>
                  <a:gd name="T53" fmla="*/ 2147483647 h 273"/>
                  <a:gd name="T54" fmla="*/ 2147483647 w 366"/>
                  <a:gd name="T55" fmla="*/ 2147483647 h 273"/>
                  <a:gd name="T56" fmla="*/ 2147483647 w 366"/>
                  <a:gd name="T57" fmla="*/ 2147483647 h 273"/>
                  <a:gd name="T58" fmla="*/ 2147483647 w 366"/>
                  <a:gd name="T59" fmla="*/ 2147483647 h 273"/>
                  <a:gd name="T60" fmla="*/ 2147483647 w 366"/>
                  <a:gd name="T61" fmla="*/ 2147483647 h 273"/>
                  <a:gd name="T62" fmla="*/ 2147483647 w 366"/>
                  <a:gd name="T63" fmla="*/ 2147483647 h 273"/>
                  <a:gd name="T64" fmla="*/ 2147483647 w 366"/>
                  <a:gd name="T65" fmla="*/ 2147483647 h 273"/>
                  <a:gd name="T66" fmla="*/ 2147483647 w 366"/>
                  <a:gd name="T67" fmla="*/ 2147483647 h 2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366" h="273">
                    <a:moveTo>
                      <a:pt x="358" y="57"/>
                    </a:moveTo>
                    <a:cubicBezTo>
                      <a:pt x="362" y="57"/>
                      <a:pt x="366" y="53"/>
                      <a:pt x="366" y="49"/>
                    </a:cubicBezTo>
                    <a:cubicBezTo>
                      <a:pt x="366" y="26"/>
                      <a:pt x="366" y="26"/>
                      <a:pt x="366" y="26"/>
                    </a:cubicBezTo>
                    <a:cubicBezTo>
                      <a:pt x="366" y="15"/>
                      <a:pt x="359" y="0"/>
                      <a:pt x="340" y="0"/>
                    </a:cubicBezTo>
                    <a:cubicBezTo>
                      <a:pt x="26" y="0"/>
                      <a:pt x="26" y="0"/>
                      <a:pt x="26" y="0"/>
                    </a:cubicBezTo>
                    <a:cubicBezTo>
                      <a:pt x="16" y="0"/>
                      <a:pt x="0" y="7"/>
                      <a:pt x="0" y="26"/>
                    </a:cubicBezTo>
                    <a:cubicBezTo>
                      <a:pt x="0" y="247"/>
                      <a:pt x="0" y="247"/>
                      <a:pt x="0" y="247"/>
                    </a:cubicBezTo>
                    <a:cubicBezTo>
                      <a:pt x="0" y="258"/>
                      <a:pt x="7" y="273"/>
                      <a:pt x="26" y="273"/>
                    </a:cubicBezTo>
                    <a:cubicBezTo>
                      <a:pt x="340" y="273"/>
                      <a:pt x="340" y="273"/>
                      <a:pt x="340" y="273"/>
                    </a:cubicBezTo>
                    <a:cubicBezTo>
                      <a:pt x="350" y="273"/>
                      <a:pt x="366" y="266"/>
                      <a:pt x="366" y="247"/>
                    </a:cubicBezTo>
                    <a:cubicBezTo>
                      <a:pt x="366" y="81"/>
                      <a:pt x="366" y="81"/>
                      <a:pt x="366" y="81"/>
                    </a:cubicBezTo>
                    <a:cubicBezTo>
                      <a:pt x="366" y="76"/>
                      <a:pt x="362" y="73"/>
                      <a:pt x="358" y="73"/>
                    </a:cubicBezTo>
                    <a:cubicBezTo>
                      <a:pt x="354" y="73"/>
                      <a:pt x="350" y="76"/>
                      <a:pt x="350" y="81"/>
                    </a:cubicBezTo>
                    <a:cubicBezTo>
                      <a:pt x="350" y="247"/>
                      <a:pt x="350" y="247"/>
                      <a:pt x="350" y="247"/>
                    </a:cubicBezTo>
                    <a:cubicBezTo>
                      <a:pt x="221" y="137"/>
                      <a:pt x="221" y="137"/>
                      <a:pt x="221" y="137"/>
                    </a:cubicBezTo>
                    <a:cubicBezTo>
                      <a:pt x="350" y="28"/>
                      <a:pt x="350" y="28"/>
                      <a:pt x="350" y="28"/>
                    </a:cubicBezTo>
                    <a:cubicBezTo>
                      <a:pt x="350" y="49"/>
                      <a:pt x="350" y="49"/>
                      <a:pt x="350" y="49"/>
                    </a:cubicBezTo>
                    <a:cubicBezTo>
                      <a:pt x="350" y="53"/>
                      <a:pt x="354" y="57"/>
                      <a:pt x="358" y="57"/>
                    </a:cubicBezTo>
                    <a:close/>
                    <a:moveTo>
                      <a:pt x="16" y="246"/>
                    </a:moveTo>
                    <a:cubicBezTo>
                      <a:pt x="16" y="28"/>
                      <a:pt x="16" y="28"/>
                      <a:pt x="16" y="28"/>
                    </a:cubicBezTo>
                    <a:cubicBezTo>
                      <a:pt x="146" y="137"/>
                      <a:pt x="146" y="137"/>
                      <a:pt x="146" y="137"/>
                    </a:cubicBezTo>
                    <a:lnTo>
                      <a:pt x="16" y="246"/>
                    </a:lnTo>
                    <a:close/>
                    <a:moveTo>
                      <a:pt x="338" y="257"/>
                    </a:moveTo>
                    <a:cubicBezTo>
                      <a:pt x="28" y="257"/>
                      <a:pt x="28" y="257"/>
                      <a:pt x="28" y="257"/>
                    </a:cubicBezTo>
                    <a:cubicBezTo>
                      <a:pt x="158" y="148"/>
                      <a:pt x="158" y="148"/>
                      <a:pt x="158" y="148"/>
                    </a:cubicBezTo>
                    <a:cubicBezTo>
                      <a:pt x="178" y="165"/>
                      <a:pt x="178" y="165"/>
                      <a:pt x="178" y="165"/>
                    </a:cubicBezTo>
                    <a:cubicBezTo>
                      <a:pt x="179" y="166"/>
                      <a:pt x="181" y="166"/>
                      <a:pt x="183" y="166"/>
                    </a:cubicBezTo>
                    <a:cubicBezTo>
                      <a:pt x="185" y="166"/>
                      <a:pt x="187" y="166"/>
                      <a:pt x="188" y="165"/>
                    </a:cubicBezTo>
                    <a:cubicBezTo>
                      <a:pt x="208" y="148"/>
                      <a:pt x="208" y="148"/>
                      <a:pt x="208" y="148"/>
                    </a:cubicBezTo>
                    <a:lnTo>
                      <a:pt x="338" y="257"/>
                    </a:lnTo>
                    <a:close/>
                    <a:moveTo>
                      <a:pt x="183" y="148"/>
                    </a:moveTo>
                    <a:cubicBezTo>
                      <a:pt x="26" y="16"/>
                      <a:pt x="26" y="16"/>
                      <a:pt x="26" y="16"/>
                    </a:cubicBezTo>
                    <a:cubicBezTo>
                      <a:pt x="340" y="16"/>
                      <a:pt x="340" y="16"/>
                      <a:pt x="340" y="16"/>
                    </a:cubicBezTo>
                    <a:lnTo>
                      <a:pt x="183" y="1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54" name="Freeform 3"/>
              <p:cNvSpPr>
                <a:spLocks noChangeAspect="1" noEditPoints="1"/>
              </p:cNvSpPr>
              <p:nvPr/>
            </p:nvSpPr>
            <p:spPr bwMode="auto">
              <a:xfrm>
                <a:off x="4975360" y="2276881"/>
                <a:ext cx="138992" cy="134693"/>
              </a:xfrm>
              <a:custGeom>
                <a:avLst/>
                <a:gdLst>
                  <a:gd name="T0" fmla="*/ 2147483647 w 430"/>
                  <a:gd name="T1" fmla="*/ 2147483647 h 426"/>
                  <a:gd name="T2" fmla="*/ 2147483647 w 430"/>
                  <a:gd name="T3" fmla="*/ 2147483647 h 426"/>
                  <a:gd name="T4" fmla="*/ 2147483647 w 430"/>
                  <a:gd name="T5" fmla="*/ 2147483647 h 426"/>
                  <a:gd name="T6" fmla="*/ 2147483647 w 430"/>
                  <a:gd name="T7" fmla="*/ 2147483647 h 426"/>
                  <a:gd name="T8" fmla="*/ 2147483647 w 430"/>
                  <a:gd name="T9" fmla="*/ 2147483647 h 426"/>
                  <a:gd name="T10" fmla="*/ 2147483647 w 430"/>
                  <a:gd name="T11" fmla="*/ 2147483647 h 426"/>
                  <a:gd name="T12" fmla="*/ 2147483647 w 430"/>
                  <a:gd name="T13" fmla="*/ 2147483647 h 426"/>
                  <a:gd name="T14" fmla="*/ 2147483647 w 430"/>
                  <a:gd name="T15" fmla="*/ 2147483647 h 426"/>
                  <a:gd name="T16" fmla="*/ 2147483647 w 430"/>
                  <a:gd name="T17" fmla="*/ 2147483647 h 426"/>
                  <a:gd name="T18" fmla="*/ 2147483647 w 430"/>
                  <a:gd name="T19" fmla="*/ 2147483647 h 426"/>
                  <a:gd name="T20" fmla="*/ 2147483647 w 430"/>
                  <a:gd name="T21" fmla="*/ 2147483647 h 426"/>
                  <a:gd name="T22" fmla="*/ 2147483647 w 430"/>
                  <a:gd name="T23" fmla="*/ 2147483647 h 426"/>
                  <a:gd name="T24" fmla="*/ 2147483647 w 430"/>
                  <a:gd name="T25" fmla="*/ 2147483647 h 426"/>
                  <a:gd name="T26" fmla="*/ 2147483647 w 430"/>
                  <a:gd name="T27" fmla="*/ 2147483647 h 426"/>
                  <a:gd name="T28" fmla="*/ 2147483647 w 430"/>
                  <a:gd name="T29" fmla="*/ 2147483647 h 426"/>
                  <a:gd name="T30" fmla="*/ 2147483647 w 430"/>
                  <a:gd name="T31" fmla="*/ 2147483647 h 426"/>
                  <a:gd name="T32" fmla="*/ 2147483647 w 430"/>
                  <a:gd name="T33" fmla="*/ 2147483647 h 426"/>
                  <a:gd name="T34" fmla="*/ 2147483647 w 430"/>
                  <a:gd name="T35" fmla="*/ 2147483647 h 426"/>
                  <a:gd name="T36" fmla="*/ 2147483647 w 430"/>
                  <a:gd name="T37" fmla="*/ 2147483647 h 426"/>
                  <a:gd name="T38" fmla="*/ 2147483647 w 430"/>
                  <a:gd name="T39" fmla="*/ 2147483647 h 426"/>
                  <a:gd name="T40" fmla="*/ 2147483647 w 430"/>
                  <a:gd name="T41" fmla="*/ 2147483647 h 426"/>
                  <a:gd name="T42" fmla="*/ 2147483647 w 430"/>
                  <a:gd name="T43" fmla="*/ 2147483647 h 426"/>
                  <a:gd name="T44" fmla="*/ 2147483647 w 430"/>
                  <a:gd name="T45" fmla="*/ 2147483647 h 426"/>
                  <a:gd name="T46" fmla="*/ 2147483647 w 430"/>
                  <a:gd name="T47" fmla="*/ 2147483647 h 426"/>
                  <a:gd name="T48" fmla="*/ 2147483647 w 430"/>
                  <a:gd name="T49" fmla="*/ 2147483647 h 426"/>
                  <a:gd name="T50" fmla="*/ 2147483647 w 430"/>
                  <a:gd name="T51" fmla="*/ 2147483647 h 426"/>
                  <a:gd name="T52" fmla="*/ 2147483647 w 430"/>
                  <a:gd name="T53" fmla="*/ 2147483647 h 426"/>
                  <a:gd name="T54" fmla="*/ 2147483647 w 430"/>
                  <a:gd name="T55" fmla="*/ 2147483647 h 426"/>
                  <a:gd name="T56" fmla="*/ 2147483647 w 430"/>
                  <a:gd name="T57" fmla="*/ 2147483647 h 426"/>
                  <a:gd name="T58" fmla="*/ 2147483647 w 430"/>
                  <a:gd name="T59" fmla="*/ 2147483647 h 426"/>
                  <a:gd name="T60" fmla="*/ 2147483647 w 430"/>
                  <a:gd name="T61" fmla="*/ 2147483647 h 426"/>
                  <a:gd name="T62" fmla="*/ 2147483647 w 430"/>
                  <a:gd name="T63" fmla="*/ 2147483647 h 426"/>
                  <a:gd name="T64" fmla="*/ 2147483647 w 430"/>
                  <a:gd name="T65" fmla="*/ 2147483647 h 426"/>
                  <a:gd name="T66" fmla="*/ 2147483647 w 430"/>
                  <a:gd name="T67" fmla="*/ 2147483647 h 426"/>
                  <a:gd name="T68" fmla="*/ 2147483647 w 430"/>
                  <a:gd name="T69" fmla="*/ 2147483647 h 426"/>
                  <a:gd name="T70" fmla="*/ 2147483647 w 430"/>
                  <a:gd name="T71" fmla="*/ 2147483647 h 426"/>
                  <a:gd name="T72" fmla="*/ 2147483647 w 430"/>
                  <a:gd name="T73" fmla="*/ 2147483647 h 426"/>
                  <a:gd name="T74" fmla="*/ 2147483647 w 430"/>
                  <a:gd name="T75" fmla="*/ 2147483647 h 426"/>
                  <a:gd name="T76" fmla="*/ 2147483647 w 430"/>
                  <a:gd name="T77" fmla="*/ 2147483647 h 426"/>
                  <a:gd name="T78" fmla="*/ 2147483647 w 430"/>
                  <a:gd name="T79" fmla="*/ 2147483647 h 426"/>
                  <a:gd name="T80" fmla="*/ 2147483647 w 430"/>
                  <a:gd name="T81" fmla="*/ 2147483647 h 426"/>
                  <a:gd name="T82" fmla="*/ 2147483647 w 430"/>
                  <a:gd name="T83" fmla="*/ 2147483647 h 426"/>
                  <a:gd name="T84" fmla="*/ 2147483647 w 430"/>
                  <a:gd name="T85" fmla="*/ 2147483647 h 426"/>
                  <a:gd name="T86" fmla="*/ 2147483647 w 430"/>
                  <a:gd name="T87" fmla="*/ 2147483647 h 426"/>
                  <a:gd name="T88" fmla="*/ 2147483647 w 430"/>
                  <a:gd name="T89" fmla="*/ 2147483647 h 426"/>
                  <a:gd name="T90" fmla="*/ 2147483647 w 430"/>
                  <a:gd name="T91" fmla="*/ 2147483647 h 426"/>
                  <a:gd name="T92" fmla="*/ 2147483647 w 430"/>
                  <a:gd name="T93" fmla="*/ 2147483647 h 426"/>
                  <a:gd name="T94" fmla="*/ 2147483647 w 430"/>
                  <a:gd name="T95" fmla="*/ 2147483647 h 426"/>
                  <a:gd name="T96" fmla="*/ 2147483647 w 430"/>
                  <a:gd name="T97" fmla="*/ 2147483647 h 426"/>
                  <a:gd name="T98" fmla="*/ 2147483647 w 430"/>
                  <a:gd name="T99" fmla="*/ 2147483647 h 426"/>
                  <a:gd name="T100" fmla="*/ 2147483647 w 430"/>
                  <a:gd name="T101" fmla="*/ 2147483647 h 426"/>
                  <a:gd name="T102" fmla="*/ 2147483647 w 430"/>
                  <a:gd name="T103" fmla="*/ 2147483647 h 426"/>
                  <a:gd name="T104" fmla="*/ 2147483647 w 430"/>
                  <a:gd name="T105" fmla="*/ 2147483647 h 426"/>
                  <a:gd name="T106" fmla="*/ 2147483647 w 430"/>
                  <a:gd name="T107" fmla="*/ 2147483647 h 426"/>
                  <a:gd name="T108" fmla="*/ 2147483647 w 430"/>
                  <a:gd name="T109" fmla="*/ 2147483647 h 426"/>
                  <a:gd name="T110" fmla="*/ 2147483647 w 430"/>
                  <a:gd name="T111" fmla="*/ 2147483647 h 426"/>
                  <a:gd name="T112" fmla="*/ 2147483647 w 430"/>
                  <a:gd name="T113" fmla="*/ 2147483647 h 426"/>
                  <a:gd name="T114" fmla="*/ 2147483647 w 430"/>
                  <a:gd name="T115" fmla="*/ 2147483647 h 426"/>
                  <a:gd name="T116" fmla="*/ 2147483647 w 430"/>
                  <a:gd name="T117" fmla="*/ 2147483647 h 426"/>
                  <a:gd name="T118" fmla="*/ 2147483647 w 430"/>
                  <a:gd name="T119" fmla="*/ 2147483647 h 426"/>
                  <a:gd name="T120" fmla="*/ 2147483647 w 430"/>
                  <a:gd name="T121" fmla="*/ 2147483647 h 4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430" h="426">
                    <a:moveTo>
                      <a:pt x="366" y="169"/>
                    </a:moveTo>
                    <a:cubicBezTo>
                      <a:pt x="366" y="165"/>
                      <a:pt x="366" y="160"/>
                      <a:pt x="366" y="155"/>
                    </a:cubicBezTo>
                    <a:cubicBezTo>
                      <a:pt x="363" y="133"/>
                      <a:pt x="353" y="113"/>
                      <a:pt x="339" y="97"/>
                    </a:cubicBezTo>
                    <a:cubicBezTo>
                      <a:pt x="336" y="94"/>
                      <a:pt x="331" y="94"/>
                      <a:pt x="328" y="97"/>
                    </a:cubicBezTo>
                    <a:cubicBezTo>
                      <a:pt x="325" y="100"/>
                      <a:pt x="324" y="105"/>
                      <a:pt x="327" y="108"/>
                    </a:cubicBezTo>
                    <a:cubicBezTo>
                      <a:pt x="339" y="121"/>
                      <a:pt x="347" y="138"/>
                      <a:pt x="350" y="157"/>
                    </a:cubicBezTo>
                    <a:cubicBezTo>
                      <a:pt x="350" y="161"/>
                      <a:pt x="350" y="165"/>
                      <a:pt x="350" y="169"/>
                    </a:cubicBezTo>
                    <a:cubicBezTo>
                      <a:pt x="350" y="195"/>
                      <a:pt x="340" y="218"/>
                      <a:pt x="323" y="235"/>
                    </a:cubicBezTo>
                    <a:cubicBezTo>
                      <a:pt x="321" y="234"/>
                      <a:pt x="320" y="233"/>
                      <a:pt x="318" y="232"/>
                    </a:cubicBezTo>
                    <a:cubicBezTo>
                      <a:pt x="321" y="226"/>
                      <a:pt x="322" y="219"/>
                      <a:pt x="322" y="211"/>
                    </a:cubicBezTo>
                    <a:cubicBezTo>
                      <a:pt x="322" y="183"/>
                      <a:pt x="300" y="161"/>
                      <a:pt x="272" y="161"/>
                    </a:cubicBezTo>
                    <a:cubicBezTo>
                      <a:pt x="263" y="161"/>
                      <a:pt x="254" y="163"/>
                      <a:pt x="247" y="168"/>
                    </a:cubicBezTo>
                    <a:cubicBezTo>
                      <a:pt x="233" y="143"/>
                      <a:pt x="210" y="124"/>
                      <a:pt x="183" y="116"/>
                    </a:cubicBezTo>
                    <a:cubicBezTo>
                      <a:pt x="197" y="96"/>
                      <a:pt x="220" y="81"/>
                      <a:pt x="246" y="78"/>
                    </a:cubicBezTo>
                    <a:cubicBezTo>
                      <a:pt x="252" y="77"/>
                      <a:pt x="257" y="77"/>
                      <a:pt x="261" y="77"/>
                    </a:cubicBezTo>
                    <a:cubicBezTo>
                      <a:pt x="277" y="77"/>
                      <a:pt x="290" y="80"/>
                      <a:pt x="303" y="88"/>
                    </a:cubicBezTo>
                    <a:cubicBezTo>
                      <a:pt x="307" y="90"/>
                      <a:pt x="312" y="89"/>
                      <a:pt x="314" y="85"/>
                    </a:cubicBezTo>
                    <a:cubicBezTo>
                      <a:pt x="317" y="81"/>
                      <a:pt x="315" y="76"/>
                      <a:pt x="312" y="74"/>
                    </a:cubicBezTo>
                    <a:cubicBezTo>
                      <a:pt x="312" y="74"/>
                      <a:pt x="312" y="74"/>
                      <a:pt x="312" y="74"/>
                    </a:cubicBezTo>
                    <a:cubicBezTo>
                      <a:pt x="296" y="65"/>
                      <a:pt x="279" y="61"/>
                      <a:pt x="261" y="61"/>
                    </a:cubicBezTo>
                    <a:cubicBezTo>
                      <a:pt x="256" y="61"/>
                      <a:pt x="250" y="61"/>
                      <a:pt x="244" y="62"/>
                    </a:cubicBezTo>
                    <a:cubicBezTo>
                      <a:pt x="210" y="66"/>
                      <a:pt x="182" y="86"/>
                      <a:pt x="166" y="113"/>
                    </a:cubicBezTo>
                    <a:cubicBezTo>
                      <a:pt x="162" y="113"/>
                      <a:pt x="158" y="112"/>
                      <a:pt x="154" y="112"/>
                    </a:cubicBezTo>
                    <a:cubicBezTo>
                      <a:pt x="102" y="112"/>
                      <a:pt x="59" y="151"/>
                      <a:pt x="51" y="201"/>
                    </a:cubicBezTo>
                    <a:cubicBezTo>
                      <a:pt x="22" y="209"/>
                      <a:pt x="0" y="236"/>
                      <a:pt x="0" y="268"/>
                    </a:cubicBezTo>
                    <a:cubicBezTo>
                      <a:pt x="0" y="298"/>
                      <a:pt x="18" y="323"/>
                      <a:pt x="44" y="333"/>
                    </a:cubicBezTo>
                    <a:cubicBezTo>
                      <a:pt x="45" y="334"/>
                      <a:pt x="46" y="334"/>
                      <a:pt x="47" y="334"/>
                    </a:cubicBezTo>
                    <a:cubicBezTo>
                      <a:pt x="50" y="334"/>
                      <a:pt x="53" y="332"/>
                      <a:pt x="54" y="329"/>
                    </a:cubicBezTo>
                    <a:cubicBezTo>
                      <a:pt x="56" y="325"/>
                      <a:pt x="54" y="320"/>
                      <a:pt x="50" y="318"/>
                    </a:cubicBezTo>
                    <a:cubicBezTo>
                      <a:pt x="30" y="310"/>
                      <a:pt x="16" y="291"/>
                      <a:pt x="16" y="268"/>
                    </a:cubicBezTo>
                    <a:cubicBezTo>
                      <a:pt x="16" y="242"/>
                      <a:pt x="35" y="220"/>
                      <a:pt x="60" y="215"/>
                    </a:cubicBezTo>
                    <a:cubicBezTo>
                      <a:pt x="63" y="215"/>
                      <a:pt x="66" y="212"/>
                      <a:pt x="66" y="208"/>
                    </a:cubicBezTo>
                    <a:cubicBezTo>
                      <a:pt x="71" y="163"/>
                      <a:pt x="108" y="128"/>
                      <a:pt x="154" y="128"/>
                    </a:cubicBezTo>
                    <a:cubicBezTo>
                      <a:pt x="191" y="128"/>
                      <a:pt x="223" y="151"/>
                      <a:pt x="236" y="183"/>
                    </a:cubicBezTo>
                    <a:cubicBezTo>
                      <a:pt x="237" y="185"/>
                      <a:pt x="239" y="187"/>
                      <a:pt x="242" y="187"/>
                    </a:cubicBezTo>
                    <a:cubicBezTo>
                      <a:pt x="244" y="188"/>
                      <a:pt x="247" y="187"/>
                      <a:pt x="249" y="186"/>
                    </a:cubicBezTo>
                    <a:cubicBezTo>
                      <a:pt x="255" y="180"/>
                      <a:pt x="263" y="177"/>
                      <a:pt x="272" y="177"/>
                    </a:cubicBezTo>
                    <a:cubicBezTo>
                      <a:pt x="291" y="177"/>
                      <a:pt x="306" y="192"/>
                      <a:pt x="306" y="211"/>
                    </a:cubicBezTo>
                    <a:cubicBezTo>
                      <a:pt x="306" y="219"/>
                      <a:pt x="304" y="227"/>
                      <a:pt x="299" y="232"/>
                    </a:cubicBezTo>
                    <a:cubicBezTo>
                      <a:pt x="297" y="235"/>
                      <a:pt x="297" y="238"/>
                      <a:pt x="298" y="240"/>
                    </a:cubicBezTo>
                    <a:cubicBezTo>
                      <a:pt x="299" y="243"/>
                      <a:pt x="301" y="245"/>
                      <a:pt x="304" y="245"/>
                    </a:cubicBezTo>
                    <a:cubicBezTo>
                      <a:pt x="323" y="248"/>
                      <a:pt x="337" y="264"/>
                      <a:pt x="337" y="284"/>
                    </a:cubicBezTo>
                    <a:cubicBezTo>
                      <a:pt x="337" y="299"/>
                      <a:pt x="329" y="312"/>
                      <a:pt x="317" y="318"/>
                    </a:cubicBezTo>
                    <a:cubicBezTo>
                      <a:pt x="313" y="320"/>
                      <a:pt x="311" y="325"/>
                      <a:pt x="313" y="329"/>
                    </a:cubicBezTo>
                    <a:cubicBezTo>
                      <a:pt x="315" y="333"/>
                      <a:pt x="320" y="334"/>
                      <a:pt x="324" y="332"/>
                    </a:cubicBezTo>
                    <a:cubicBezTo>
                      <a:pt x="324" y="332"/>
                      <a:pt x="324" y="332"/>
                      <a:pt x="324" y="332"/>
                    </a:cubicBezTo>
                    <a:cubicBezTo>
                      <a:pt x="342" y="323"/>
                      <a:pt x="353" y="305"/>
                      <a:pt x="353" y="284"/>
                    </a:cubicBezTo>
                    <a:cubicBezTo>
                      <a:pt x="353" y="268"/>
                      <a:pt x="347" y="254"/>
                      <a:pt x="336" y="244"/>
                    </a:cubicBezTo>
                    <a:cubicBezTo>
                      <a:pt x="355" y="224"/>
                      <a:pt x="366" y="198"/>
                      <a:pt x="366" y="169"/>
                    </a:cubicBezTo>
                    <a:moveTo>
                      <a:pt x="233" y="39"/>
                    </a:moveTo>
                    <a:cubicBezTo>
                      <a:pt x="234" y="43"/>
                      <a:pt x="237" y="46"/>
                      <a:pt x="241" y="46"/>
                    </a:cubicBezTo>
                    <a:cubicBezTo>
                      <a:pt x="242" y="46"/>
                      <a:pt x="242" y="46"/>
                      <a:pt x="242" y="46"/>
                    </a:cubicBezTo>
                    <a:cubicBezTo>
                      <a:pt x="247" y="45"/>
                      <a:pt x="250" y="41"/>
                      <a:pt x="249" y="37"/>
                    </a:cubicBezTo>
                    <a:cubicBezTo>
                      <a:pt x="245" y="8"/>
                      <a:pt x="245" y="8"/>
                      <a:pt x="245" y="8"/>
                    </a:cubicBezTo>
                    <a:cubicBezTo>
                      <a:pt x="245" y="3"/>
                      <a:pt x="241" y="0"/>
                      <a:pt x="236" y="1"/>
                    </a:cubicBezTo>
                    <a:cubicBezTo>
                      <a:pt x="232" y="1"/>
                      <a:pt x="229" y="5"/>
                      <a:pt x="229" y="10"/>
                    </a:cubicBezTo>
                    <a:lnTo>
                      <a:pt x="233" y="39"/>
                    </a:lnTo>
                    <a:close/>
                    <a:moveTo>
                      <a:pt x="185" y="60"/>
                    </a:moveTo>
                    <a:cubicBezTo>
                      <a:pt x="186" y="62"/>
                      <a:pt x="189" y="64"/>
                      <a:pt x="192" y="64"/>
                    </a:cubicBezTo>
                    <a:cubicBezTo>
                      <a:pt x="193" y="64"/>
                      <a:pt x="194" y="63"/>
                      <a:pt x="196" y="63"/>
                    </a:cubicBezTo>
                    <a:cubicBezTo>
                      <a:pt x="199" y="60"/>
                      <a:pt x="201" y="56"/>
                      <a:pt x="199" y="52"/>
                    </a:cubicBezTo>
                    <a:cubicBezTo>
                      <a:pt x="183" y="25"/>
                      <a:pt x="183" y="25"/>
                      <a:pt x="183" y="25"/>
                    </a:cubicBezTo>
                    <a:cubicBezTo>
                      <a:pt x="181" y="21"/>
                      <a:pt x="176" y="20"/>
                      <a:pt x="173" y="22"/>
                    </a:cubicBezTo>
                    <a:cubicBezTo>
                      <a:pt x="169" y="24"/>
                      <a:pt x="167" y="29"/>
                      <a:pt x="170" y="33"/>
                    </a:cubicBezTo>
                    <a:lnTo>
                      <a:pt x="185" y="60"/>
                    </a:lnTo>
                    <a:close/>
                    <a:moveTo>
                      <a:pt x="394" y="266"/>
                    </a:moveTo>
                    <a:cubicBezTo>
                      <a:pt x="366" y="245"/>
                      <a:pt x="366" y="245"/>
                      <a:pt x="366" y="245"/>
                    </a:cubicBezTo>
                    <a:cubicBezTo>
                      <a:pt x="363" y="242"/>
                      <a:pt x="358" y="243"/>
                      <a:pt x="355" y="247"/>
                    </a:cubicBezTo>
                    <a:cubicBezTo>
                      <a:pt x="352" y="250"/>
                      <a:pt x="353" y="255"/>
                      <a:pt x="357" y="258"/>
                    </a:cubicBezTo>
                    <a:cubicBezTo>
                      <a:pt x="384" y="279"/>
                      <a:pt x="384" y="279"/>
                      <a:pt x="384" y="279"/>
                    </a:cubicBezTo>
                    <a:cubicBezTo>
                      <a:pt x="385" y="280"/>
                      <a:pt x="387" y="280"/>
                      <a:pt x="389" y="280"/>
                    </a:cubicBezTo>
                    <a:cubicBezTo>
                      <a:pt x="391" y="280"/>
                      <a:pt x="393" y="279"/>
                      <a:pt x="395" y="277"/>
                    </a:cubicBezTo>
                    <a:cubicBezTo>
                      <a:pt x="398" y="274"/>
                      <a:pt x="397" y="269"/>
                      <a:pt x="394" y="266"/>
                    </a:cubicBezTo>
                    <a:moveTo>
                      <a:pt x="123" y="78"/>
                    </a:moveTo>
                    <a:cubicBezTo>
                      <a:pt x="148" y="97"/>
                      <a:pt x="148" y="97"/>
                      <a:pt x="148" y="97"/>
                    </a:cubicBezTo>
                    <a:cubicBezTo>
                      <a:pt x="150" y="98"/>
                      <a:pt x="151" y="99"/>
                      <a:pt x="153" y="99"/>
                    </a:cubicBezTo>
                    <a:cubicBezTo>
                      <a:pt x="156" y="99"/>
                      <a:pt x="158" y="98"/>
                      <a:pt x="159" y="96"/>
                    </a:cubicBezTo>
                    <a:cubicBezTo>
                      <a:pt x="162" y="92"/>
                      <a:pt x="162" y="87"/>
                      <a:pt x="158" y="84"/>
                    </a:cubicBezTo>
                    <a:cubicBezTo>
                      <a:pt x="133" y="65"/>
                      <a:pt x="133" y="65"/>
                      <a:pt x="133" y="65"/>
                    </a:cubicBezTo>
                    <a:cubicBezTo>
                      <a:pt x="130" y="62"/>
                      <a:pt x="125" y="63"/>
                      <a:pt x="122" y="67"/>
                    </a:cubicBezTo>
                    <a:cubicBezTo>
                      <a:pt x="119" y="70"/>
                      <a:pt x="120" y="75"/>
                      <a:pt x="123" y="78"/>
                    </a:cubicBezTo>
                    <a:moveTo>
                      <a:pt x="419" y="207"/>
                    </a:moveTo>
                    <a:cubicBezTo>
                      <a:pt x="387" y="199"/>
                      <a:pt x="387" y="199"/>
                      <a:pt x="387" y="199"/>
                    </a:cubicBezTo>
                    <a:cubicBezTo>
                      <a:pt x="383" y="198"/>
                      <a:pt x="379" y="200"/>
                      <a:pt x="378" y="204"/>
                    </a:cubicBezTo>
                    <a:cubicBezTo>
                      <a:pt x="377" y="209"/>
                      <a:pt x="379" y="213"/>
                      <a:pt x="383" y="214"/>
                    </a:cubicBezTo>
                    <a:cubicBezTo>
                      <a:pt x="415" y="223"/>
                      <a:pt x="415" y="223"/>
                      <a:pt x="415" y="223"/>
                    </a:cubicBezTo>
                    <a:cubicBezTo>
                      <a:pt x="416" y="223"/>
                      <a:pt x="417" y="223"/>
                      <a:pt x="417" y="223"/>
                    </a:cubicBezTo>
                    <a:cubicBezTo>
                      <a:pt x="421" y="223"/>
                      <a:pt x="424" y="221"/>
                      <a:pt x="425" y="217"/>
                    </a:cubicBezTo>
                    <a:cubicBezTo>
                      <a:pt x="426" y="213"/>
                      <a:pt x="424" y="208"/>
                      <a:pt x="419" y="207"/>
                    </a:cubicBezTo>
                    <a:moveTo>
                      <a:pt x="430" y="150"/>
                    </a:moveTo>
                    <a:cubicBezTo>
                      <a:pt x="429" y="145"/>
                      <a:pt x="425" y="142"/>
                      <a:pt x="421" y="143"/>
                    </a:cubicBezTo>
                    <a:cubicBezTo>
                      <a:pt x="389" y="147"/>
                      <a:pt x="389" y="147"/>
                      <a:pt x="389" y="147"/>
                    </a:cubicBezTo>
                    <a:cubicBezTo>
                      <a:pt x="385" y="148"/>
                      <a:pt x="382" y="152"/>
                      <a:pt x="382" y="156"/>
                    </a:cubicBezTo>
                    <a:cubicBezTo>
                      <a:pt x="383" y="160"/>
                      <a:pt x="386" y="163"/>
                      <a:pt x="390" y="163"/>
                    </a:cubicBezTo>
                    <a:cubicBezTo>
                      <a:pt x="390" y="163"/>
                      <a:pt x="391" y="163"/>
                      <a:pt x="391" y="163"/>
                    </a:cubicBezTo>
                    <a:cubicBezTo>
                      <a:pt x="423" y="159"/>
                      <a:pt x="423" y="159"/>
                      <a:pt x="423" y="159"/>
                    </a:cubicBezTo>
                    <a:cubicBezTo>
                      <a:pt x="427" y="158"/>
                      <a:pt x="430" y="154"/>
                      <a:pt x="430" y="150"/>
                    </a:cubicBezTo>
                    <a:moveTo>
                      <a:pt x="367" y="109"/>
                    </a:moveTo>
                    <a:cubicBezTo>
                      <a:pt x="369" y="112"/>
                      <a:pt x="372" y="113"/>
                      <a:pt x="374" y="113"/>
                    </a:cubicBezTo>
                    <a:cubicBezTo>
                      <a:pt x="376" y="113"/>
                      <a:pt x="377" y="113"/>
                      <a:pt x="378" y="112"/>
                    </a:cubicBezTo>
                    <a:cubicBezTo>
                      <a:pt x="405" y="97"/>
                      <a:pt x="405" y="97"/>
                      <a:pt x="405" y="97"/>
                    </a:cubicBezTo>
                    <a:cubicBezTo>
                      <a:pt x="409" y="95"/>
                      <a:pt x="410" y="90"/>
                      <a:pt x="408" y="86"/>
                    </a:cubicBezTo>
                    <a:cubicBezTo>
                      <a:pt x="406" y="82"/>
                      <a:pt x="401" y="81"/>
                      <a:pt x="397" y="83"/>
                    </a:cubicBezTo>
                    <a:cubicBezTo>
                      <a:pt x="370" y="98"/>
                      <a:pt x="370" y="98"/>
                      <a:pt x="370" y="98"/>
                    </a:cubicBezTo>
                    <a:cubicBezTo>
                      <a:pt x="367" y="100"/>
                      <a:pt x="365" y="105"/>
                      <a:pt x="367" y="109"/>
                    </a:cubicBezTo>
                    <a:moveTo>
                      <a:pt x="336" y="72"/>
                    </a:moveTo>
                    <a:cubicBezTo>
                      <a:pt x="337" y="73"/>
                      <a:pt x="339" y="73"/>
                      <a:pt x="341" y="73"/>
                    </a:cubicBezTo>
                    <a:cubicBezTo>
                      <a:pt x="343" y="73"/>
                      <a:pt x="345" y="72"/>
                      <a:pt x="347" y="70"/>
                    </a:cubicBezTo>
                    <a:cubicBezTo>
                      <a:pt x="365" y="47"/>
                      <a:pt x="365" y="47"/>
                      <a:pt x="365" y="47"/>
                    </a:cubicBezTo>
                    <a:cubicBezTo>
                      <a:pt x="368" y="43"/>
                      <a:pt x="367" y="38"/>
                      <a:pt x="364" y="35"/>
                    </a:cubicBezTo>
                    <a:cubicBezTo>
                      <a:pt x="360" y="33"/>
                      <a:pt x="355" y="33"/>
                      <a:pt x="353" y="37"/>
                    </a:cubicBezTo>
                    <a:cubicBezTo>
                      <a:pt x="334" y="61"/>
                      <a:pt x="334" y="61"/>
                      <a:pt x="334" y="61"/>
                    </a:cubicBezTo>
                    <a:cubicBezTo>
                      <a:pt x="332" y="64"/>
                      <a:pt x="332" y="69"/>
                      <a:pt x="336" y="72"/>
                    </a:cubicBezTo>
                    <a:moveTo>
                      <a:pt x="292" y="49"/>
                    </a:moveTo>
                    <a:cubicBezTo>
                      <a:pt x="292" y="50"/>
                      <a:pt x="293" y="50"/>
                      <a:pt x="294" y="50"/>
                    </a:cubicBezTo>
                    <a:cubicBezTo>
                      <a:pt x="297" y="50"/>
                      <a:pt x="300" y="47"/>
                      <a:pt x="301" y="44"/>
                    </a:cubicBezTo>
                    <a:cubicBezTo>
                      <a:pt x="309" y="15"/>
                      <a:pt x="309" y="15"/>
                      <a:pt x="309" y="15"/>
                    </a:cubicBezTo>
                    <a:cubicBezTo>
                      <a:pt x="310" y="11"/>
                      <a:pt x="308" y="7"/>
                      <a:pt x="304" y="5"/>
                    </a:cubicBezTo>
                    <a:cubicBezTo>
                      <a:pt x="299" y="4"/>
                      <a:pt x="295" y="7"/>
                      <a:pt x="294" y="11"/>
                    </a:cubicBezTo>
                    <a:cubicBezTo>
                      <a:pt x="286" y="40"/>
                      <a:pt x="286" y="40"/>
                      <a:pt x="286" y="40"/>
                    </a:cubicBezTo>
                    <a:cubicBezTo>
                      <a:pt x="285" y="44"/>
                      <a:pt x="287" y="48"/>
                      <a:pt x="292" y="49"/>
                    </a:cubicBezTo>
                    <a:moveTo>
                      <a:pt x="300" y="399"/>
                    </a:moveTo>
                    <a:cubicBezTo>
                      <a:pt x="300" y="399"/>
                      <a:pt x="300" y="399"/>
                      <a:pt x="299" y="399"/>
                    </a:cubicBezTo>
                    <a:cubicBezTo>
                      <a:pt x="299" y="399"/>
                      <a:pt x="299" y="399"/>
                      <a:pt x="299" y="399"/>
                    </a:cubicBezTo>
                    <a:cubicBezTo>
                      <a:pt x="299" y="398"/>
                      <a:pt x="299" y="398"/>
                      <a:pt x="299" y="398"/>
                    </a:cubicBezTo>
                    <a:cubicBezTo>
                      <a:pt x="299" y="398"/>
                      <a:pt x="298" y="397"/>
                      <a:pt x="298" y="397"/>
                    </a:cubicBezTo>
                    <a:cubicBezTo>
                      <a:pt x="287" y="388"/>
                      <a:pt x="265" y="381"/>
                      <a:pt x="262" y="383"/>
                    </a:cubicBezTo>
                    <a:cubicBezTo>
                      <a:pt x="260" y="386"/>
                      <a:pt x="268" y="408"/>
                      <a:pt x="276" y="419"/>
                    </a:cubicBezTo>
                    <a:cubicBezTo>
                      <a:pt x="277" y="419"/>
                      <a:pt x="277" y="420"/>
                      <a:pt x="277" y="420"/>
                    </a:cubicBezTo>
                    <a:cubicBezTo>
                      <a:pt x="277" y="420"/>
                      <a:pt x="278" y="420"/>
                      <a:pt x="278" y="420"/>
                    </a:cubicBezTo>
                    <a:cubicBezTo>
                      <a:pt x="278" y="420"/>
                      <a:pt x="278" y="420"/>
                      <a:pt x="278" y="420"/>
                    </a:cubicBezTo>
                    <a:cubicBezTo>
                      <a:pt x="278" y="420"/>
                      <a:pt x="278" y="421"/>
                      <a:pt x="278" y="421"/>
                    </a:cubicBezTo>
                    <a:cubicBezTo>
                      <a:pt x="284" y="426"/>
                      <a:pt x="293" y="426"/>
                      <a:pt x="299" y="420"/>
                    </a:cubicBezTo>
                    <a:cubicBezTo>
                      <a:pt x="305" y="414"/>
                      <a:pt x="305" y="406"/>
                      <a:pt x="300" y="400"/>
                    </a:cubicBezTo>
                    <a:cubicBezTo>
                      <a:pt x="300" y="399"/>
                      <a:pt x="300" y="399"/>
                      <a:pt x="300" y="399"/>
                    </a:cubicBezTo>
                    <a:moveTo>
                      <a:pt x="219" y="399"/>
                    </a:moveTo>
                    <a:cubicBezTo>
                      <a:pt x="219" y="399"/>
                      <a:pt x="219" y="399"/>
                      <a:pt x="219" y="399"/>
                    </a:cubicBezTo>
                    <a:cubicBezTo>
                      <a:pt x="218" y="399"/>
                      <a:pt x="218" y="399"/>
                      <a:pt x="218" y="399"/>
                    </a:cubicBezTo>
                    <a:cubicBezTo>
                      <a:pt x="218" y="398"/>
                      <a:pt x="218" y="398"/>
                      <a:pt x="218" y="398"/>
                    </a:cubicBezTo>
                    <a:cubicBezTo>
                      <a:pt x="218" y="398"/>
                      <a:pt x="217" y="397"/>
                      <a:pt x="217" y="397"/>
                    </a:cubicBezTo>
                    <a:cubicBezTo>
                      <a:pt x="206" y="388"/>
                      <a:pt x="184" y="381"/>
                      <a:pt x="182" y="383"/>
                    </a:cubicBezTo>
                    <a:cubicBezTo>
                      <a:pt x="179" y="386"/>
                      <a:pt x="187" y="408"/>
                      <a:pt x="195" y="419"/>
                    </a:cubicBezTo>
                    <a:cubicBezTo>
                      <a:pt x="196" y="419"/>
                      <a:pt x="196" y="420"/>
                      <a:pt x="197" y="420"/>
                    </a:cubicBezTo>
                    <a:cubicBezTo>
                      <a:pt x="197" y="420"/>
                      <a:pt x="197" y="420"/>
                      <a:pt x="197" y="420"/>
                    </a:cubicBezTo>
                    <a:cubicBezTo>
                      <a:pt x="197" y="420"/>
                      <a:pt x="197" y="420"/>
                      <a:pt x="197" y="420"/>
                    </a:cubicBezTo>
                    <a:cubicBezTo>
                      <a:pt x="197" y="420"/>
                      <a:pt x="197" y="421"/>
                      <a:pt x="197" y="421"/>
                    </a:cubicBezTo>
                    <a:cubicBezTo>
                      <a:pt x="203" y="426"/>
                      <a:pt x="212" y="426"/>
                      <a:pt x="218" y="420"/>
                    </a:cubicBezTo>
                    <a:cubicBezTo>
                      <a:pt x="224" y="414"/>
                      <a:pt x="224" y="406"/>
                      <a:pt x="219" y="400"/>
                    </a:cubicBezTo>
                    <a:cubicBezTo>
                      <a:pt x="219" y="399"/>
                      <a:pt x="219" y="399"/>
                      <a:pt x="219" y="399"/>
                    </a:cubicBezTo>
                    <a:moveTo>
                      <a:pt x="138" y="400"/>
                    </a:moveTo>
                    <a:cubicBezTo>
                      <a:pt x="138" y="399"/>
                      <a:pt x="138" y="399"/>
                      <a:pt x="138" y="399"/>
                    </a:cubicBezTo>
                    <a:cubicBezTo>
                      <a:pt x="138" y="399"/>
                      <a:pt x="138" y="399"/>
                      <a:pt x="138" y="399"/>
                    </a:cubicBezTo>
                    <a:cubicBezTo>
                      <a:pt x="138" y="399"/>
                      <a:pt x="138" y="399"/>
                      <a:pt x="138" y="399"/>
                    </a:cubicBezTo>
                    <a:cubicBezTo>
                      <a:pt x="137" y="398"/>
                      <a:pt x="137" y="398"/>
                      <a:pt x="137" y="398"/>
                    </a:cubicBezTo>
                    <a:cubicBezTo>
                      <a:pt x="137" y="398"/>
                      <a:pt x="136" y="397"/>
                      <a:pt x="136" y="397"/>
                    </a:cubicBezTo>
                    <a:cubicBezTo>
                      <a:pt x="125" y="388"/>
                      <a:pt x="103" y="381"/>
                      <a:pt x="101" y="383"/>
                    </a:cubicBezTo>
                    <a:cubicBezTo>
                      <a:pt x="98" y="386"/>
                      <a:pt x="106" y="408"/>
                      <a:pt x="114" y="419"/>
                    </a:cubicBezTo>
                    <a:cubicBezTo>
                      <a:pt x="115" y="419"/>
                      <a:pt x="115" y="420"/>
                      <a:pt x="116" y="420"/>
                    </a:cubicBezTo>
                    <a:cubicBezTo>
                      <a:pt x="116" y="420"/>
                      <a:pt x="116" y="420"/>
                      <a:pt x="116" y="420"/>
                    </a:cubicBezTo>
                    <a:cubicBezTo>
                      <a:pt x="116" y="420"/>
                      <a:pt x="116" y="420"/>
                      <a:pt x="116" y="420"/>
                    </a:cubicBezTo>
                    <a:cubicBezTo>
                      <a:pt x="116" y="420"/>
                      <a:pt x="116" y="421"/>
                      <a:pt x="116" y="421"/>
                    </a:cubicBezTo>
                    <a:cubicBezTo>
                      <a:pt x="122" y="426"/>
                      <a:pt x="132" y="426"/>
                      <a:pt x="137" y="420"/>
                    </a:cubicBezTo>
                    <a:cubicBezTo>
                      <a:pt x="143" y="414"/>
                      <a:pt x="143" y="406"/>
                      <a:pt x="138" y="400"/>
                    </a:cubicBezTo>
                    <a:close/>
                    <a:moveTo>
                      <a:pt x="109" y="356"/>
                    </a:moveTo>
                    <a:cubicBezTo>
                      <a:pt x="109" y="348"/>
                      <a:pt x="109" y="348"/>
                      <a:pt x="109" y="348"/>
                    </a:cubicBezTo>
                    <a:cubicBezTo>
                      <a:pt x="116" y="352"/>
                      <a:pt x="116" y="352"/>
                      <a:pt x="116" y="352"/>
                    </a:cubicBezTo>
                    <a:cubicBezTo>
                      <a:pt x="117" y="353"/>
                      <a:pt x="119" y="353"/>
                      <a:pt x="120" y="353"/>
                    </a:cubicBezTo>
                    <a:cubicBezTo>
                      <a:pt x="123" y="353"/>
                      <a:pt x="126" y="351"/>
                      <a:pt x="127" y="349"/>
                    </a:cubicBezTo>
                    <a:cubicBezTo>
                      <a:pt x="129" y="345"/>
                      <a:pt x="128" y="340"/>
                      <a:pt x="124" y="338"/>
                    </a:cubicBezTo>
                    <a:cubicBezTo>
                      <a:pt x="117" y="334"/>
                      <a:pt x="117" y="334"/>
                      <a:pt x="117" y="334"/>
                    </a:cubicBezTo>
                    <a:cubicBezTo>
                      <a:pt x="124" y="330"/>
                      <a:pt x="124" y="330"/>
                      <a:pt x="124" y="330"/>
                    </a:cubicBezTo>
                    <a:cubicBezTo>
                      <a:pt x="128" y="328"/>
                      <a:pt x="129" y="323"/>
                      <a:pt x="127" y="319"/>
                    </a:cubicBezTo>
                    <a:cubicBezTo>
                      <a:pt x="125" y="315"/>
                      <a:pt x="120" y="314"/>
                      <a:pt x="116" y="316"/>
                    </a:cubicBezTo>
                    <a:cubicBezTo>
                      <a:pt x="109" y="320"/>
                      <a:pt x="109" y="320"/>
                      <a:pt x="109" y="320"/>
                    </a:cubicBezTo>
                    <a:cubicBezTo>
                      <a:pt x="109" y="312"/>
                      <a:pt x="109" y="312"/>
                      <a:pt x="109" y="312"/>
                    </a:cubicBezTo>
                    <a:cubicBezTo>
                      <a:pt x="109" y="308"/>
                      <a:pt x="106" y="304"/>
                      <a:pt x="101" y="304"/>
                    </a:cubicBezTo>
                    <a:cubicBezTo>
                      <a:pt x="97" y="304"/>
                      <a:pt x="93" y="308"/>
                      <a:pt x="93" y="312"/>
                    </a:cubicBezTo>
                    <a:cubicBezTo>
                      <a:pt x="93" y="320"/>
                      <a:pt x="93" y="320"/>
                      <a:pt x="93" y="320"/>
                    </a:cubicBezTo>
                    <a:cubicBezTo>
                      <a:pt x="86" y="316"/>
                      <a:pt x="86" y="316"/>
                      <a:pt x="86" y="316"/>
                    </a:cubicBezTo>
                    <a:cubicBezTo>
                      <a:pt x="83" y="314"/>
                      <a:pt x="78" y="315"/>
                      <a:pt x="75" y="319"/>
                    </a:cubicBezTo>
                    <a:cubicBezTo>
                      <a:pt x="73" y="323"/>
                      <a:pt x="75" y="328"/>
                      <a:pt x="78" y="330"/>
                    </a:cubicBezTo>
                    <a:cubicBezTo>
                      <a:pt x="85" y="334"/>
                      <a:pt x="85" y="334"/>
                      <a:pt x="85" y="334"/>
                    </a:cubicBezTo>
                    <a:cubicBezTo>
                      <a:pt x="78" y="338"/>
                      <a:pt x="78" y="338"/>
                      <a:pt x="78" y="338"/>
                    </a:cubicBezTo>
                    <a:cubicBezTo>
                      <a:pt x="75" y="340"/>
                      <a:pt x="73" y="345"/>
                      <a:pt x="75" y="349"/>
                    </a:cubicBezTo>
                    <a:cubicBezTo>
                      <a:pt x="77" y="351"/>
                      <a:pt x="80" y="353"/>
                      <a:pt x="82" y="353"/>
                    </a:cubicBezTo>
                    <a:cubicBezTo>
                      <a:pt x="84" y="353"/>
                      <a:pt x="85" y="353"/>
                      <a:pt x="86" y="352"/>
                    </a:cubicBezTo>
                    <a:cubicBezTo>
                      <a:pt x="93" y="348"/>
                      <a:pt x="93" y="348"/>
                      <a:pt x="93" y="348"/>
                    </a:cubicBezTo>
                    <a:cubicBezTo>
                      <a:pt x="93" y="356"/>
                      <a:pt x="93" y="356"/>
                      <a:pt x="93" y="356"/>
                    </a:cubicBezTo>
                    <a:cubicBezTo>
                      <a:pt x="93" y="360"/>
                      <a:pt x="97" y="364"/>
                      <a:pt x="101" y="364"/>
                    </a:cubicBezTo>
                    <a:cubicBezTo>
                      <a:pt x="106" y="364"/>
                      <a:pt x="109" y="360"/>
                      <a:pt x="109" y="356"/>
                    </a:cubicBezTo>
                    <a:moveTo>
                      <a:pt x="190" y="356"/>
                    </a:moveTo>
                    <a:cubicBezTo>
                      <a:pt x="190" y="348"/>
                      <a:pt x="190" y="348"/>
                      <a:pt x="190" y="348"/>
                    </a:cubicBezTo>
                    <a:cubicBezTo>
                      <a:pt x="197" y="352"/>
                      <a:pt x="197" y="352"/>
                      <a:pt x="197" y="352"/>
                    </a:cubicBezTo>
                    <a:cubicBezTo>
                      <a:pt x="198" y="353"/>
                      <a:pt x="199" y="353"/>
                      <a:pt x="201" y="353"/>
                    </a:cubicBezTo>
                    <a:cubicBezTo>
                      <a:pt x="204" y="353"/>
                      <a:pt x="206" y="351"/>
                      <a:pt x="208" y="349"/>
                    </a:cubicBezTo>
                    <a:cubicBezTo>
                      <a:pt x="210" y="345"/>
                      <a:pt x="209" y="340"/>
                      <a:pt x="205" y="338"/>
                    </a:cubicBezTo>
                    <a:cubicBezTo>
                      <a:pt x="198" y="334"/>
                      <a:pt x="198" y="334"/>
                      <a:pt x="198" y="334"/>
                    </a:cubicBezTo>
                    <a:cubicBezTo>
                      <a:pt x="205" y="330"/>
                      <a:pt x="205" y="330"/>
                      <a:pt x="205" y="330"/>
                    </a:cubicBezTo>
                    <a:cubicBezTo>
                      <a:pt x="209" y="328"/>
                      <a:pt x="210" y="323"/>
                      <a:pt x="208" y="319"/>
                    </a:cubicBezTo>
                    <a:cubicBezTo>
                      <a:pt x="205" y="315"/>
                      <a:pt x="201" y="314"/>
                      <a:pt x="197" y="316"/>
                    </a:cubicBezTo>
                    <a:cubicBezTo>
                      <a:pt x="190" y="320"/>
                      <a:pt x="190" y="320"/>
                      <a:pt x="190" y="320"/>
                    </a:cubicBezTo>
                    <a:cubicBezTo>
                      <a:pt x="190" y="312"/>
                      <a:pt x="190" y="312"/>
                      <a:pt x="190" y="312"/>
                    </a:cubicBezTo>
                    <a:cubicBezTo>
                      <a:pt x="190" y="308"/>
                      <a:pt x="186" y="304"/>
                      <a:pt x="182" y="304"/>
                    </a:cubicBezTo>
                    <a:cubicBezTo>
                      <a:pt x="177" y="304"/>
                      <a:pt x="174" y="308"/>
                      <a:pt x="174" y="312"/>
                    </a:cubicBezTo>
                    <a:cubicBezTo>
                      <a:pt x="174" y="320"/>
                      <a:pt x="174" y="320"/>
                      <a:pt x="174" y="320"/>
                    </a:cubicBezTo>
                    <a:cubicBezTo>
                      <a:pt x="167" y="316"/>
                      <a:pt x="167" y="316"/>
                      <a:pt x="167" y="316"/>
                    </a:cubicBezTo>
                    <a:cubicBezTo>
                      <a:pt x="163" y="314"/>
                      <a:pt x="158" y="315"/>
                      <a:pt x="156" y="319"/>
                    </a:cubicBezTo>
                    <a:cubicBezTo>
                      <a:pt x="154" y="323"/>
                      <a:pt x="155" y="328"/>
                      <a:pt x="159" y="330"/>
                    </a:cubicBezTo>
                    <a:cubicBezTo>
                      <a:pt x="166" y="334"/>
                      <a:pt x="166" y="334"/>
                      <a:pt x="166" y="334"/>
                    </a:cubicBezTo>
                    <a:cubicBezTo>
                      <a:pt x="159" y="338"/>
                      <a:pt x="159" y="338"/>
                      <a:pt x="159" y="338"/>
                    </a:cubicBezTo>
                    <a:cubicBezTo>
                      <a:pt x="155" y="340"/>
                      <a:pt x="154" y="345"/>
                      <a:pt x="156" y="349"/>
                    </a:cubicBezTo>
                    <a:cubicBezTo>
                      <a:pt x="158" y="351"/>
                      <a:pt x="160" y="353"/>
                      <a:pt x="163" y="353"/>
                    </a:cubicBezTo>
                    <a:cubicBezTo>
                      <a:pt x="164" y="353"/>
                      <a:pt x="166" y="353"/>
                      <a:pt x="167" y="352"/>
                    </a:cubicBezTo>
                    <a:cubicBezTo>
                      <a:pt x="174" y="348"/>
                      <a:pt x="174" y="348"/>
                      <a:pt x="174" y="348"/>
                    </a:cubicBezTo>
                    <a:cubicBezTo>
                      <a:pt x="174" y="356"/>
                      <a:pt x="174" y="356"/>
                      <a:pt x="174" y="356"/>
                    </a:cubicBezTo>
                    <a:cubicBezTo>
                      <a:pt x="174" y="360"/>
                      <a:pt x="177" y="364"/>
                      <a:pt x="182" y="364"/>
                    </a:cubicBezTo>
                    <a:cubicBezTo>
                      <a:pt x="186" y="364"/>
                      <a:pt x="190" y="360"/>
                      <a:pt x="190" y="356"/>
                    </a:cubicBezTo>
                    <a:moveTo>
                      <a:pt x="271" y="356"/>
                    </a:moveTo>
                    <a:cubicBezTo>
                      <a:pt x="271" y="348"/>
                      <a:pt x="271" y="348"/>
                      <a:pt x="271" y="348"/>
                    </a:cubicBezTo>
                    <a:cubicBezTo>
                      <a:pt x="277" y="352"/>
                      <a:pt x="277" y="352"/>
                      <a:pt x="277" y="352"/>
                    </a:cubicBezTo>
                    <a:cubicBezTo>
                      <a:pt x="279" y="353"/>
                      <a:pt x="280" y="353"/>
                      <a:pt x="281" y="353"/>
                    </a:cubicBezTo>
                    <a:cubicBezTo>
                      <a:pt x="284" y="353"/>
                      <a:pt x="287" y="351"/>
                      <a:pt x="288" y="349"/>
                    </a:cubicBezTo>
                    <a:cubicBezTo>
                      <a:pt x="291" y="345"/>
                      <a:pt x="289" y="340"/>
                      <a:pt x="285" y="338"/>
                    </a:cubicBezTo>
                    <a:cubicBezTo>
                      <a:pt x="279" y="334"/>
                      <a:pt x="279" y="334"/>
                      <a:pt x="279" y="334"/>
                    </a:cubicBezTo>
                    <a:cubicBezTo>
                      <a:pt x="285" y="330"/>
                      <a:pt x="285" y="330"/>
                      <a:pt x="285" y="330"/>
                    </a:cubicBezTo>
                    <a:cubicBezTo>
                      <a:pt x="289" y="328"/>
                      <a:pt x="291" y="323"/>
                      <a:pt x="288" y="319"/>
                    </a:cubicBezTo>
                    <a:cubicBezTo>
                      <a:pt x="286" y="315"/>
                      <a:pt x="281" y="314"/>
                      <a:pt x="277" y="316"/>
                    </a:cubicBezTo>
                    <a:cubicBezTo>
                      <a:pt x="271" y="320"/>
                      <a:pt x="271" y="320"/>
                      <a:pt x="271" y="320"/>
                    </a:cubicBezTo>
                    <a:cubicBezTo>
                      <a:pt x="271" y="312"/>
                      <a:pt x="271" y="312"/>
                      <a:pt x="271" y="312"/>
                    </a:cubicBezTo>
                    <a:cubicBezTo>
                      <a:pt x="271" y="308"/>
                      <a:pt x="267" y="304"/>
                      <a:pt x="263" y="304"/>
                    </a:cubicBezTo>
                    <a:cubicBezTo>
                      <a:pt x="258" y="304"/>
                      <a:pt x="255" y="308"/>
                      <a:pt x="255" y="312"/>
                    </a:cubicBezTo>
                    <a:cubicBezTo>
                      <a:pt x="255" y="320"/>
                      <a:pt x="255" y="320"/>
                      <a:pt x="255" y="320"/>
                    </a:cubicBezTo>
                    <a:cubicBezTo>
                      <a:pt x="248" y="316"/>
                      <a:pt x="248" y="316"/>
                      <a:pt x="248" y="316"/>
                    </a:cubicBezTo>
                    <a:cubicBezTo>
                      <a:pt x="244" y="314"/>
                      <a:pt x="239" y="315"/>
                      <a:pt x="237" y="319"/>
                    </a:cubicBezTo>
                    <a:cubicBezTo>
                      <a:pt x="235" y="323"/>
                      <a:pt x="236" y="328"/>
                      <a:pt x="240" y="330"/>
                    </a:cubicBezTo>
                    <a:cubicBezTo>
                      <a:pt x="247" y="334"/>
                      <a:pt x="247" y="334"/>
                      <a:pt x="247" y="334"/>
                    </a:cubicBezTo>
                    <a:cubicBezTo>
                      <a:pt x="240" y="338"/>
                      <a:pt x="240" y="338"/>
                      <a:pt x="240" y="338"/>
                    </a:cubicBezTo>
                    <a:cubicBezTo>
                      <a:pt x="236" y="340"/>
                      <a:pt x="235" y="345"/>
                      <a:pt x="237" y="349"/>
                    </a:cubicBezTo>
                    <a:cubicBezTo>
                      <a:pt x="238" y="351"/>
                      <a:pt x="241" y="353"/>
                      <a:pt x="244" y="353"/>
                    </a:cubicBezTo>
                    <a:cubicBezTo>
                      <a:pt x="245" y="353"/>
                      <a:pt x="246" y="353"/>
                      <a:pt x="248" y="352"/>
                    </a:cubicBezTo>
                    <a:cubicBezTo>
                      <a:pt x="255" y="348"/>
                      <a:pt x="255" y="348"/>
                      <a:pt x="255" y="348"/>
                    </a:cubicBezTo>
                    <a:cubicBezTo>
                      <a:pt x="255" y="356"/>
                      <a:pt x="255" y="356"/>
                      <a:pt x="255" y="356"/>
                    </a:cubicBezTo>
                    <a:cubicBezTo>
                      <a:pt x="255" y="360"/>
                      <a:pt x="258" y="364"/>
                      <a:pt x="263" y="364"/>
                    </a:cubicBezTo>
                    <a:cubicBezTo>
                      <a:pt x="267" y="364"/>
                      <a:pt x="271" y="360"/>
                      <a:pt x="271" y="35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55" name="Freeform 6"/>
              <p:cNvSpPr>
                <a:spLocks noEditPoints="1"/>
              </p:cNvSpPr>
              <p:nvPr/>
            </p:nvSpPr>
            <p:spPr bwMode="auto">
              <a:xfrm>
                <a:off x="5973451" y="3836616"/>
                <a:ext cx="126510" cy="122504"/>
              </a:xfrm>
              <a:custGeom>
                <a:avLst/>
                <a:gdLst>
                  <a:gd name="T0" fmla="*/ 2147483647 w 320"/>
                  <a:gd name="T1" fmla="*/ 2147483647 h 316"/>
                  <a:gd name="T2" fmla="*/ 2147483647 w 320"/>
                  <a:gd name="T3" fmla="*/ 2147483647 h 316"/>
                  <a:gd name="T4" fmla="*/ 2147483647 w 320"/>
                  <a:gd name="T5" fmla="*/ 2147483647 h 316"/>
                  <a:gd name="T6" fmla="*/ 2147483647 w 320"/>
                  <a:gd name="T7" fmla="*/ 2147483647 h 316"/>
                  <a:gd name="T8" fmla="*/ 2147483647 w 320"/>
                  <a:gd name="T9" fmla="*/ 2147483647 h 316"/>
                  <a:gd name="T10" fmla="*/ 2147483647 w 320"/>
                  <a:gd name="T11" fmla="*/ 2147483647 h 316"/>
                  <a:gd name="T12" fmla="*/ 2147483647 w 320"/>
                  <a:gd name="T13" fmla="*/ 2147483647 h 316"/>
                  <a:gd name="T14" fmla="*/ 2147483647 w 320"/>
                  <a:gd name="T15" fmla="*/ 2147483647 h 316"/>
                  <a:gd name="T16" fmla="*/ 2147483647 w 320"/>
                  <a:gd name="T17" fmla="*/ 2147483647 h 316"/>
                  <a:gd name="T18" fmla="*/ 2147483647 w 320"/>
                  <a:gd name="T19" fmla="*/ 2147483647 h 316"/>
                  <a:gd name="T20" fmla="*/ 2147483647 w 320"/>
                  <a:gd name="T21" fmla="*/ 2147483647 h 316"/>
                  <a:gd name="T22" fmla="*/ 2147483647 w 320"/>
                  <a:gd name="T23" fmla="*/ 2147483647 h 316"/>
                  <a:gd name="T24" fmla="*/ 2147483647 w 320"/>
                  <a:gd name="T25" fmla="*/ 2147483647 h 316"/>
                  <a:gd name="T26" fmla="*/ 2147483647 w 320"/>
                  <a:gd name="T27" fmla="*/ 2147483647 h 316"/>
                  <a:gd name="T28" fmla="*/ 2147483647 w 320"/>
                  <a:gd name="T29" fmla="*/ 2147483647 h 316"/>
                  <a:gd name="T30" fmla="*/ 2147483647 w 320"/>
                  <a:gd name="T31" fmla="*/ 2147483647 h 316"/>
                  <a:gd name="T32" fmla="*/ 2147483647 w 320"/>
                  <a:gd name="T33" fmla="*/ 2147483647 h 316"/>
                  <a:gd name="T34" fmla="*/ 2147483647 w 320"/>
                  <a:gd name="T35" fmla="*/ 2147483647 h 316"/>
                  <a:gd name="T36" fmla="*/ 2147483647 w 320"/>
                  <a:gd name="T37" fmla="*/ 2147483647 h 316"/>
                  <a:gd name="T38" fmla="*/ 2147483647 w 320"/>
                  <a:gd name="T39" fmla="*/ 2147483647 h 316"/>
                  <a:gd name="T40" fmla="*/ 2147483647 w 320"/>
                  <a:gd name="T41" fmla="*/ 0 h 316"/>
                  <a:gd name="T42" fmla="*/ 0 w 320"/>
                  <a:gd name="T43" fmla="*/ 2147483647 h 316"/>
                  <a:gd name="T44" fmla="*/ 2147483647 w 320"/>
                  <a:gd name="T45" fmla="*/ 2147483647 h 316"/>
                  <a:gd name="T46" fmla="*/ 2147483647 w 320"/>
                  <a:gd name="T47" fmla="*/ 2147483647 h 316"/>
                  <a:gd name="T48" fmla="*/ 2147483647 w 320"/>
                  <a:gd name="T49" fmla="*/ 2147483647 h 316"/>
                  <a:gd name="T50" fmla="*/ 2147483647 w 320"/>
                  <a:gd name="T51" fmla="*/ 2147483647 h 316"/>
                  <a:gd name="T52" fmla="*/ 2147483647 w 320"/>
                  <a:gd name="T53" fmla="*/ 2147483647 h 316"/>
                  <a:gd name="T54" fmla="*/ 2147483647 w 320"/>
                  <a:gd name="T55" fmla="*/ 2147483647 h 316"/>
                  <a:gd name="T56" fmla="*/ 2147483647 w 320"/>
                  <a:gd name="T57" fmla="*/ 2147483647 h 316"/>
                  <a:gd name="T58" fmla="*/ 2147483647 w 320"/>
                  <a:gd name="T59" fmla="*/ 2147483647 h 316"/>
                  <a:gd name="T60" fmla="*/ 2147483647 w 320"/>
                  <a:gd name="T61" fmla="*/ 2147483647 h 316"/>
                  <a:gd name="T62" fmla="*/ 2147483647 w 320"/>
                  <a:gd name="T63" fmla="*/ 2147483647 h 316"/>
                  <a:gd name="T64" fmla="*/ 2147483647 w 320"/>
                  <a:gd name="T65" fmla="*/ 2147483647 h 316"/>
                  <a:gd name="T66" fmla="*/ 2147483647 w 320"/>
                  <a:gd name="T67" fmla="*/ 2147483647 h 316"/>
                  <a:gd name="T68" fmla="*/ 2147483647 w 320"/>
                  <a:gd name="T69" fmla="*/ 2147483647 h 316"/>
                  <a:gd name="T70" fmla="*/ 2147483647 w 320"/>
                  <a:gd name="T71" fmla="*/ 2147483647 h 316"/>
                  <a:gd name="T72" fmla="*/ 2147483647 w 320"/>
                  <a:gd name="T73" fmla="*/ 2147483647 h 316"/>
                  <a:gd name="T74" fmla="*/ 2147483647 w 320"/>
                  <a:gd name="T75" fmla="*/ 2147483647 h 316"/>
                  <a:gd name="T76" fmla="*/ 2147483647 w 320"/>
                  <a:gd name="T77" fmla="*/ 2147483647 h 316"/>
                  <a:gd name="T78" fmla="*/ 2147483647 w 320"/>
                  <a:gd name="T79" fmla="*/ 2147483647 h 316"/>
                  <a:gd name="T80" fmla="*/ 2147483647 w 320"/>
                  <a:gd name="T81" fmla="*/ 2147483647 h 316"/>
                  <a:gd name="T82" fmla="*/ 2147483647 w 320"/>
                  <a:gd name="T83" fmla="*/ 2147483647 h 316"/>
                  <a:gd name="T84" fmla="*/ 2147483647 w 320"/>
                  <a:gd name="T85" fmla="*/ 2147483647 h 316"/>
                  <a:gd name="T86" fmla="*/ 2147483647 w 320"/>
                  <a:gd name="T87" fmla="*/ 2147483647 h 316"/>
                  <a:gd name="T88" fmla="*/ 2147483647 w 320"/>
                  <a:gd name="T89" fmla="*/ 2147483647 h 316"/>
                  <a:gd name="T90" fmla="*/ 2147483647 w 320"/>
                  <a:gd name="T91" fmla="*/ 2147483647 h 316"/>
                  <a:gd name="T92" fmla="*/ 2147483647 w 320"/>
                  <a:gd name="T93" fmla="*/ 2147483647 h 316"/>
                  <a:gd name="T94" fmla="*/ 2147483647 w 320"/>
                  <a:gd name="T95" fmla="*/ 2147483647 h 316"/>
                  <a:gd name="T96" fmla="*/ 2147483647 w 320"/>
                  <a:gd name="T97" fmla="*/ 2147483647 h 316"/>
                  <a:gd name="T98" fmla="*/ 2147483647 w 320"/>
                  <a:gd name="T99" fmla="*/ 2147483647 h 316"/>
                  <a:gd name="T100" fmla="*/ 2147483647 w 320"/>
                  <a:gd name="T101" fmla="*/ 2147483647 h 316"/>
                  <a:gd name="T102" fmla="*/ 2147483647 w 320"/>
                  <a:gd name="T103" fmla="*/ 2147483647 h 316"/>
                  <a:gd name="T104" fmla="*/ 2147483647 w 320"/>
                  <a:gd name="T105" fmla="*/ 2147483647 h 316"/>
                  <a:gd name="T106" fmla="*/ 2147483647 w 320"/>
                  <a:gd name="T107" fmla="*/ 2147483647 h 316"/>
                  <a:gd name="T108" fmla="*/ 2147483647 w 320"/>
                  <a:gd name="T109" fmla="*/ 2147483647 h 316"/>
                  <a:gd name="T110" fmla="*/ 2147483647 w 320"/>
                  <a:gd name="T111" fmla="*/ 2147483647 h 316"/>
                  <a:gd name="T112" fmla="*/ 2147483647 w 320"/>
                  <a:gd name="T113" fmla="*/ 2147483647 h 316"/>
                  <a:gd name="T114" fmla="*/ 2147483647 w 320"/>
                  <a:gd name="T115" fmla="*/ 2147483647 h 316"/>
                  <a:gd name="T116" fmla="*/ 2147483647 w 320"/>
                  <a:gd name="T117" fmla="*/ 2147483647 h 316"/>
                  <a:gd name="T118" fmla="*/ 2147483647 w 320"/>
                  <a:gd name="T119" fmla="*/ 2147483647 h 316"/>
                  <a:gd name="T120" fmla="*/ 2147483647 w 320"/>
                  <a:gd name="T121" fmla="*/ 2147483647 h 316"/>
                  <a:gd name="T122" fmla="*/ 2147483647 w 320"/>
                  <a:gd name="T123" fmla="*/ 2147483647 h 31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20" h="316">
                    <a:moveTo>
                      <a:pt x="160" y="63"/>
                    </a:moveTo>
                    <a:cubicBezTo>
                      <a:pt x="213" y="63"/>
                      <a:pt x="257" y="106"/>
                      <a:pt x="257" y="160"/>
                    </a:cubicBezTo>
                    <a:cubicBezTo>
                      <a:pt x="257" y="175"/>
                      <a:pt x="253" y="190"/>
                      <a:pt x="246" y="204"/>
                    </a:cubicBezTo>
                    <a:cubicBezTo>
                      <a:pt x="244" y="208"/>
                      <a:pt x="246" y="213"/>
                      <a:pt x="250" y="215"/>
                    </a:cubicBezTo>
                    <a:cubicBezTo>
                      <a:pt x="254" y="217"/>
                      <a:pt x="258" y="215"/>
                      <a:pt x="260" y="212"/>
                    </a:cubicBezTo>
                    <a:cubicBezTo>
                      <a:pt x="269" y="196"/>
                      <a:pt x="273" y="178"/>
                      <a:pt x="273" y="160"/>
                    </a:cubicBezTo>
                    <a:cubicBezTo>
                      <a:pt x="273" y="97"/>
                      <a:pt x="222" y="47"/>
                      <a:pt x="160" y="47"/>
                    </a:cubicBezTo>
                    <a:cubicBezTo>
                      <a:pt x="98" y="47"/>
                      <a:pt x="47" y="97"/>
                      <a:pt x="47" y="160"/>
                    </a:cubicBezTo>
                    <a:cubicBezTo>
                      <a:pt x="47" y="178"/>
                      <a:pt x="52" y="197"/>
                      <a:pt x="61" y="213"/>
                    </a:cubicBezTo>
                    <a:cubicBezTo>
                      <a:pt x="62" y="216"/>
                      <a:pt x="65" y="218"/>
                      <a:pt x="68" y="218"/>
                    </a:cubicBezTo>
                    <a:cubicBezTo>
                      <a:pt x="69" y="218"/>
                      <a:pt x="70" y="217"/>
                      <a:pt x="71" y="217"/>
                    </a:cubicBezTo>
                    <a:cubicBezTo>
                      <a:pt x="75" y="215"/>
                      <a:pt x="77" y="210"/>
                      <a:pt x="75" y="206"/>
                    </a:cubicBezTo>
                    <a:cubicBezTo>
                      <a:pt x="67" y="192"/>
                      <a:pt x="63" y="176"/>
                      <a:pt x="63" y="160"/>
                    </a:cubicBezTo>
                    <a:cubicBezTo>
                      <a:pt x="63" y="106"/>
                      <a:pt x="107" y="63"/>
                      <a:pt x="160" y="63"/>
                    </a:cubicBezTo>
                    <a:close/>
                    <a:moveTo>
                      <a:pt x="72" y="274"/>
                    </a:moveTo>
                    <a:cubicBezTo>
                      <a:pt x="37" y="246"/>
                      <a:pt x="16" y="205"/>
                      <a:pt x="16" y="160"/>
                    </a:cubicBezTo>
                    <a:cubicBezTo>
                      <a:pt x="16" y="80"/>
                      <a:pt x="81" y="16"/>
                      <a:pt x="160" y="16"/>
                    </a:cubicBezTo>
                    <a:cubicBezTo>
                      <a:pt x="193" y="16"/>
                      <a:pt x="224" y="27"/>
                      <a:pt x="249" y="47"/>
                    </a:cubicBezTo>
                    <a:cubicBezTo>
                      <a:pt x="253" y="50"/>
                      <a:pt x="258" y="49"/>
                      <a:pt x="261" y="46"/>
                    </a:cubicBezTo>
                    <a:cubicBezTo>
                      <a:pt x="263" y="42"/>
                      <a:pt x="263" y="37"/>
                      <a:pt x="259" y="35"/>
                    </a:cubicBezTo>
                    <a:cubicBezTo>
                      <a:pt x="231" y="12"/>
                      <a:pt x="196" y="0"/>
                      <a:pt x="160" y="0"/>
                    </a:cubicBezTo>
                    <a:cubicBezTo>
                      <a:pt x="72" y="0"/>
                      <a:pt x="0" y="72"/>
                      <a:pt x="0" y="160"/>
                    </a:cubicBezTo>
                    <a:cubicBezTo>
                      <a:pt x="0" y="210"/>
                      <a:pt x="23" y="256"/>
                      <a:pt x="63" y="286"/>
                    </a:cubicBezTo>
                    <a:cubicBezTo>
                      <a:pt x="64" y="287"/>
                      <a:pt x="66" y="288"/>
                      <a:pt x="68" y="288"/>
                    </a:cubicBezTo>
                    <a:cubicBezTo>
                      <a:pt x="70" y="288"/>
                      <a:pt x="72" y="287"/>
                      <a:pt x="74" y="285"/>
                    </a:cubicBezTo>
                    <a:cubicBezTo>
                      <a:pt x="77" y="281"/>
                      <a:pt x="76" y="276"/>
                      <a:pt x="72" y="274"/>
                    </a:cubicBezTo>
                    <a:close/>
                    <a:moveTo>
                      <a:pt x="160" y="93"/>
                    </a:moveTo>
                    <a:cubicBezTo>
                      <a:pt x="123" y="93"/>
                      <a:pt x="92" y="123"/>
                      <a:pt x="92" y="161"/>
                    </a:cubicBezTo>
                    <a:cubicBezTo>
                      <a:pt x="92" y="161"/>
                      <a:pt x="92" y="161"/>
                      <a:pt x="92" y="162"/>
                    </a:cubicBezTo>
                    <a:cubicBezTo>
                      <a:pt x="92" y="162"/>
                      <a:pt x="92" y="162"/>
                      <a:pt x="92" y="162"/>
                    </a:cubicBezTo>
                    <a:cubicBezTo>
                      <a:pt x="92" y="292"/>
                      <a:pt x="92" y="292"/>
                      <a:pt x="92" y="292"/>
                    </a:cubicBezTo>
                    <a:cubicBezTo>
                      <a:pt x="92" y="305"/>
                      <a:pt x="103" y="316"/>
                      <a:pt x="117" y="316"/>
                    </a:cubicBezTo>
                    <a:cubicBezTo>
                      <a:pt x="204" y="316"/>
                      <a:pt x="204" y="316"/>
                      <a:pt x="204" y="316"/>
                    </a:cubicBezTo>
                    <a:cubicBezTo>
                      <a:pt x="218" y="316"/>
                      <a:pt x="229" y="305"/>
                      <a:pt x="229" y="292"/>
                    </a:cubicBezTo>
                    <a:cubicBezTo>
                      <a:pt x="229" y="162"/>
                      <a:pt x="229" y="162"/>
                      <a:pt x="229" y="162"/>
                    </a:cubicBezTo>
                    <a:cubicBezTo>
                      <a:pt x="229" y="162"/>
                      <a:pt x="229" y="162"/>
                      <a:pt x="229" y="162"/>
                    </a:cubicBezTo>
                    <a:cubicBezTo>
                      <a:pt x="229" y="161"/>
                      <a:pt x="229" y="161"/>
                      <a:pt x="229" y="161"/>
                    </a:cubicBezTo>
                    <a:cubicBezTo>
                      <a:pt x="229" y="123"/>
                      <a:pt x="198" y="93"/>
                      <a:pt x="160" y="93"/>
                    </a:cubicBezTo>
                    <a:close/>
                    <a:moveTo>
                      <a:pt x="213" y="162"/>
                    </a:moveTo>
                    <a:cubicBezTo>
                      <a:pt x="213" y="162"/>
                      <a:pt x="213" y="163"/>
                      <a:pt x="213" y="163"/>
                    </a:cubicBezTo>
                    <a:cubicBezTo>
                      <a:pt x="213" y="292"/>
                      <a:pt x="213" y="292"/>
                      <a:pt x="213" y="292"/>
                    </a:cubicBezTo>
                    <a:cubicBezTo>
                      <a:pt x="213" y="296"/>
                      <a:pt x="209" y="300"/>
                      <a:pt x="204" y="300"/>
                    </a:cubicBezTo>
                    <a:cubicBezTo>
                      <a:pt x="117" y="300"/>
                      <a:pt x="117" y="300"/>
                      <a:pt x="117" y="300"/>
                    </a:cubicBezTo>
                    <a:cubicBezTo>
                      <a:pt x="112" y="300"/>
                      <a:pt x="108" y="296"/>
                      <a:pt x="108" y="292"/>
                    </a:cubicBezTo>
                    <a:cubicBezTo>
                      <a:pt x="108" y="163"/>
                      <a:pt x="108" y="163"/>
                      <a:pt x="108" y="163"/>
                    </a:cubicBezTo>
                    <a:cubicBezTo>
                      <a:pt x="108" y="163"/>
                      <a:pt x="108" y="162"/>
                      <a:pt x="108" y="162"/>
                    </a:cubicBezTo>
                    <a:cubicBezTo>
                      <a:pt x="108" y="162"/>
                      <a:pt x="108" y="162"/>
                      <a:pt x="108" y="162"/>
                    </a:cubicBezTo>
                    <a:cubicBezTo>
                      <a:pt x="108" y="161"/>
                      <a:pt x="108" y="161"/>
                      <a:pt x="108" y="161"/>
                    </a:cubicBezTo>
                    <a:cubicBezTo>
                      <a:pt x="108" y="132"/>
                      <a:pt x="132" y="109"/>
                      <a:pt x="160" y="109"/>
                    </a:cubicBezTo>
                    <a:cubicBezTo>
                      <a:pt x="189" y="109"/>
                      <a:pt x="213" y="132"/>
                      <a:pt x="213" y="161"/>
                    </a:cubicBezTo>
                    <a:cubicBezTo>
                      <a:pt x="213" y="162"/>
                      <a:pt x="213" y="162"/>
                      <a:pt x="213" y="162"/>
                    </a:cubicBezTo>
                    <a:cubicBezTo>
                      <a:pt x="213" y="162"/>
                      <a:pt x="213" y="162"/>
                      <a:pt x="213" y="162"/>
                    </a:cubicBezTo>
                    <a:close/>
                    <a:moveTo>
                      <a:pt x="283" y="58"/>
                    </a:moveTo>
                    <a:cubicBezTo>
                      <a:pt x="280" y="55"/>
                      <a:pt x="275" y="54"/>
                      <a:pt x="272" y="57"/>
                    </a:cubicBezTo>
                    <a:cubicBezTo>
                      <a:pt x="269" y="60"/>
                      <a:pt x="268" y="65"/>
                      <a:pt x="271" y="68"/>
                    </a:cubicBezTo>
                    <a:cubicBezTo>
                      <a:pt x="292" y="94"/>
                      <a:pt x="304" y="126"/>
                      <a:pt x="304" y="160"/>
                    </a:cubicBezTo>
                    <a:cubicBezTo>
                      <a:pt x="304" y="204"/>
                      <a:pt x="284" y="245"/>
                      <a:pt x="248" y="273"/>
                    </a:cubicBezTo>
                    <a:cubicBezTo>
                      <a:pt x="245" y="276"/>
                      <a:pt x="244" y="281"/>
                      <a:pt x="247" y="284"/>
                    </a:cubicBezTo>
                    <a:cubicBezTo>
                      <a:pt x="249" y="286"/>
                      <a:pt x="251" y="287"/>
                      <a:pt x="253" y="287"/>
                    </a:cubicBezTo>
                    <a:cubicBezTo>
                      <a:pt x="255" y="287"/>
                      <a:pt x="257" y="287"/>
                      <a:pt x="258" y="285"/>
                    </a:cubicBezTo>
                    <a:cubicBezTo>
                      <a:pt x="297" y="255"/>
                      <a:pt x="320" y="209"/>
                      <a:pt x="320" y="160"/>
                    </a:cubicBezTo>
                    <a:cubicBezTo>
                      <a:pt x="320" y="123"/>
                      <a:pt x="307" y="87"/>
                      <a:pt x="283"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56" name="Freeform 6"/>
              <p:cNvSpPr>
                <a:spLocks noEditPoints="1"/>
              </p:cNvSpPr>
              <p:nvPr/>
            </p:nvSpPr>
            <p:spPr bwMode="auto">
              <a:xfrm>
                <a:off x="4473339" y="3799173"/>
                <a:ext cx="99029" cy="159238"/>
              </a:xfrm>
              <a:custGeom>
                <a:avLst/>
                <a:gdLst>
                  <a:gd name="T0" fmla="*/ 2147483647 w 250"/>
                  <a:gd name="T1" fmla="*/ 2147483647 h 411"/>
                  <a:gd name="T2" fmla="*/ 2147483647 w 250"/>
                  <a:gd name="T3" fmla="*/ 2147483647 h 411"/>
                  <a:gd name="T4" fmla="*/ 2147483647 w 250"/>
                  <a:gd name="T5" fmla="*/ 2147483647 h 411"/>
                  <a:gd name="T6" fmla="*/ 2147483647 w 250"/>
                  <a:gd name="T7" fmla="*/ 2147483647 h 411"/>
                  <a:gd name="T8" fmla="*/ 2147483647 w 250"/>
                  <a:gd name="T9" fmla="*/ 2147483647 h 411"/>
                  <a:gd name="T10" fmla="*/ 2147483647 w 250"/>
                  <a:gd name="T11" fmla="*/ 2147483647 h 411"/>
                  <a:gd name="T12" fmla="*/ 2147483647 w 250"/>
                  <a:gd name="T13" fmla="*/ 2147483647 h 411"/>
                  <a:gd name="T14" fmla="*/ 2147483647 w 250"/>
                  <a:gd name="T15" fmla="*/ 2147483647 h 411"/>
                  <a:gd name="T16" fmla="*/ 2147483647 w 250"/>
                  <a:gd name="T17" fmla="*/ 2147483647 h 411"/>
                  <a:gd name="T18" fmla="*/ 2147483647 w 250"/>
                  <a:gd name="T19" fmla="*/ 2147483647 h 411"/>
                  <a:gd name="T20" fmla="*/ 2147483647 w 250"/>
                  <a:gd name="T21" fmla="*/ 2147483647 h 411"/>
                  <a:gd name="T22" fmla="*/ 2147483647 w 250"/>
                  <a:gd name="T23" fmla="*/ 2147483647 h 411"/>
                  <a:gd name="T24" fmla="*/ 2147483647 w 250"/>
                  <a:gd name="T25" fmla="*/ 2147483647 h 411"/>
                  <a:gd name="T26" fmla="*/ 2147483647 w 250"/>
                  <a:gd name="T27" fmla="*/ 2147483647 h 411"/>
                  <a:gd name="T28" fmla="*/ 2147483647 w 250"/>
                  <a:gd name="T29" fmla="*/ 2147483647 h 411"/>
                  <a:gd name="T30" fmla="*/ 2147483647 w 250"/>
                  <a:gd name="T31" fmla="*/ 2147483647 h 411"/>
                  <a:gd name="T32" fmla="*/ 2147483647 w 250"/>
                  <a:gd name="T33" fmla="*/ 2147483647 h 411"/>
                  <a:gd name="T34" fmla="*/ 2147483647 w 250"/>
                  <a:gd name="T35" fmla="*/ 2147483647 h 411"/>
                  <a:gd name="T36" fmla="*/ 2147483647 w 250"/>
                  <a:gd name="T37" fmla="*/ 2147483647 h 411"/>
                  <a:gd name="T38" fmla="*/ 2147483647 w 250"/>
                  <a:gd name="T39" fmla="*/ 0 h 411"/>
                  <a:gd name="T40" fmla="*/ 2147483647 w 250"/>
                  <a:gd name="T41" fmla="*/ 0 h 411"/>
                  <a:gd name="T42" fmla="*/ 0 w 250"/>
                  <a:gd name="T43" fmla="*/ 2147483647 h 411"/>
                  <a:gd name="T44" fmla="*/ 0 w 250"/>
                  <a:gd name="T45" fmla="*/ 2147483647 h 411"/>
                  <a:gd name="T46" fmla="*/ 2147483647 w 250"/>
                  <a:gd name="T47" fmla="*/ 2147483647 h 411"/>
                  <a:gd name="T48" fmla="*/ 2147483647 w 250"/>
                  <a:gd name="T49" fmla="*/ 2147483647 h 411"/>
                  <a:gd name="T50" fmla="*/ 2147483647 w 250"/>
                  <a:gd name="T51" fmla="*/ 2147483647 h 411"/>
                  <a:gd name="T52" fmla="*/ 2147483647 w 250"/>
                  <a:gd name="T53" fmla="*/ 2147483647 h 411"/>
                  <a:gd name="T54" fmla="*/ 2147483647 w 250"/>
                  <a:gd name="T55" fmla="*/ 2147483647 h 411"/>
                  <a:gd name="T56" fmla="*/ 2147483647 w 250"/>
                  <a:gd name="T57" fmla="*/ 2147483647 h 411"/>
                  <a:gd name="T58" fmla="*/ 2147483647 w 250"/>
                  <a:gd name="T59" fmla="*/ 2147483647 h 411"/>
                  <a:gd name="T60" fmla="*/ 2147483647 w 250"/>
                  <a:gd name="T61" fmla="*/ 2147483647 h 411"/>
                  <a:gd name="T62" fmla="*/ 2147483647 w 250"/>
                  <a:gd name="T63" fmla="*/ 2147483647 h 411"/>
                  <a:gd name="T64" fmla="*/ 2147483647 w 250"/>
                  <a:gd name="T65" fmla="*/ 2147483647 h 411"/>
                  <a:gd name="T66" fmla="*/ 2147483647 w 250"/>
                  <a:gd name="T67" fmla="*/ 2147483647 h 411"/>
                  <a:gd name="T68" fmla="*/ 2147483647 w 250"/>
                  <a:gd name="T69" fmla="*/ 2147483647 h 411"/>
                  <a:gd name="T70" fmla="*/ 2147483647 w 250"/>
                  <a:gd name="T71" fmla="*/ 2147483647 h 411"/>
                  <a:gd name="T72" fmla="*/ 2147483647 w 250"/>
                  <a:gd name="T73" fmla="*/ 2147483647 h 411"/>
                  <a:gd name="T74" fmla="*/ 2147483647 w 250"/>
                  <a:gd name="T75" fmla="*/ 2147483647 h 411"/>
                  <a:gd name="T76" fmla="*/ 2147483647 w 250"/>
                  <a:gd name="T77" fmla="*/ 2147483647 h 411"/>
                  <a:gd name="T78" fmla="*/ 2147483647 w 250"/>
                  <a:gd name="T79" fmla="*/ 2147483647 h 411"/>
                  <a:gd name="T80" fmla="*/ 2147483647 w 250"/>
                  <a:gd name="T81" fmla="*/ 2147483647 h 411"/>
                  <a:gd name="T82" fmla="*/ 2147483647 w 250"/>
                  <a:gd name="T83" fmla="*/ 2147483647 h 41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50" h="411">
                    <a:moveTo>
                      <a:pt x="43" y="279"/>
                    </a:moveTo>
                    <a:cubicBezTo>
                      <a:pt x="47" y="279"/>
                      <a:pt x="51" y="276"/>
                      <a:pt x="51" y="271"/>
                    </a:cubicBezTo>
                    <a:cubicBezTo>
                      <a:pt x="51" y="235"/>
                      <a:pt x="51" y="235"/>
                      <a:pt x="51" y="235"/>
                    </a:cubicBezTo>
                    <a:cubicBezTo>
                      <a:pt x="51" y="231"/>
                      <a:pt x="47" y="227"/>
                      <a:pt x="43" y="227"/>
                    </a:cubicBezTo>
                    <a:cubicBezTo>
                      <a:pt x="39" y="227"/>
                      <a:pt x="35" y="231"/>
                      <a:pt x="35" y="235"/>
                    </a:cubicBezTo>
                    <a:cubicBezTo>
                      <a:pt x="35" y="271"/>
                      <a:pt x="35" y="271"/>
                      <a:pt x="35" y="271"/>
                    </a:cubicBezTo>
                    <a:cubicBezTo>
                      <a:pt x="35" y="276"/>
                      <a:pt x="39" y="279"/>
                      <a:pt x="43" y="279"/>
                    </a:cubicBezTo>
                    <a:close/>
                    <a:moveTo>
                      <a:pt x="242" y="74"/>
                    </a:moveTo>
                    <a:cubicBezTo>
                      <a:pt x="238" y="74"/>
                      <a:pt x="234" y="78"/>
                      <a:pt x="234" y="82"/>
                    </a:cubicBezTo>
                    <a:cubicBezTo>
                      <a:pt x="234" y="198"/>
                      <a:pt x="234" y="198"/>
                      <a:pt x="234" y="198"/>
                    </a:cubicBezTo>
                    <a:cubicBezTo>
                      <a:pt x="16" y="198"/>
                      <a:pt x="16" y="198"/>
                      <a:pt x="16" y="198"/>
                    </a:cubicBezTo>
                    <a:cubicBezTo>
                      <a:pt x="16" y="30"/>
                      <a:pt x="16" y="30"/>
                      <a:pt x="16" y="30"/>
                    </a:cubicBezTo>
                    <a:cubicBezTo>
                      <a:pt x="16" y="22"/>
                      <a:pt x="23" y="16"/>
                      <a:pt x="31" y="16"/>
                    </a:cubicBezTo>
                    <a:cubicBezTo>
                      <a:pt x="219" y="16"/>
                      <a:pt x="219" y="16"/>
                      <a:pt x="219" y="16"/>
                    </a:cubicBezTo>
                    <a:cubicBezTo>
                      <a:pt x="227" y="16"/>
                      <a:pt x="234" y="22"/>
                      <a:pt x="234" y="30"/>
                    </a:cubicBezTo>
                    <a:cubicBezTo>
                      <a:pt x="234" y="50"/>
                      <a:pt x="234" y="50"/>
                      <a:pt x="234" y="50"/>
                    </a:cubicBezTo>
                    <a:cubicBezTo>
                      <a:pt x="234" y="55"/>
                      <a:pt x="238" y="58"/>
                      <a:pt x="242" y="58"/>
                    </a:cubicBezTo>
                    <a:cubicBezTo>
                      <a:pt x="246" y="58"/>
                      <a:pt x="250" y="55"/>
                      <a:pt x="250" y="50"/>
                    </a:cubicBezTo>
                    <a:cubicBezTo>
                      <a:pt x="250" y="30"/>
                      <a:pt x="250" y="30"/>
                      <a:pt x="250" y="30"/>
                    </a:cubicBezTo>
                    <a:cubicBezTo>
                      <a:pt x="250" y="14"/>
                      <a:pt x="236" y="0"/>
                      <a:pt x="219" y="0"/>
                    </a:cubicBezTo>
                    <a:cubicBezTo>
                      <a:pt x="31" y="0"/>
                      <a:pt x="31" y="0"/>
                      <a:pt x="31" y="0"/>
                    </a:cubicBezTo>
                    <a:cubicBezTo>
                      <a:pt x="14" y="0"/>
                      <a:pt x="0" y="14"/>
                      <a:pt x="0" y="30"/>
                    </a:cubicBezTo>
                    <a:cubicBezTo>
                      <a:pt x="0" y="381"/>
                      <a:pt x="0" y="381"/>
                      <a:pt x="0" y="381"/>
                    </a:cubicBezTo>
                    <a:cubicBezTo>
                      <a:pt x="0" y="398"/>
                      <a:pt x="14" y="411"/>
                      <a:pt x="31" y="411"/>
                    </a:cubicBezTo>
                    <a:cubicBezTo>
                      <a:pt x="219" y="411"/>
                      <a:pt x="219" y="411"/>
                      <a:pt x="219" y="411"/>
                    </a:cubicBezTo>
                    <a:cubicBezTo>
                      <a:pt x="236" y="411"/>
                      <a:pt x="250" y="398"/>
                      <a:pt x="250" y="381"/>
                    </a:cubicBezTo>
                    <a:cubicBezTo>
                      <a:pt x="250" y="82"/>
                      <a:pt x="250" y="82"/>
                      <a:pt x="250" y="82"/>
                    </a:cubicBezTo>
                    <a:cubicBezTo>
                      <a:pt x="250" y="78"/>
                      <a:pt x="246" y="74"/>
                      <a:pt x="242" y="74"/>
                    </a:cubicBezTo>
                    <a:close/>
                    <a:moveTo>
                      <a:pt x="234" y="381"/>
                    </a:moveTo>
                    <a:cubicBezTo>
                      <a:pt x="234" y="389"/>
                      <a:pt x="227" y="395"/>
                      <a:pt x="219" y="395"/>
                    </a:cubicBezTo>
                    <a:cubicBezTo>
                      <a:pt x="31" y="395"/>
                      <a:pt x="31" y="395"/>
                      <a:pt x="31" y="395"/>
                    </a:cubicBezTo>
                    <a:cubicBezTo>
                      <a:pt x="23" y="395"/>
                      <a:pt x="16" y="389"/>
                      <a:pt x="16" y="381"/>
                    </a:cubicBezTo>
                    <a:cubicBezTo>
                      <a:pt x="16" y="214"/>
                      <a:pt x="16" y="214"/>
                      <a:pt x="16" y="214"/>
                    </a:cubicBezTo>
                    <a:cubicBezTo>
                      <a:pt x="234" y="214"/>
                      <a:pt x="234" y="214"/>
                      <a:pt x="234" y="214"/>
                    </a:cubicBezTo>
                    <a:lnTo>
                      <a:pt x="234" y="381"/>
                    </a:lnTo>
                    <a:close/>
                    <a:moveTo>
                      <a:pt x="35" y="138"/>
                    </a:moveTo>
                    <a:cubicBezTo>
                      <a:pt x="35" y="174"/>
                      <a:pt x="35" y="174"/>
                      <a:pt x="35" y="174"/>
                    </a:cubicBezTo>
                    <a:cubicBezTo>
                      <a:pt x="35" y="179"/>
                      <a:pt x="39" y="182"/>
                      <a:pt x="43" y="182"/>
                    </a:cubicBezTo>
                    <a:cubicBezTo>
                      <a:pt x="47" y="182"/>
                      <a:pt x="51" y="179"/>
                      <a:pt x="51" y="174"/>
                    </a:cubicBezTo>
                    <a:cubicBezTo>
                      <a:pt x="51" y="138"/>
                      <a:pt x="51" y="138"/>
                      <a:pt x="51" y="138"/>
                    </a:cubicBezTo>
                    <a:cubicBezTo>
                      <a:pt x="51" y="134"/>
                      <a:pt x="47" y="130"/>
                      <a:pt x="43" y="130"/>
                    </a:cubicBezTo>
                    <a:cubicBezTo>
                      <a:pt x="39" y="130"/>
                      <a:pt x="35" y="134"/>
                      <a:pt x="35" y="1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57" name="Freeform 6"/>
              <p:cNvSpPr>
                <a:spLocks noEditPoints="1"/>
              </p:cNvSpPr>
              <p:nvPr/>
            </p:nvSpPr>
            <p:spPr bwMode="auto">
              <a:xfrm>
                <a:off x="5321920" y="4245293"/>
                <a:ext cx="171919" cy="119060"/>
              </a:xfrm>
              <a:custGeom>
                <a:avLst/>
                <a:gdLst>
                  <a:gd name="T0" fmla="*/ 2147483647 w 434"/>
                  <a:gd name="T1" fmla="*/ 2147483647 h 307"/>
                  <a:gd name="T2" fmla="*/ 2147483647 w 434"/>
                  <a:gd name="T3" fmla="*/ 2147483647 h 307"/>
                  <a:gd name="T4" fmla="*/ 2147483647 w 434"/>
                  <a:gd name="T5" fmla="*/ 2147483647 h 307"/>
                  <a:gd name="T6" fmla="*/ 2147483647 w 434"/>
                  <a:gd name="T7" fmla="*/ 2147483647 h 307"/>
                  <a:gd name="T8" fmla="*/ 2147483647 w 434"/>
                  <a:gd name="T9" fmla="*/ 2147483647 h 307"/>
                  <a:gd name="T10" fmla="*/ 2147483647 w 434"/>
                  <a:gd name="T11" fmla="*/ 2147483647 h 307"/>
                  <a:gd name="T12" fmla="*/ 2147483647 w 434"/>
                  <a:gd name="T13" fmla="*/ 2147483647 h 307"/>
                  <a:gd name="T14" fmla="*/ 2147483647 w 434"/>
                  <a:gd name="T15" fmla="*/ 2147483647 h 307"/>
                  <a:gd name="T16" fmla="*/ 2147483647 w 434"/>
                  <a:gd name="T17" fmla="*/ 2147483647 h 307"/>
                  <a:gd name="T18" fmla="*/ 2147483647 w 434"/>
                  <a:gd name="T19" fmla="*/ 2147483647 h 307"/>
                  <a:gd name="T20" fmla="*/ 2147483647 w 434"/>
                  <a:gd name="T21" fmla="*/ 2147483647 h 307"/>
                  <a:gd name="T22" fmla="*/ 2147483647 w 434"/>
                  <a:gd name="T23" fmla="*/ 2147483647 h 307"/>
                  <a:gd name="T24" fmla="*/ 2147483647 w 434"/>
                  <a:gd name="T25" fmla="*/ 2147483647 h 307"/>
                  <a:gd name="T26" fmla="*/ 2147483647 w 434"/>
                  <a:gd name="T27" fmla="*/ 0 h 307"/>
                  <a:gd name="T28" fmla="*/ 2147483647 w 434"/>
                  <a:gd name="T29" fmla="*/ 2147483647 h 307"/>
                  <a:gd name="T30" fmla="*/ 2147483647 w 434"/>
                  <a:gd name="T31" fmla="*/ 2147483647 h 307"/>
                  <a:gd name="T32" fmla="*/ 2147483647 w 434"/>
                  <a:gd name="T33" fmla="*/ 2147483647 h 307"/>
                  <a:gd name="T34" fmla="*/ 2147483647 w 434"/>
                  <a:gd name="T35" fmla="*/ 2147483647 h 307"/>
                  <a:gd name="T36" fmla="*/ 0 w 434"/>
                  <a:gd name="T37" fmla="*/ 2147483647 h 307"/>
                  <a:gd name="T38" fmla="*/ 0 w 434"/>
                  <a:gd name="T39" fmla="*/ 2147483647 h 307"/>
                  <a:gd name="T40" fmla="*/ 2147483647 w 434"/>
                  <a:gd name="T41" fmla="*/ 2147483647 h 307"/>
                  <a:gd name="T42" fmla="*/ 2147483647 w 434"/>
                  <a:gd name="T43" fmla="*/ 2147483647 h 307"/>
                  <a:gd name="T44" fmla="*/ 2147483647 w 434"/>
                  <a:gd name="T45" fmla="*/ 2147483647 h 307"/>
                  <a:gd name="T46" fmla="*/ 2147483647 w 434"/>
                  <a:gd name="T47" fmla="*/ 2147483647 h 307"/>
                  <a:gd name="T48" fmla="*/ 2147483647 w 434"/>
                  <a:gd name="T49" fmla="*/ 2147483647 h 307"/>
                  <a:gd name="T50" fmla="*/ 2147483647 w 434"/>
                  <a:gd name="T51" fmla="*/ 2147483647 h 307"/>
                  <a:gd name="T52" fmla="*/ 2147483647 w 434"/>
                  <a:gd name="T53" fmla="*/ 2147483647 h 307"/>
                  <a:gd name="T54" fmla="*/ 2147483647 w 434"/>
                  <a:gd name="T55" fmla="*/ 2147483647 h 307"/>
                  <a:gd name="T56" fmla="*/ 2147483647 w 434"/>
                  <a:gd name="T57" fmla="*/ 2147483647 h 307"/>
                  <a:gd name="T58" fmla="*/ 2147483647 w 434"/>
                  <a:gd name="T59" fmla="*/ 2147483647 h 307"/>
                  <a:gd name="T60" fmla="*/ 2147483647 w 434"/>
                  <a:gd name="T61" fmla="*/ 2147483647 h 307"/>
                  <a:gd name="T62" fmla="*/ 2147483647 w 434"/>
                  <a:gd name="T63" fmla="*/ 2147483647 h 307"/>
                  <a:gd name="T64" fmla="*/ 2147483647 w 434"/>
                  <a:gd name="T65" fmla="*/ 2147483647 h 307"/>
                  <a:gd name="T66" fmla="*/ 2147483647 w 434"/>
                  <a:gd name="T67" fmla="*/ 2147483647 h 307"/>
                  <a:gd name="T68" fmla="*/ 2147483647 w 434"/>
                  <a:gd name="T69" fmla="*/ 2147483647 h 307"/>
                  <a:gd name="T70" fmla="*/ 2147483647 w 434"/>
                  <a:gd name="T71" fmla="*/ 2147483647 h 307"/>
                  <a:gd name="T72" fmla="*/ 2147483647 w 434"/>
                  <a:gd name="T73" fmla="*/ 2147483647 h 307"/>
                  <a:gd name="T74" fmla="*/ 2147483647 w 434"/>
                  <a:gd name="T75" fmla="*/ 2147483647 h 307"/>
                  <a:gd name="T76" fmla="*/ 2147483647 w 434"/>
                  <a:gd name="T77" fmla="*/ 2147483647 h 307"/>
                  <a:gd name="T78" fmla="*/ 2147483647 w 434"/>
                  <a:gd name="T79" fmla="*/ 2147483647 h 307"/>
                  <a:gd name="T80" fmla="*/ 2147483647 w 434"/>
                  <a:gd name="T81" fmla="*/ 2147483647 h 307"/>
                  <a:gd name="T82" fmla="*/ 2147483647 w 434"/>
                  <a:gd name="T83" fmla="*/ 2147483647 h 307"/>
                  <a:gd name="T84" fmla="*/ 2147483647 w 434"/>
                  <a:gd name="T85" fmla="*/ 2147483647 h 307"/>
                  <a:gd name="T86" fmla="*/ 2147483647 w 434"/>
                  <a:gd name="T87" fmla="*/ 2147483647 h 307"/>
                  <a:gd name="T88" fmla="*/ 2147483647 w 434"/>
                  <a:gd name="T89" fmla="*/ 2147483647 h 307"/>
                  <a:gd name="T90" fmla="*/ 2147483647 w 434"/>
                  <a:gd name="T91" fmla="*/ 2147483647 h 307"/>
                  <a:gd name="T92" fmla="*/ 2147483647 w 434"/>
                  <a:gd name="T93" fmla="*/ 2147483647 h 307"/>
                  <a:gd name="T94" fmla="*/ 2147483647 w 434"/>
                  <a:gd name="T95" fmla="*/ 2147483647 h 307"/>
                  <a:gd name="T96" fmla="*/ 2147483647 w 434"/>
                  <a:gd name="T97" fmla="*/ 2147483647 h 307"/>
                  <a:gd name="T98" fmla="*/ 2147483647 w 434"/>
                  <a:gd name="T99" fmla="*/ 2147483647 h 307"/>
                  <a:gd name="T100" fmla="*/ 2147483647 w 434"/>
                  <a:gd name="T101" fmla="*/ 2147483647 h 307"/>
                  <a:gd name="T102" fmla="*/ 2147483647 w 434"/>
                  <a:gd name="T103" fmla="*/ 2147483647 h 307"/>
                  <a:gd name="T104" fmla="*/ 2147483647 w 434"/>
                  <a:gd name="T105" fmla="*/ 2147483647 h 307"/>
                  <a:gd name="T106" fmla="*/ 2147483647 w 434"/>
                  <a:gd name="T107" fmla="*/ 2147483647 h 307"/>
                  <a:gd name="T108" fmla="*/ 2147483647 w 434"/>
                  <a:gd name="T109" fmla="*/ 2147483647 h 307"/>
                  <a:gd name="T110" fmla="*/ 2147483647 w 434"/>
                  <a:gd name="T111" fmla="*/ 2147483647 h 307"/>
                  <a:gd name="T112" fmla="*/ 2147483647 w 434"/>
                  <a:gd name="T113" fmla="*/ 2147483647 h 307"/>
                  <a:gd name="T114" fmla="*/ 2147483647 w 434"/>
                  <a:gd name="T115" fmla="*/ 2147483647 h 307"/>
                  <a:gd name="T116" fmla="*/ 2147483647 w 434"/>
                  <a:gd name="T117" fmla="*/ 2147483647 h 307"/>
                  <a:gd name="T118" fmla="*/ 2147483647 w 434"/>
                  <a:gd name="T119" fmla="*/ 2147483647 h 307"/>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434" h="307">
                    <a:moveTo>
                      <a:pt x="97" y="107"/>
                    </a:moveTo>
                    <a:cubicBezTo>
                      <a:pt x="113" y="123"/>
                      <a:pt x="113" y="123"/>
                      <a:pt x="113" y="123"/>
                    </a:cubicBezTo>
                    <a:cubicBezTo>
                      <a:pt x="132" y="123"/>
                      <a:pt x="132" y="123"/>
                      <a:pt x="132" y="123"/>
                    </a:cubicBezTo>
                    <a:cubicBezTo>
                      <a:pt x="133" y="123"/>
                      <a:pt x="134" y="123"/>
                      <a:pt x="134" y="122"/>
                    </a:cubicBezTo>
                    <a:cubicBezTo>
                      <a:pt x="134" y="92"/>
                      <a:pt x="134" y="92"/>
                      <a:pt x="134" y="92"/>
                    </a:cubicBezTo>
                    <a:cubicBezTo>
                      <a:pt x="134" y="91"/>
                      <a:pt x="133" y="91"/>
                      <a:pt x="132" y="91"/>
                    </a:cubicBezTo>
                    <a:cubicBezTo>
                      <a:pt x="113" y="91"/>
                      <a:pt x="113" y="91"/>
                      <a:pt x="113" y="91"/>
                    </a:cubicBezTo>
                    <a:lnTo>
                      <a:pt x="97" y="107"/>
                    </a:lnTo>
                    <a:close/>
                    <a:moveTo>
                      <a:pt x="317" y="91"/>
                    </a:moveTo>
                    <a:cubicBezTo>
                      <a:pt x="308" y="91"/>
                      <a:pt x="301" y="98"/>
                      <a:pt x="301" y="107"/>
                    </a:cubicBezTo>
                    <a:cubicBezTo>
                      <a:pt x="301" y="116"/>
                      <a:pt x="308" y="123"/>
                      <a:pt x="317" y="123"/>
                    </a:cubicBezTo>
                    <a:cubicBezTo>
                      <a:pt x="326" y="123"/>
                      <a:pt x="333" y="116"/>
                      <a:pt x="333" y="107"/>
                    </a:cubicBezTo>
                    <a:cubicBezTo>
                      <a:pt x="333" y="98"/>
                      <a:pt x="326" y="91"/>
                      <a:pt x="317" y="91"/>
                    </a:cubicBezTo>
                    <a:close/>
                    <a:moveTo>
                      <a:pt x="67" y="137"/>
                    </a:moveTo>
                    <a:cubicBezTo>
                      <a:pt x="67" y="156"/>
                      <a:pt x="67" y="156"/>
                      <a:pt x="67" y="156"/>
                    </a:cubicBezTo>
                    <a:cubicBezTo>
                      <a:pt x="67" y="157"/>
                      <a:pt x="68" y="157"/>
                      <a:pt x="68" y="157"/>
                    </a:cubicBezTo>
                    <a:cubicBezTo>
                      <a:pt x="98" y="157"/>
                      <a:pt x="98" y="157"/>
                      <a:pt x="98" y="157"/>
                    </a:cubicBezTo>
                    <a:cubicBezTo>
                      <a:pt x="99" y="157"/>
                      <a:pt x="99" y="157"/>
                      <a:pt x="99" y="156"/>
                    </a:cubicBezTo>
                    <a:cubicBezTo>
                      <a:pt x="99" y="137"/>
                      <a:pt x="99" y="137"/>
                      <a:pt x="99" y="137"/>
                    </a:cubicBezTo>
                    <a:cubicBezTo>
                      <a:pt x="83" y="121"/>
                      <a:pt x="83" y="121"/>
                      <a:pt x="83" y="121"/>
                    </a:cubicBezTo>
                    <a:lnTo>
                      <a:pt x="67" y="137"/>
                    </a:lnTo>
                    <a:close/>
                    <a:moveTo>
                      <a:pt x="99" y="77"/>
                    </a:moveTo>
                    <a:cubicBezTo>
                      <a:pt x="99" y="58"/>
                      <a:pt x="99" y="58"/>
                      <a:pt x="99" y="58"/>
                    </a:cubicBezTo>
                    <a:cubicBezTo>
                      <a:pt x="99" y="57"/>
                      <a:pt x="99" y="57"/>
                      <a:pt x="98" y="57"/>
                    </a:cubicBezTo>
                    <a:cubicBezTo>
                      <a:pt x="68" y="57"/>
                      <a:pt x="68" y="57"/>
                      <a:pt x="68" y="57"/>
                    </a:cubicBezTo>
                    <a:cubicBezTo>
                      <a:pt x="68" y="57"/>
                      <a:pt x="67" y="57"/>
                      <a:pt x="67" y="58"/>
                    </a:cubicBezTo>
                    <a:cubicBezTo>
                      <a:pt x="67" y="77"/>
                      <a:pt x="67" y="77"/>
                      <a:pt x="67" y="77"/>
                    </a:cubicBezTo>
                    <a:cubicBezTo>
                      <a:pt x="83" y="93"/>
                      <a:pt x="83" y="93"/>
                      <a:pt x="83" y="93"/>
                    </a:cubicBezTo>
                    <a:lnTo>
                      <a:pt x="99" y="77"/>
                    </a:lnTo>
                    <a:close/>
                    <a:moveTo>
                      <a:pt x="53" y="91"/>
                    </a:moveTo>
                    <a:cubicBezTo>
                      <a:pt x="34" y="91"/>
                      <a:pt x="34" y="91"/>
                      <a:pt x="34" y="91"/>
                    </a:cubicBezTo>
                    <a:cubicBezTo>
                      <a:pt x="33" y="91"/>
                      <a:pt x="33" y="91"/>
                      <a:pt x="33" y="92"/>
                    </a:cubicBezTo>
                    <a:cubicBezTo>
                      <a:pt x="33" y="122"/>
                      <a:pt x="33" y="122"/>
                      <a:pt x="33" y="122"/>
                    </a:cubicBezTo>
                    <a:cubicBezTo>
                      <a:pt x="33" y="123"/>
                      <a:pt x="33" y="123"/>
                      <a:pt x="34" y="123"/>
                    </a:cubicBezTo>
                    <a:cubicBezTo>
                      <a:pt x="53" y="123"/>
                      <a:pt x="53" y="123"/>
                      <a:pt x="53" y="123"/>
                    </a:cubicBezTo>
                    <a:cubicBezTo>
                      <a:pt x="69" y="107"/>
                      <a:pt x="69" y="107"/>
                      <a:pt x="69" y="107"/>
                    </a:cubicBezTo>
                    <a:lnTo>
                      <a:pt x="53" y="91"/>
                    </a:lnTo>
                    <a:close/>
                    <a:moveTo>
                      <a:pt x="434" y="107"/>
                    </a:moveTo>
                    <a:cubicBezTo>
                      <a:pt x="434" y="77"/>
                      <a:pt x="418" y="50"/>
                      <a:pt x="394" y="36"/>
                    </a:cubicBezTo>
                    <a:cubicBezTo>
                      <a:pt x="394" y="31"/>
                      <a:pt x="394" y="24"/>
                      <a:pt x="392" y="17"/>
                    </a:cubicBezTo>
                    <a:cubicBezTo>
                      <a:pt x="391" y="13"/>
                      <a:pt x="389" y="9"/>
                      <a:pt x="386" y="6"/>
                    </a:cubicBezTo>
                    <a:cubicBezTo>
                      <a:pt x="384" y="3"/>
                      <a:pt x="379" y="0"/>
                      <a:pt x="373" y="0"/>
                    </a:cubicBezTo>
                    <a:cubicBezTo>
                      <a:pt x="330" y="0"/>
                      <a:pt x="330" y="0"/>
                      <a:pt x="330" y="0"/>
                    </a:cubicBezTo>
                    <a:cubicBezTo>
                      <a:pt x="324" y="0"/>
                      <a:pt x="318" y="4"/>
                      <a:pt x="316" y="8"/>
                    </a:cubicBezTo>
                    <a:cubicBezTo>
                      <a:pt x="312" y="14"/>
                      <a:pt x="310" y="21"/>
                      <a:pt x="309" y="27"/>
                    </a:cubicBezTo>
                    <a:cubicBezTo>
                      <a:pt x="309" y="30"/>
                      <a:pt x="309" y="33"/>
                      <a:pt x="309" y="35"/>
                    </a:cubicBezTo>
                    <a:cubicBezTo>
                      <a:pt x="305" y="38"/>
                      <a:pt x="301" y="40"/>
                      <a:pt x="298" y="43"/>
                    </a:cubicBezTo>
                    <a:cubicBezTo>
                      <a:pt x="137" y="43"/>
                      <a:pt x="137" y="43"/>
                      <a:pt x="137" y="43"/>
                    </a:cubicBezTo>
                    <a:cubicBezTo>
                      <a:pt x="133" y="40"/>
                      <a:pt x="130" y="38"/>
                      <a:pt x="126" y="36"/>
                    </a:cubicBezTo>
                    <a:cubicBezTo>
                      <a:pt x="126" y="31"/>
                      <a:pt x="126" y="24"/>
                      <a:pt x="124" y="17"/>
                    </a:cubicBezTo>
                    <a:cubicBezTo>
                      <a:pt x="123" y="13"/>
                      <a:pt x="121" y="9"/>
                      <a:pt x="118" y="6"/>
                    </a:cubicBezTo>
                    <a:cubicBezTo>
                      <a:pt x="116" y="3"/>
                      <a:pt x="111" y="0"/>
                      <a:pt x="105" y="0"/>
                    </a:cubicBezTo>
                    <a:cubicBezTo>
                      <a:pt x="62" y="0"/>
                      <a:pt x="62" y="0"/>
                      <a:pt x="62" y="0"/>
                    </a:cubicBezTo>
                    <a:cubicBezTo>
                      <a:pt x="55" y="0"/>
                      <a:pt x="50" y="4"/>
                      <a:pt x="48" y="8"/>
                    </a:cubicBezTo>
                    <a:cubicBezTo>
                      <a:pt x="44" y="14"/>
                      <a:pt x="42" y="21"/>
                      <a:pt x="41" y="27"/>
                    </a:cubicBezTo>
                    <a:cubicBezTo>
                      <a:pt x="41" y="30"/>
                      <a:pt x="41" y="33"/>
                      <a:pt x="41" y="35"/>
                    </a:cubicBezTo>
                    <a:cubicBezTo>
                      <a:pt x="16" y="50"/>
                      <a:pt x="0" y="76"/>
                      <a:pt x="0" y="107"/>
                    </a:cubicBezTo>
                    <a:cubicBezTo>
                      <a:pt x="0" y="107"/>
                      <a:pt x="0" y="107"/>
                      <a:pt x="0" y="107"/>
                    </a:cubicBezTo>
                    <a:cubicBezTo>
                      <a:pt x="0" y="107"/>
                      <a:pt x="0" y="107"/>
                      <a:pt x="0" y="107"/>
                    </a:cubicBezTo>
                    <a:cubicBezTo>
                      <a:pt x="0" y="107"/>
                      <a:pt x="0" y="108"/>
                      <a:pt x="0" y="108"/>
                    </a:cubicBezTo>
                    <a:cubicBezTo>
                      <a:pt x="0" y="111"/>
                      <a:pt x="0" y="114"/>
                      <a:pt x="1" y="117"/>
                    </a:cubicBezTo>
                    <a:cubicBezTo>
                      <a:pt x="3" y="148"/>
                      <a:pt x="9" y="253"/>
                      <a:pt x="11" y="264"/>
                    </a:cubicBezTo>
                    <a:cubicBezTo>
                      <a:pt x="11" y="270"/>
                      <a:pt x="13" y="281"/>
                      <a:pt x="20" y="290"/>
                    </a:cubicBezTo>
                    <a:cubicBezTo>
                      <a:pt x="27" y="300"/>
                      <a:pt x="39" y="307"/>
                      <a:pt x="58" y="307"/>
                    </a:cubicBezTo>
                    <a:cubicBezTo>
                      <a:pt x="76" y="307"/>
                      <a:pt x="90" y="299"/>
                      <a:pt x="99" y="289"/>
                    </a:cubicBezTo>
                    <a:cubicBezTo>
                      <a:pt x="108" y="280"/>
                      <a:pt x="113" y="270"/>
                      <a:pt x="115" y="266"/>
                    </a:cubicBezTo>
                    <a:cubicBezTo>
                      <a:pt x="117" y="262"/>
                      <a:pt x="122" y="252"/>
                      <a:pt x="127" y="240"/>
                    </a:cubicBezTo>
                    <a:cubicBezTo>
                      <a:pt x="132" y="229"/>
                      <a:pt x="137" y="217"/>
                      <a:pt x="141" y="208"/>
                    </a:cubicBezTo>
                    <a:cubicBezTo>
                      <a:pt x="145" y="200"/>
                      <a:pt x="148" y="197"/>
                      <a:pt x="150" y="196"/>
                    </a:cubicBezTo>
                    <a:cubicBezTo>
                      <a:pt x="152" y="195"/>
                      <a:pt x="156" y="194"/>
                      <a:pt x="164" y="194"/>
                    </a:cubicBezTo>
                    <a:cubicBezTo>
                      <a:pt x="270" y="194"/>
                      <a:pt x="270" y="194"/>
                      <a:pt x="270" y="194"/>
                    </a:cubicBezTo>
                    <a:cubicBezTo>
                      <a:pt x="278" y="194"/>
                      <a:pt x="282" y="195"/>
                      <a:pt x="284" y="196"/>
                    </a:cubicBezTo>
                    <a:cubicBezTo>
                      <a:pt x="286" y="197"/>
                      <a:pt x="289" y="200"/>
                      <a:pt x="293" y="208"/>
                    </a:cubicBezTo>
                    <a:cubicBezTo>
                      <a:pt x="297" y="217"/>
                      <a:pt x="303" y="229"/>
                      <a:pt x="308" y="240"/>
                    </a:cubicBezTo>
                    <a:cubicBezTo>
                      <a:pt x="313" y="252"/>
                      <a:pt x="317" y="262"/>
                      <a:pt x="319" y="266"/>
                    </a:cubicBezTo>
                    <a:cubicBezTo>
                      <a:pt x="321" y="270"/>
                      <a:pt x="326" y="280"/>
                      <a:pt x="335" y="289"/>
                    </a:cubicBezTo>
                    <a:cubicBezTo>
                      <a:pt x="344" y="299"/>
                      <a:pt x="358" y="307"/>
                      <a:pt x="377" y="307"/>
                    </a:cubicBezTo>
                    <a:cubicBezTo>
                      <a:pt x="377" y="307"/>
                      <a:pt x="377" y="307"/>
                      <a:pt x="377" y="307"/>
                    </a:cubicBezTo>
                    <a:cubicBezTo>
                      <a:pt x="395" y="307"/>
                      <a:pt x="408" y="300"/>
                      <a:pt x="414" y="290"/>
                    </a:cubicBezTo>
                    <a:cubicBezTo>
                      <a:pt x="421" y="281"/>
                      <a:pt x="423" y="270"/>
                      <a:pt x="424" y="264"/>
                    </a:cubicBezTo>
                    <a:cubicBezTo>
                      <a:pt x="424" y="263"/>
                      <a:pt x="425" y="256"/>
                      <a:pt x="425" y="252"/>
                    </a:cubicBezTo>
                    <a:cubicBezTo>
                      <a:pt x="425" y="248"/>
                      <a:pt x="422" y="244"/>
                      <a:pt x="418" y="243"/>
                    </a:cubicBezTo>
                    <a:cubicBezTo>
                      <a:pt x="413" y="243"/>
                      <a:pt x="410" y="246"/>
                      <a:pt x="409" y="251"/>
                    </a:cubicBezTo>
                    <a:cubicBezTo>
                      <a:pt x="409" y="254"/>
                      <a:pt x="408" y="260"/>
                      <a:pt x="408" y="262"/>
                    </a:cubicBezTo>
                    <a:cubicBezTo>
                      <a:pt x="407" y="267"/>
                      <a:pt x="406" y="275"/>
                      <a:pt x="401" y="281"/>
                    </a:cubicBezTo>
                    <a:cubicBezTo>
                      <a:pt x="397" y="286"/>
                      <a:pt x="391" y="291"/>
                      <a:pt x="377" y="291"/>
                    </a:cubicBezTo>
                    <a:cubicBezTo>
                      <a:pt x="363" y="291"/>
                      <a:pt x="354" y="285"/>
                      <a:pt x="347" y="278"/>
                    </a:cubicBezTo>
                    <a:cubicBezTo>
                      <a:pt x="340" y="271"/>
                      <a:pt x="336" y="263"/>
                      <a:pt x="334" y="259"/>
                    </a:cubicBezTo>
                    <a:cubicBezTo>
                      <a:pt x="332" y="256"/>
                      <a:pt x="327" y="245"/>
                      <a:pt x="322" y="234"/>
                    </a:cubicBezTo>
                    <a:cubicBezTo>
                      <a:pt x="317" y="222"/>
                      <a:pt x="312" y="210"/>
                      <a:pt x="307" y="201"/>
                    </a:cubicBezTo>
                    <a:cubicBezTo>
                      <a:pt x="303" y="193"/>
                      <a:pt x="299" y="186"/>
                      <a:pt x="292" y="182"/>
                    </a:cubicBezTo>
                    <a:cubicBezTo>
                      <a:pt x="286" y="178"/>
                      <a:pt x="279" y="178"/>
                      <a:pt x="270" y="178"/>
                    </a:cubicBezTo>
                    <a:cubicBezTo>
                      <a:pt x="164" y="178"/>
                      <a:pt x="164" y="178"/>
                      <a:pt x="164" y="178"/>
                    </a:cubicBezTo>
                    <a:cubicBezTo>
                      <a:pt x="156" y="178"/>
                      <a:pt x="149" y="178"/>
                      <a:pt x="142" y="182"/>
                    </a:cubicBezTo>
                    <a:cubicBezTo>
                      <a:pt x="135" y="186"/>
                      <a:pt x="132" y="193"/>
                      <a:pt x="127" y="201"/>
                    </a:cubicBezTo>
                    <a:cubicBezTo>
                      <a:pt x="123" y="210"/>
                      <a:pt x="117" y="222"/>
                      <a:pt x="112" y="234"/>
                    </a:cubicBezTo>
                    <a:cubicBezTo>
                      <a:pt x="107" y="245"/>
                      <a:pt x="103" y="256"/>
                      <a:pt x="101" y="259"/>
                    </a:cubicBezTo>
                    <a:cubicBezTo>
                      <a:pt x="99" y="263"/>
                      <a:pt x="95" y="271"/>
                      <a:pt x="88" y="278"/>
                    </a:cubicBezTo>
                    <a:cubicBezTo>
                      <a:pt x="81" y="285"/>
                      <a:pt x="71" y="291"/>
                      <a:pt x="58" y="291"/>
                    </a:cubicBezTo>
                    <a:cubicBezTo>
                      <a:pt x="43" y="291"/>
                      <a:pt x="37" y="286"/>
                      <a:pt x="33" y="281"/>
                    </a:cubicBezTo>
                    <a:cubicBezTo>
                      <a:pt x="29" y="275"/>
                      <a:pt x="27" y="267"/>
                      <a:pt x="27" y="262"/>
                    </a:cubicBezTo>
                    <a:cubicBezTo>
                      <a:pt x="26" y="256"/>
                      <a:pt x="23" y="217"/>
                      <a:pt x="21" y="180"/>
                    </a:cubicBezTo>
                    <a:cubicBezTo>
                      <a:pt x="20" y="173"/>
                      <a:pt x="20" y="167"/>
                      <a:pt x="19" y="160"/>
                    </a:cubicBezTo>
                    <a:cubicBezTo>
                      <a:pt x="35" y="179"/>
                      <a:pt x="58" y="190"/>
                      <a:pt x="83" y="190"/>
                    </a:cubicBezTo>
                    <a:cubicBezTo>
                      <a:pt x="129" y="190"/>
                      <a:pt x="166" y="153"/>
                      <a:pt x="166" y="107"/>
                    </a:cubicBezTo>
                    <a:cubicBezTo>
                      <a:pt x="166" y="89"/>
                      <a:pt x="161" y="73"/>
                      <a:pt x="151" y="59"/>
                    </a:cubicBezTo>
                    <a:cubicBezTo>
                      <a:pt x="283" y="59"/>
                      <a:pt x="283" y="59"/>
                      <a:pt x="283" y="59"/>
                    </a:cubicBezTo>
                    <a:cubicBezTo>
                      <a:pt x="283" y="59"/>
                      <a:pt x="283" y="59"/>
                      <a:pt x="283" y="59"/>
                    </a:cubicBezTo>
                    <a:cubicBezTo>
                      <a:pt x="274" y="73"/>
                      <a:pt x="268" y="89"/>
                      <a:pt x="268" y="107"/>
                    </a:cubicBezTo>
                    <a:cubicBezTo>
                      <a:pt x="268" y="153"/>
                      <a:pt x="305" y="190"/>
                      <a:pt x="351" y="190"/>
                    </a:cubicBezTo>
                    <a:cubicBezTo>
                      <a:pt x="377" y="190"/>
                      <a:pt x="399" y="179"/>
                      <a:pt x="415" y="161"/>
                    </a:cubicBezTo>
                    <a:cubicBezTo>
                      <a:pt x="413" y="178"/>
                      <a:pt x="413" y="190"/>
                      <a:pt x="411" y="219"/>
                    </a:cubicBezTo>
                    <a:cubicBezTo>
                      <a:pt x="410" y="223"/>
                      <a:pt x="414" y="227"/>
                      <a:pt x="418" y="227"/>
                    </a:cubicBezTo>
                    <a:cubicBezTo>
                      <a:pt x="422" y="227"/>
                      <a:pt x="426" y="224"/>
                      <a:pt x="427" y="220"/>
                    </a:cubicBezTo>
                    <a:cubicBezTo>
                      <a:pt x="430" y="174"/>
                      <a:pt x="430" y="171"/>
                      <a:pt x="434" y="117"/>
                    </a:cubicBezTo>
                    <a:cubicBezTo>
                      <a:pt x="434" y="117"/>
                      <a:pt x="434" y="117"/>
                      <a:pt x="434" y="117"/>
                    </a:cubicBezTo>
                    <a:cubicBezTo>
                      <a:pt x="434" y="114"/>
                      <a:pt x="434" y="111"/>
                      <a:pt x="434" y="107"/>
                    </a:cubicBezTo>
                    <a:cubicBezTo>
                      <a:pt x="434" y="107"/>
                      <a:pt x="434" y="107"/>
                      <a:pt x="434" y="107"/>
                    </a:cubicBezTo>
                    <a:cubicBezTo>
                      <a:pt x="434" y="107"/>
                      <a:pt x="434" y="107"/>
                      <a:pt x="434" y="107"/>
                    </a:cubicBezTo>
                    <a:cubicBezTo>
                      <a:pt x="434" y="107"/>
                      <a:pt x="434" y="107"/>
                      <a:pt x="434" y="107"/>
                    </a:cubicBezTo>
                    <a:close/>
                    <a:moveTo>
                      <a:pt x="83" y="174"/>
                    </a:moveTo>
                    <a:cubicBezTo>
                      <a:pt x="46" y="174"/>
                      <a:pt x="16" y="144"/>
                      <a:pt x="16" y="107"/>
                    </a:cubicBezTo>
                    <a:cubicBezTo>
                      <a:pt x="16" y="81"/>
                      <a:pt x="31" y="58"/>
                      <a:pt x="52" y="47"/>
                    </a:cubicBezTo>
                    <a:cubicBezTo>
                      <a:pt x="55" y="46"/>
                      <a:pt x="56" y="44"/>
                      <a:pt x="56" y="41"/>
                    </a:cubicBezTo>
                    <a:cubicBezTo>
                      <a:pt x="57" y="41"/>
                      <a:pt x="57" y="40"/>
                      <a:pt x="57" y="40"/>
                    </a:cubicBezTo>
                    <a:cubicBezTo>
                      <a:pt x="57" y="38"/>
                      <a:pt x="57" y="31"/>
                      <a:pt x="58" y="24"/>
                    </a:cubicBezTo>
                    <a:cubicBezTo>
                      <a:pt x="59" y="21"/>
                      <a:pt x="60" y="18"/>
                      <a:pt x="61" y="17"/>
                    </a:cubicBezTo>
                    <a:cubicBezTo>
                      <a:pt x="61" y="16"/>
                      <a:pt x="62" y="16"/>
                      <a:pt x="62" y="16"/>
                    </a:cubicBezTo>
                    <a:cubicBezTo>
                      <a:pt x="62" y="16"/>
                      <a:pt x="62" y="16"/>
                      <a:pt x="62" y="16"/>
                    </a:cubicBezTo>
                    <a:cubicBezTo>
                      <a:pt x="105" y="16"/>
                      <a:pt x="105" y="16"/>
                      <a:pt x="105" y="16"/>
                    </a:cubicBezTo>
                    <a:cubicBezTo>
                      <a:pt x="106" y="16"/>
                      <a:pt x="106" y="16"/>
                      <a:pt x="106" y="16"/>
                    </a:cubicBezTo>
                    <a:cubicBezTo>
                      <a:pt x="106" y="16"/>
                      <a:pt x="106" y="16"/>
                      <a:pt x="106" y="16"/>
                    </a:cubicBezTo>
                    <a:cubicBezTo>
                      <a:pt x="107" y="17"/>
                      <a:pt x="109" y="21"/>
                      <a:pt x="109" y="25"/>
                    </a:cubicBezTo>
                    <a:cubicBezTo>
                      <a:pt x="110" y="29"/>
                      <a:pt x="110" y="34"/>
                      <a:pt x="110" y="37"/>
                    </a:cubicBezTo>
                    <a:cubicBezTo>
                      <a:pt x="110" y="38"/>
                      <a:pt x="110" y="39"/>
                      <a:pt x="110" y="39"/>
                    </a:cubicBezTo>
                    <a:cubicBezTo>
                      <a:pt x="110" y="43"/>
                      <a:pt x="111" y="46"/>
                      <a:pt x="114" y="47"/>
                    </a:cubicBezTo>
                    <a:cubicBezTo>
                      <a:pt x="136" y="59"/>
                      <a:pt x="150" y="81"/>
                      <a:pt x="150" y="107"/>
                    </a:cubicBezTo>
                    <a:cubicBezTo>
                      <a:pt x="150" y="144"/>
                      <a:pt x="120" y="174"/>
                      <a:pt x="83" y="174"/>
                    </a:cubicBezTo>
                    <a:close/>
                    <a:moveTo>
                      <a:pt x="351" y="174"/>
                    </a:moveTo>
                    <a:cubicBezTo>
                      <a:pt x="314" y="174"/>
                      <a:pt x="284" y="144"/>
                      <a:pt x="284" y="107"/>
                    </a:cubicBezTo>
                    <a:cubicBezTo>
                      <a:pt x="284" y="81"/>
                      <a:pt x="299" y="58"/>
                      <a:pt x="320" y="47"/>
                    </a:cubicBezTo>
                    <a:cubicBezTo>
                      <a:pt x="322" y="46"/>
                      <a:pt x="324" y="44"/>
                      <a:pt x="324" y="42"/>
                    </a:cubicBezTo>
                    <a:cubicBezTo>
                      <a:pt x="325" y="41"/>
                      <a:pt x="325" y="40"/>
                      <a:pt x="325" y="40"/>
                    </a:cubicBezTo>
                    <a:cubicBezTo>
                      <a:pt x="325" y="38"/>
                      <a:pt x="325" y="31"/>
                      <a:pt x="326" y="24"/>
                    </a:cubicBezTo>
                    <a:cubicBezTo>
                      <a:pt x="327" y="21"/>
                      <a:pt x="328" y="18"/>
                      <a:pt x="329" y="17"/>
                    </a:cubicBezTo>
                    <a:cubicBezTo>
                      <a:pt x="329" y="16"/>
                      <a:pt x="330" y="16"/>
                      <a:pt x="330" y="16"/>
                    </a:cubicBezTo>
                    <a:cubicBezTo>
                      <a:pt x="373" y="16"/>
                      <a:pt x="373" y="16"/>
                      <a:pt x="373" y="16"/>
                    </a:cubicBezTo>
                    <a:cubicBezTo>
                      <a:pt x="374" y="16"/>
                      <a:pt x="374" y="16"/>
                      <a:pt x="374" y="16"/>
                    </a:cubicBezTo>
                    <a:cubicBezTo>
                      <a:pt x="374" y="16"/>
                      <a:pt x="374" y="16"/>
                      <a:pt x="374" y="16"/>
                    </a:cubicBezTo>
                    <a:cubicBezTo>
                      <a:pt x="375" y="17"/>
                      <a:pt x="377" y="21"/>
                      <a:pt x="377" y="25"/>
                    </a:cubicBezTo>
                    <a:cubicBezTo>
                      <a:pt x="378" y="29"/>
                      <a:pt x="378" y="34"/>
                      <a:pt x="378" y="37"/>
                    </a:cubicBezTo>
                    <a:cubicBezTo>
                      <a:pt x="378" y="38"/>
                      <a:pt x="378" y="39"/>
                      <a:pt x="378" y="39"/>
                    </a:cubicBezTo>
                    <a:cubicBezTo>
                      <a:pt x="378" y="40"/>
                      <a:pt x="378" y="41"/>
                      <a:pt x="378" y="42"/>
                    </a:cubicBezTo>
                    <a:cubicBezTo>
                      <a:pt x="379" y="44"/>
                      <a:pt x="380" y="46"/>
                      <a:pt x="382" y="47"/>
                    </a:cubicBezTo>
                    <a:cubicBezTo>
                      <a:pt x="404" y="59"/>
                      <a:pt x="418" y="81"/>
                      <a:pt x="418" y="107"/>
                    </a:cubicBezTo>
                    <a:cubicBezTo>
                      <a:pt x="418" y="144"/>
                      <a:pt x="388" y="174"/>
                      <a:pt x="351" y="174"/>
                    </a:cubicBezTo>
                    <a:close/>
                    <a:moveTo>
                      <a:pt x="225" y="147"/>
                    </a:moveTo>
                    <a:cubicBezTo>
                      <a:pt x="225" y="154"/>
                      <a:pt x="231" y="160"/>
                      <a:pt x="238" y="160"/>
                    </a:cubicBezTo>
                    <a:cubicBezTo>
                      <a:pt x="245" y="160"/>
                      <a:pt x="250" y="154"/>
                      <a:pt x="250" y="147"/>
                    </a:cubicBezTo>
                    <a:cubicBezTo>
                      <a:pt x="250" y="141"/>
                      <a:pt x="245" y="135"/>
                      <a:pt x="238" y="135"/>
                    </a:cubicBezTo>
                    <a:cubicBezTo>
                      <a:pt x="231" y="135"/>
                      <a:pt x="225" y="141"/>
                      <a:pt x="225" y="147"/>
                    </a:cubicBezTo>
                    <a:close/>
                    <a:moveTo>
                      <a:pt x="351" y="125"/>
                    </a:moveTo>
                    <a:cubicBezTo>
                      <a:pt x="342" y="125"/>
                      <a:pt x="335" y="132"/>
                      <a:pt x="335" y="141"/>
                    </a:cubicBezTo>
                    <a:cubicBezTo>
                      <a:pt x="335" y="150"/>
                      <a:pt x="342" y="157"/>
                      <a:pt x="351" y="157"/>
                    </a:cubicBezTo>
                    <a:cubicBezTo>
                      <a:pt x="360" y="157"/>
                      <a:pt x="367" y="150"/>
                      <a:pt x="367" y="141"/>
                    </a:cubicBezTo>
                    <a:cubicBezTo>
                      <a:pt x="367" y="132"/>
                      <a:pt x="360" y="125"/>
                      <a:pt x="351" y="125"/>
                    </a:cubicBezTo>
                    <a:close/>
                    <a:moveTo>
                      <a:pt x="182" y="147"/>
                    </a:moveTo>
                    <a:cubicBezTo>
                      <a:pt x="182" y="154"/>
                      <a:pt x="187" y="160"/>
                      <a:pt x="194" y="160"/>
                    </a:cubicBezTo>
                    <a:cubicBezTo>
                      <a:pt x="201" y="160"/>
                      <a:pt x="207" y="154"/>
                      <a:pt x="207" y="147"/>
                    </a:cubicBezTo>
                    <a:cubicBezTo>
                      <a:pt x="207" y="141"/>
                      <a:pt x="201" y="135"/>
                      <a:pt x="194" y="135"/>
                    </a:cubicBezTo>
                    <a:cubicBezTo>
                      <a:pt x="187" y="135"/>
                      <a:pt x="182" y="141"/>
                      <a:pt x="182" y="147"/>
                    </a:cubicBezTo>
                    <a:close/>
                    <a:moveTo>
                      <a:pt x="351" y="57"/>
                    </a:moveTo>
                    <a:cubicBezTo>
                      <a:pt x="342" y="57"/>
                      <a:pt x="335" y="64"/>
                      <a:pt x="335" y="73"/>
                    </a:cubicBezTo>
                    <a:cubicBezTo>
                      <a:pt x="335" y="82"/>
                      <a:pt x="342" y="89"/>
                      <a:pt x="351" y="89"/>
                    </a:cubicBezTo>
                    <a:cubicBezTo>
                      <a:pt x="360" y="89"/>
                      <a:pt x="367" y="82"/>
                      <a:pt x="367" y="73"/>
                    </a:cubicBezTo>
                    <a:cubicBezTo>
                      <a:pt x="367" y="64"/>
                      <a:pt x="360" y="57"/>
                      <a:pt x="351" y="57"/>
                    </a:cubicBezTo>
                    <a:close/>
                    <a:moveTo>
                      <a:pt x="385" y="91"/>
                    </a:moveTo>
                    <a:cubicBezTo>
                      <a:pt x="377" y="91"/>
                      <a:pt x="369" y="98"/>
                      <a:pt x="369" y="107"/>
                    </a:cubicBezTo>
                    <a:cubicBezTo>
                      <a:pt x="369" y="116"/>
                      <a:pt x="377" y="123"/>
                      <a:pt x="385" y="123"/>
                    </a:cubicBezTo>
                    <a:cubicBezTo>
                      <a:pt x="394" y="123"/>
                      <a:pt x="402" y="116"/>
                      <a:pt x="402" y="107"/>
                    </a:cubicBezTo>
                    <a:cubicBezTo>
                      <a:pt x="402" y="98"/>
                      <a:pt x="394" y="91"/>
                      <a:pt x="385" y="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58" name="Freeform 7"/>
              <p:cNvSpPr>
                <a:spLocks noChangeAspect="1" noEditPoints="1"/>
              </p:cNvSpPr>
              <p:nvPr/>
            </p:nvSpPr>
            <p:spPr bwMode="auto">
              <a:xfrm>
                <a:off x="5181760" y="2916839"/>
                <a:ext cx="127347" cy="103480"/>
              </a:xfrm>
              <a:custGeom>
                <a:avLst/>
                <a:gdLst>
                  <a:gd name="T0" fmla="*/ 2147483647 w 322"/>
                  <a:gd name="T1" fmla="*/ 2147483647 h 267"/>
                  <a:gd name="T2" fmla="*/ 2147483647 w 322"/>
                  <a:gd name="T3" fmla="*/ 2147483647 h 267"/>
                  <a:gd name="T4" fmla="*/ 2147483647 w 322"/>
                  <a:gd name="T5" fmla="*/ 2147483647 h 267"/>
                  <a:gd name="T6" fmla="*/ 2147483647 w 322"/>
                  <a:gd name="T7" fmla="*/ 2147483647 h 267"/>
                  <a:gd name="T8" fmla="*/ 2147483647 w 322"/>
                  <a:gd name="T9" fmla="*/ 2147483647 h 267"/>
                  <a:gd name="T10" fmla="*/ 2147483647 w 322"/>
                  <a:gd name="T11" fmla="*/ 2147483647 h 267"/>
                  <a:gd name="T12" fmla="*/ 2147483647 w 322"/>
                  <a:gd name="T13" fmla="*/ 2147483647 h 267"/>
                  <a:gd name="T14" fmla="*/ 2147483647 w 322"/>
                  <a:gd name="T15" fmla="*/ 2147483647 h 267"/>
                  <a:gd name="T16" fmla="*/ 2147483647 w 322"/>
                  <a:gd name="T17" fmla="*/ 2147483647 h 267"/>
                  <a:gd name="T18" fmla="*/ 2147483647 w 322"/>
                  <a:gd name="T19" fmla="*/ 2147483647 h 267"/>
                  <a:gd name="T20" fmla="*/ 2147483647 w 322"/>
                  <a:gd name="T21" fmla="*/ 2147483647 h 267"/>
                  <a:gd name="T22" fmla="*/ 2147483647 w 322"/>
                  <a:gd name="T23" fmla="*/ 2147483647 h 267"/>
                  <a:gd name="T24" fmla="*/ 2147483647 w 322"/>
                  <a:gd name="T25" fmla="*/ 2147483647 h 267"/>
                  <a:gd name="T26" fmla="*/ 2147483647 w 322"/>
                  <a:gd name="T27" fmla="*/ 2147483647 h 267"/>
                  <a:gd name="T28" fmla="*/ 2147483647 w 322"/>
                  <a:gd name="T29" fmla="*/ 2147483647 h 267"/>
                  <a:gd name="T30" fmla="*/ 0 w 322"/>
                  <a:gd name="T31" fmla="*/ 2147483647 h 267"/>
                  <a:gd name="T32" fmla="*/ 2147483647 w 322"/>
                  <a:gd name="T33" fmla="*/ 2147483647 h 267"/>
                  <a:gd name="T34" fmla="*/ 2147483647 w 322"/>
                  <a:gd name="T35" fmla="*/ 2147483647 h 267"/>
                  <a:gd name="T36" fmla="*/ 2147483647 w 322"/>
                  <a:gd name="T37" fmla="*/ 2147483647 h 267"/>
                  <a:gd name="T38" fmla="*/ 2147483647 w 322"/>
                  <a:gd name="T39" fmla="*/ 2147483647 h 267"/>
                  <a:gd name="T40" fmla="*/ 2147483647 w 322"/>
                  <a:gd name="T41" fmla="*/ 2147483647 h 267"/>
                  <a:gd name="T42" fmla="*/ 2147483647 w 322"/>
                  <a:gd name="T43" fmla="*/ 2147483647 h 267"/>
                  <a:gd name="T44" fmla="*/ 2147483647 w 322"/>
                  <a:gd name="T45" fmla="*/ 2147483647 h 267"/>
                  <a:gd name="T46" fmla="*/ 2147483647 w 322"/>
                  <a:gd name="T47" fmla="*/ 2147483647 h 267"/>
                  <a:gd name="T48" fmla="*/ 2147483647 w 322"/>
                  <a:gd name="T49" fmla="*/ 2147483647 h 267"/>
                  <a:gd name="T50" fmla="*/ 2147483647 w 322"/>
                  <a:gd name="T51" fmla="*/ 2147483647 h 267"/>
                  <a:gd name="T52" fmla="*/ 2147483647 w 322"/>
                  <a:gd name="T53" fmla="*/ 2147483647 h 267"/>
                  <a:gd name="T54" fmla="*/ 2147483647 w 322"/>
                  <a:gd name="T55" fmla="*/ 2147483647 h 267"/>
                  <a:gd name="T56" fmla="*/ 2147483647 w 322"/>
                  <a:gd name="T57" fmla="*/ 2147483647 h 267"/>
                  <a:gd name="T58" fmla="*/ 2147483647 w 322"/>
                  <a:gd name="T59" fmla="*/ 2147483647 h 267"/>
                  <a:gd name="T60" fmla="*/ 2147483647 w 322"/>
                  <a:gd name="T61" fmla="*/ 2147483647 h 267"/>
                  <a:gd name="T62" fmla="*/ 2147483647 w 322"/>
                  <a:gd name="T63" fmla="*/ 2147483647 h 267"/>
                  <a:gd name="T64" fmla="*/ 2147483647 w 322"/>
                  <a:gd name="T65" fmla="*/ 2147483647 h 267"/>
                  <a:gd name="T66" fmla="*/ 2147483647 w 322"/>
                  <a:gd name="T67" fmla="*/ 2147483647 h 267"/>
                  <a:gd name="T68" fmla="*/ 2147483647 w 322"/>
                  <a:gd name="T69" fmla="*/ 2147483647 h 267"/>
                  <a:gd name="T70" fmla="*/ 2147483647 w 322"/>
                  <a:gd name="T71" fmla="*/ 2147483647 h 267"/>
                  <a:gd name="T72" fmla="*/ 2147483647 w 322"/>
                  <a:gd name="T73" fmla="*/ 2147483647 h 267"/>
                  <a:gd name="T74" fmla="*/ 2147483647 w 322"/>
                  <a:gd name="T75" fmla="*/ 2147483647 h 267"/>
                  <a:gd name="T76" fmla="*/ 2147483647 w 322"/>
                  <a:gd name="T77" fmla="*/ 2147483647 h 267"/>
                  <a:gd name="T78" fmla="*/ 2147483647 w 322"/>
                  <a:gd name="T79" fmla="*/ 2147483647 h 267"/>
                  <a:gd name="T80" fmla="*/ 2147483647 w 322"/>
                  <a:gd name="T81" fmla="*/ 2147483647 h 267"/>
                  <a:gd name="T82" fmla="*/ 2147483647 w 322"/>
                  <a:gd name="T83" fmla="*/ 2147483647 h 267"/>
                  <a:gd name="T84" fmla="*/ 2147483647 w 322"/>
                  <a:gd name="T85" fmla="*/ 2147483647 h 267"/>
                  <a:gd name="T86" fmla="*/ 2147483647 w 322"/>
                  <a:gd name="T87" fmla="*/ 2147483647 h 267"/>
                  <a:gd name="T88" fmla="*/ 2147483647 w 322"/>
                  <a:gd name="T89" fmla="*/ 2147483647 h 267"/>
                  <a:gd name="T90" fmla="*/ 2147483647 w 322"/>
                  <a:gd name="T91" fmla="*/ 2147483647 h 267"/>
                  <a:gd name="T92" fmla="*/ 2147483647 w 322"/>
                  <a:gd name="T93" fmla="*/ 2147483647 h 267"/>
                  <a:gd name="T94" fmla="*/ 2147483647 w 322"/>
                  <a:gd name="T95" fmla="*/ 2147483647 h 26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22" h="267">
                    <a:moveTo>
                      <a:pt x="140" y="181"/>
                    </a:moveTo>
                    <a:cubicBezTo>
                      <a:pt x="140" y="224"/>
                      <a:pt x="140" y="224"/>
                      <a:pt x="140" y="224"/>
                    </a:cubicBezTo>
                    <a:cubicBezTo>
                      <a:pt x="140" y="228"/>
                      <a:pt x="144" y="232"/>
                      <a:pt x="148" y="232"/>
                    </a:cubicBezTo>
                    <a:cubicBezTo>
                      <a:pt x="153" y="232"/>
                      <a:pt x="156" y="228"/>
                      <a:pt x="156" y="224"/>
                    </a:cubicBezTo>
                    <a:cubicBezTo>
                      <a:pt x="156" y="181"/>
                      <a:pt x="156" y="181"/>
                      <a:pt x="156" y="181"/>
                    </a:cubicBezTo>
                    <a:cubicBezTo>
                      <a:pt x="156" y="176"/>
                      <a:pt x="153" y="173"/>
                      <a:pt x="148" y="173"/>
                    </a:cubicBezTo>
                    <a:cubicBezTo>
                      <a:pt x="144" y="173"/>
                      <a:pt x="140" y="176"/>
                      <a:pt x="140" y="181"/>
                    </a:cubicBezTo>
                    <a:close/>
                    <a:moveTo>
                      <a:pt x="182" y="173"/>
                    </a:moveTo>
                    <a:cubicBezTo>
                      <a:pt x="178" y="173"/>
                      <a:pt x="174" y="176"/>
                      <a:pt x="174" y="181"/>
                    </a:cubicBezTo>
                    <a:cubicBezTo>
                      <a:pt x="174" y="223"/>
                      <a:pt x="174" y="223"/>
                      <a:pt x="174" y="223"/>
                    </a:cubicBezTo>
                    <a:cubicBezTo>
                      <a:pt x="174" y="227"/>
                      <a:pt x="178" y="231"/>
                      <a:pt x="182" y="231"/>
                    </a:cubicBezTo>
                    <a:cubicBezTo>
                      <a:pt x="212" y="231"/>
                      <a:pt x="212" y="231"/>
                      <a:pt x="212" y="231"/>
                    </a:cubicBezTo>
                    <a:cubicBezTo>
                      <a:pt x="217" y="231"/>
                      <a:pt x="220" y="227"/>
                      <a:pt x="220" y="223"/>
                    </a:cubicBezTo>
                    <a:cubicBezTo>
                      <a:pt x="220" y="181"/>
                      <a:pt x="220" y="181"/>
                      <a:pt x="220" y="181"/>
                    </a:cubicBezTo>
                    <a:cubicBezTo>
                      <a:pt x="220" y="176"/>
                      <a:pt x="217" y="173"/>
                      <a:pt x="212" y="173"/>
                    </a:cubicBezTo>
                    <a:lnTo>
                      <a:pt x="182" y="173"/>
                    </a:lnTo>
                    <a:close/>
                    <a:moveTo>
                      <a:pt x="247" y="173"/>
                    </a:moveTo>
                    <a:cubicBezTo>
                      <a:pt x="242" y="173"/>
                      <a:pt x="239" y="176"/>
                      <a:pt x="239" y="181"/>
                    </a:cubicBezTo>
                    <a:cubicBezTo>
                      <a:pt x="239" y="223"/>
                      <a:pt x="239" y="223"/>
                      <a:pt x="239" y="223"/>
                    </a:cubicBezTo>
                    <a:cubicBezTo>
                      <a:pt x="239" y="227"/>
                      <a:pt x="242" y="231"/>
                      <a:pt x="247" y="231"/>
                    </a:cubicBezTo>
                    <a:cubicBezTo>
                      <a:pt x="277" y="231"/>
                      <a:pt x="277" y="231"/>
                      <a:pt x="277" y="231"/>
                    </a:cubicBezTo>
                    <a:cubicBezTo>
                      <a:pt x="281" y="231"/>
                      <a:pt x="285" y="227"/>
                      <a:pt x="285" y="223"/>
                    </a:cubicBezTo>
                    <a:cubicBezTo>
                      <a:pt x="285" y="181"/>
                      <a:pt x="285" y="181"/>
                      <a:pt x="285" y="181"/>
                    </a:cubicBezTo>
                    <a:cubicBezTo>
                      <a:pt x="285" y="176"/>
                      <a:pt x="281" y="173"/>
                      <a:pt x="277" y="173"/>
                    </a:cubicBezTo>
                    <a:lnTo>
                      <a:pt x="247" y="173"/>
                    </a:lnTo>
                    <a:close/>
                    <a:moveTo>
                      <a:pt x="314" y="173"/>
                    </a:moveTo>
                    <a:cubicBezTo>
                      <a:pt x="318" y="173"/>
                      <a:pt x="322" y="169"/>
                      <a:pt x="322" y="165"/>
                    </a:cubicBezTo>
                    <a:cubicBezTo>
                      <a:pt x="322" y="150"/>
                      <a:pt x="322" y="150"/>
                      <a:pt x="322" y="150"/>
                    </a:cubicBezTo>
                    <a:cubicBezTo>
                      <a:pt x="322" y="142"/>
                      <a:pt x="315" y="135"/>
                      <a:pt x="307" y="135"/>
                    </a:cubicBezTo>
                    <a:cubicBezTo>
                      <a:pt x="15" y="135"/>
                      <a:pt x="15" y="135"/>
                      <a:pt x="15" y="135"/>
                    </a:cubicBezTo>
                    <a:cubicBezTo>
                      <a:pt x="7" y="135"/>
                      <a:pt x="0" y="142"/>
                      <a:pt x="0" y="150"/>
                    </a:cubicBezTo>
                    <a:cubicBezTo>
                      <a:pt x="0" y="252"/>
                      <a:pt x="0" y="252"/>
                      <a:pt x="0" y="252"/>
                    </a:cubicBezTo>
                    <a:cubicBezTo>
                      <a:pt x="0" y="261"/>
                      <a:pt x="7" y="267"/>
                      <a:pt x="15" y="267"/>
                    </a:cubicBezTo>
                    <a:cubicBezTo>
                      <a:pt x="307" y="267"/>
                      <a:pt x="307" y="267"/>
                      <a:pt x="307" y="267"/>
                    </a:cubicBezTo>
                    <a:cubicBezTo>
                      <a:pt x="315" y="267"/>
                      <a:pt x="322" y="261"/>
                      <a:pt x="322" y="252"/>
                    </a:cubicBezTo>
                    <a:cubicBezTo>
                      <a:pt x="322" y="196"/>
                      <a:pt x="322" y="196"/>
                      <a:pt x="322" y="196"/>
                    </a:cubicBezTo>
                    <a:cubicBezTo>
                      <a:pt x="322" y="192"/>
                      <a:pt x="318" y="188"/>
                      <a:pt x="314" y="188"/>
                    </a:cubicBezTo>
                    <a:cubicBezTo>
                      <a:pt x="310" y="188"/>
                      <a:pt x="306" y="192"/>
                      <a:pt x="306" y="196"/>
                    </a:cubicBezTo>
                    <a:cubicBezTo>
                      <a:pt x="306" y="251"/>
                      <a:pt x="306" y="251"/>
                      <a:pt x="306" y="251"/>
                    </a:cubicBezTo>
                    <a:cubicBezTo>
                      <a:pt x="16" y="251"/>
                      <a:pt x="16" y="251"/>
                      <a:pt x="16" y="251"/>
                    </a:cubicBezTo>
                    <a:cubicBezTo>
                      <a:pt x="16" y="151"/>
                      <a:pt x="16" y="151"/>
                      <a:pt x="16" y="151"/>
                    </a:cubicBezTo>
                    <a:cubicBezTo>
                      <a:pt x="306" y="151"/>
                      <a:pt x="306" y="151"/>
                      <a:pt x="306" y="151"/>
                    </a:cubicBezTo>
                    <a:cubicBezTo>
                      <a:pt x="306" y="165"/>
                      <a:pt x="306" y="165"/>
                      <a:pt x="306" y="165"/>
                    </a:cubicBezTo>
                    <a:cubicBezTo>
                      <a:pt x="306" y="169"/>
                      <a:pt x="310" y="173"/>
                      <a:pt x="314" y="173"/>
                    </a:cubicBezTo>
                    <a:close/>
                    <a:moveTo>
                      <a:pt x="37" y="181"/>
                    </a:moveTo>
                    <a:cubicBezTo>
                      <a:pt x="37" y="224"/>
                      <a:pt x="37" y="224"/>
                      <a:pt x="37" y="224"/>
                    </a:cubicBezTo>
                    <a:cubicBezTo>
                      <a:pt x="37" y="228"/>
                      <a:pt x="41" y="232"/>
                      <a:pt x="45" y="232"/>
                    </a:cubicBezTo>
                    <a:cubicBezTo>
                      <a:pt x="50" y="232"/>
                      <a:pt x="53" y="228"/>
                      <a:pt x="53" y="224"/>
                    </a:cubicBezTo>
                    <a:cubicBezTo>
                      <a:pt x="53" y="181"/>
                      <a:pt x="53" y="181"/>
                      <a:pt x="53" y="181"/>
                    </a:cubicBezTo>
                    <a:cubicBezTo>
                      <a:pt x="53" y="176"/>
                      <a:pt x="50" y="173"/>
                      <a:pt x="45" y="173"/>
                    </a:cubicBezTo>
                    <a:cubicBezTo>
                      <a:pt x="41" y="173"/>
                      <a:pt x="37" y="176"/>
                      <a:pt x="37" y="181"/>
                    </a:cubicBezTo>
                    <a:close/>
                    <a:moveTo>
                      <a:pt x="106" y="181"/>
                    </a:moveTo>
                    <a:cubicBezTo>
                      <a:pt x="106" y="224"/>
                      <a:pt x="106" y="224"/>
                      <a:pt x="106" y="224"/>
                    </a:cubicBezTo>
                    <a:cubicBezTo>
                      <a:pt x="106" y="228"/>
                      <a:pt x="109" y="232"/>
                      <a:pt x="114" y="232"/>
                    </a:cubicBezTo>
                    <a:cubicBezTo>
                      <a:pt x="118" y="232"/>
                      <a:pt x="122" y="228"/>
                      <a:pt x="122" y="224"/>
                    </a:cubicBezTo>
                    <a:cubicBezTo>
                      <a:pt x="122" y="181"/>
                      <a:pt x="122" y="181"/>
                      <a:pt x="122" y="181"/>
                    </a:cubicBezTo>
                    <a:cubicBezTo>
                      <a:pt x="122" y="176"/>
                      <a:pt x="118" y="173"/>
                      <a:pt x="114" y="173"/>
                    </a:cubicBezTo>
                    <a:cubicBezTo>
                      <a:pt x="109" y="173"/>
                      <a:pt x="106" y="176"/>
                      <a:pt x="106" y="181"/>
                    </a:cubicBezTo>
                    <a:close/>
                    <a:moveTo>
                      <a:pt x="71" y="181"/>
                    </a:moveTo>
                    <a:cubicBezTo>
                      <a:pt x="71" y="224"/>
                      <a:pt x="71" y="224"/>
                      <a:pt x="71" y="224"/>
                    </a:cubicBezTo>
                    <a:cubicBezTo>
                      <a:pt x="71" y="228"/>
                      <a:pt x="75" y="232"/>
                      <a:pt x="79" y="232"/>
                    </a:cubicBezTo>
                    <a:cubicBezTo>
                      <a:pt x="84" y="232"/>
                      <a:pt x="87" y="228"/>
                      <a:pt x="87" y="224"/>
                    </a:cubicBezTo>
                    <a:cubicBezTo>
                      <a:pt x="87" y="181"/>
                      <a:pt x="87" y="181"/>
                      <a:pt x="87" y="181"/>
                    </a:cubicBezTo>
                    <a:cubicBezTo>
                      <a:pt x="87" y="176"/>
                      <a:pt x="84" y="173"/>
                      <a:pt x="79" y="173"/>
                    </a:cubicBezTo>
                    <a:cubicBezTo>
                      <a:pt x="75" y="173"/>
                      <a:pt x="71" y="176"/>
                      <a:pt x="71" y="181"/>
                    </a:cubicBezTo>
                    <a:close/>
                    <a:moveTo>
                      <a:pt x="76" y="51"/>
                    </a:moveTo>
                    <a:cubicBezTo>
                      <a:pt x="76" y="51"/>
                      <a:pt x="76" y="51"/>
                      <a:pt x="76" y="51"/>
                    </a:cubicBezTo>
                    <a:cubicBezTo>
                      <a:pt x="100" y="28"/>
                      <a:pt x="130" y="16"/>
                      <a:pt x="161" y="16"/>
                    </a:cubicBezTo>
                    <a:cubicBezTo>
                      <a:pt x="192" y="16"/>
                      <a:pt x="223" y="28"/>
                      <a:pt x="246" y="51"/>
                    </a:cubicBezTo>
                    <a:cubicBezTo>
                      <a:pt x="250" y="55"/>
                      <a:pt x="255" y="55"/>
                      <a:pt x="258" y="51"/>
                    </a:cubicBezTo>
                    <a:cubicBezTo>
                      <a:pt x="259" y="50"/>
                      <a:pt x="260" y="48"/>
                      <a:pt x="260" y="46"/>
                    </a:cubicBezTo>
                    <a:cubicBezTo>
                      <a:pt x="260" y="44"/>
                      <a:pt x="259" y="42"/>
                      <a:pt x="258" y="40"/>
                    </a:cubicBezTo>
                    <a:cubicBezTo>
                      <a:pt x="231" y="13"/>
                      <a:pt x="196" y="0"/>
                      <a:pt x="161" y="0"/>
                    </a:cubicBezTo>
                    <a:cubicBezTo>
                      <a:pt x="126" y="0"/>
                      <a:pt x="91" y="13"/>
                      <a:pt x="65" y="40"/>
                    </a:cubicBezTo>
                    <a:cubicBezTo>
                      <a:pt x="62" y="43"/>
                      <a:pt x="62" y="48"/>
                      <a:pt x="65" y="51"/>
                    </a:cubicBezTo>
                    <a:cubicBezTo>
                      <a:pt x="68" y="55"/>
                      <a:pt x="73" y="55"/>
                      <a:pt x="76" y="51"/>
                    </a:cubicBezTo>
                    <a:close/>
                    <a:moveTo>
                      <a:pt x="119" y="95"/>
                    </a:moveTo>
                    <a:cubicBezTo>
                      <a:pt x="116" y="98"/>
                      <a:pt x="116" y="103"/>
                      <a:pt x="119" y="106"/>
                    </a:cubicBezTo>
                    <a:cubicBezTo>
                      <a:pt x="122" y="109"/>
                      <a:pt x="127" y="109"/>
                      <a:pt x="130" y="106"/>
                    </a:cubicBezTo>
                    <a:cubicBezTo>
                      <a:pt x="139" y="97"/>
                      <a:pt x="150" y="93"/>
                      <a:pt x="161" y="93"/>
                    </a:cubicBezTo>
                    <a:cubicBezTo>
                      <a:pt x="172" y="93"/>
                      <a:pt x="183" y="97"/>
                      <a:pt x="192" y="106"/>
                    </a:cubicBezTo>
                    <a:cubicBezTo>
                      <a:pt x="195" y="109"/>
                      <a:pt x="200" y="109"/>
                      <a:pt x="203" y="106"/>
                    </a:cubicBezTo>
                    <a:cubicBezTo>
                      <a:pt x="205" y="104"/>
                      <a:pt x="206" y="102"/>
                      <a:pt x="206" y="100"/>
                    </a:cubicBezTo>
                    <a:cubicBezTo>
                      <a:pt x="206" y="98"/>
                      <a:pt x="205" y="96"/>
                      <a:pt x="203" y="95"/>
                    </a:cubicBezTo>
                    <a:cubicBezTo>
                      <a:pt x="192" y="83"/>
                      <a:pt x="176" y="77"/>
                      <a:pt x="161" y="77"/>
                    </a:cubicBezTo>
                    <a:cubicBezTo>
                      <a:pt x="146" y="77"/>
                      <a:pt x="131" y="83"/>
                      <a:pt x="119" y="95"/>
                    </a:cubicBezTo>
                    <a:close/>
                    <a:moveTo>
                      <a:pt x="231" y="79"/>
                    </a:moveTo>
                    <a:cubicBezTo>
                      <a:pt x="232" y="77"/>
                      <a:pt x="233" y="75"/>
                      <a:pt x="233" y="73"/>
                    </a:cubicBezTo>
                    <a:cubicBezTo>
                      <a:pt x="233" y="71"/>
                      <a:pt x="232" y="69"/>
                      <a:pt x="231" y="67"/>
                    </a:cubicBezTo>
                    <a:cubicBezTo>
                      <a:pt x="211" y="48"/>
                      <a:pt x="186" y="39"/>
                      <a:pt x="161" y="39"/>
                    </a:cubicBezTo>
                    <a:cubicBezTo>
                      <a:pt x="136" y="39"/>
                      <a:pt x="111" y="48"/>
                      <a:pt x="92" y="67"/>
                    </a:cubicBezTo>
                    <a:cubicBezTo>
                      <a:pt x="89" y="71"/>
                      <a:pt x="89" y="76"/>
                      <a:pt x="92" y="79"/>
                    </a:cubicBezTo>
                    <a:cubicBezTo>
                      <a:pt x="95" y="82"/>
                      <a:pt x="100" y="82"/>
                      <a:pt x="103" y="79"/>
                    </a:cubicBezTo>
                    <a:cubicBezTo>
                      <a:pt x="119" y="63"/>
                      <a:pt x="140" y="55"/>
                      <a:pt x="161" y="55"/>
                    </a:cubicBezTo>
                    <a:cubicBezTo>
                      <a:pt x="182" y="55"/>
                      <a:pt x="203" y="63"/>
                      <a:pt x="219" y="79"/>
                    </a:cubicBezTo>
                    <a:cubicBezTo>
                      <a:pt x="222" y="82"/>
                      <a:pt x="227" y="82"/>
                      <a:pt x="231"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59" name="Freeform 6"/>
              <p:cNvSpPr>
                <a:spLocks noEditPoints="1"/>
              </p:cNvSpPr>
              <p:nvPr/>
            </p:nvSpPr>
            <p:spPr bwMode="auto">
              <a:xfrm>
                <a:off x="5508631" y="4017855"/>
                <a:ext cx="155999" cy="152844"/>
              </a:xfrm>
              <a:custGeom>
                <a:avLst/>
                <a:gdLst>
                  <a:gd name="T0" fmla="*/ 2147483647 w 394"/>
                  <a:gd name="T1" fmla="*/ 2147483647 h 395"/>
                  <a:gd name="T2" fmla="*/ 2147483647 w 394"/>
                  <a:gd name="T3" fmla="*/ 2147483647 h 395"/>
                  <a:gd name="T4" fmla="*/ 2147483647 w 394"/>
                  <a:gd name="T5" fmla="*/ 2147483647 h 395"/>
                  <a:gd name="T6" fmla="*/ 2147483647 w 394"/>
                  <a:gd name="T7" fmla="*/ 2147483647 h 395"/>
                  <a:gd name="T8" fmla="*/ 2147483647 w 394"/>
                  <a:gd name="T9" fmla="*/ 0 h 395"/>
                  <a:gd name="T10" fmla="*/ 2147483647 w 394"/>
                  <a:gd name="T11" fmla="*/ 2147483647 h 395"/>
                  <a:gd name="T12" fmla="*/ 2147483647 w 394"/>
                  <a:gd name="T13" fmla="*/ 2147483647 h 395"/>
                  <a:gd name="T14" fmla="*/ 2147483647 w 394"/>
                  <a:gd name="T15" fmla="*/ 2147483647 h 395"/>
                  <a:gd name="T16" fmla="*/ 2147483647 w 394"/>
                  <a:gd name="T17" fmla="*/ 2147483647 h 395"/>
                  <a:gd name="T18" fmla="*/ 2147483647 w 394"/>
                  <a:gd name="T19" fmla="*/ 2147483647 h 395"/>
                  <a:gd name="T20" fmla="*/ 2147483647 w 394"/>
                  <a:gd name="T21" fmla="*/ 2147483647 h 395"/>
                  <a:gd name="T22" fmla="*/ 2147483647 w 394"/>
                  <a:gd name="T23" fmla="*/ 2147483647 h 395"/>
                  <a:gd name="T24" fmla="*/ 2147483647 w 394"/>
                  <a:gd name="T25" fmla="*/ 2147483647 h 395"/>
                  <a:gd name="T26" fmla="*/ 2147483647 w 394"/>
                  <a:gd name="T27" fmla="*/ 2147483647 h 395"/>
                  <a:gd name="T28" fmla="*/ 2147483647 w 394"/>
                  <a:gd name="T29" fmla="*/ 2147483647 h 395"/>
                  <a:gd name="T30" fmla="*/ 2147483647 w 394"/>
                  <a:gd name="T31" fmla="*/ 2147483647 h 395"/>
                  <a:gd name="T32" fmla="*/ 2147483647 w 394"/>
                  <a:gd name="T33" fmla="*/ 2147483647 h 395"/>
                  <a:gd name="T34" fmla="*/ 2147483647 w 394"/>
                  <a:gd name="T35" fmla="*/ 2147483647 h 395"/>
                  <a:gd name="T36" fmla="*/ 2147483647 w 394"/>
                  <a:gd name="T37" fmla="*/ 2147483647 h 395"/>
                  <a:gd name="T38" fmla="*/ 2147483647 w 394"/>
                  <a:gd name="T39" fmla="*/ 2147483647 h 395"/>
                  <a:gd name="T40" fmla="*/ 2147483647 w 394"/>
                  <a:gd name="T41" fmla="*/ 2147483647 h 395"/>
                  <a:gd name="T42" fmla="*/ 2147483647 w 394"/>
                  <a:gd name="T43" fmla="*/ 2147483647 h 395"/>
                  <a:gd name="T44" fmla="*/ 2147483647 w 394"/>
                  <a:gd name="T45" fmla="*/ 2147483647 h 395"/>
                  <a:gd name="T46" fmla="*/ 2147483647 w 394"/>
                  <a:gd name="T47" fmla="*/ 2147483647 h 395"/>
                  <a:gd name="T48" fmla="*/ 2147483647 w 394"/>
                  <a:gd name="T49" fmla="*/ 2147483647 h 395"/>
                  <a:gd name="T50" fmla="*/ 2147483647 w 394"/>
                  <a:gd name="T51" fmla="*/ 2147483647 h 395"/>
                  <a:gd name="T52" fmla="*/ 2147483647 w 394"/>
                  <a:gd name="T53" fmla="*/ 2147483647 h 395"/>
                  <a:gd name="T54" fmla="*/ 2147483647 w 394"/>
                  <a:gd name="T55" fmla="*/ 2147483647 h 395"/>
                  <a:gd name="T56" fmla="*/ 2147483647 w 394"/>
                  <a:gd name="T57" fmla="*/ 2147483647 h 395"/>
                  <a:gd name="T58" fmla="*/ 2147483647 w 394"/>
                  <a:gd name="T59" fmla="*/ 2147483647 h 395"/>
                  <a:gd name="T60" fmla="*/ 2147483647 w 394"/>
                  <a:gd name="T61" fmla="*/ 2147483647 h 395"/>
                  <a:gd name="T62" fmla="*/ 2147483647 w 394"/>
                  <a:gd name="T63" fmla="*/ 2147483647 h 395"/>
                  <a:gd name="T64" fmla="*/ 2147483647 w 394"/>
                  <a:gd name="T65" fmla="*/ 2147483647 h 395"/>
                  <a:gd name="T66" fmla="*/ 2147483647 w 394"/>
                  <a:gd name="T67" fmla="*/ 2147483647 h 395"/>
                  <a:gd name="T68" fmla="*/ 2147483647 w 394"/>
                  <a:gd name="T69" fmla="*/ 2147483647 h 395"/>
                  <a:gd name="T70" fmla="*/ 2147483647 w 394"/>
                  <a:gd name="T71" fmla="*/ 2147483647 h 395"/>
                  <a:gd name="T72" fmla="*/ 2147483647 w 394"/>
                  <a:gd name="T73" fmla="*/ 2147483647 h 395"/>
                  <a:gd name="T74" fmla="*/ 2147483647 w 394"/>
                  <a:gd name="T75" fmla="*/ 2147483647 h 395"/>
                  <a:gd name="T76" fmla="*/ 2147483647 w 394"/>
                  <a:gd name="T77" fmla="*/ 2147483647 h 395"/>
                  <a:gd name="T78" fmla="*/ 2147483647 w 394"/>
                  <a:gd name="T79" fmla="*/ 2147483647 h 395"/>
                  <a:gd name="T80" fmla="*/ 2147483647 w 394"/>
                  <a:gd name="T81" fmla="*/ 2147483647 h 395"/>
                  <a:gd name="T82" fmla="*/ 2147483647 w 394"/>
                  <a:gd name="T83" fmla="*/ 2147483647 h 395"/>
                  <a:gd name="T84" fmla="*/ 2147483647 w 394"/>
                  <a:gd name="T85" fmla="*/ 2147483647 h 395"/>
                  <a:gd name="T86" fmla="*/ 2147483647 w 394"/>
                  <a:gd name="T87" fmla="*/ 2147483647 h 395"/>
                  <a:gd name="T88" fmla="*/ 2147483647 w 394"/>
                  <a:gd name="T89" fmla="*/ 2147483647 h 395"/>
                  <a:gd name="T90" fmla="*/ 2147483647 w 394"/>
                  <a:gd name="T91" fmla="*/ 2147483647 h 395"/>
                  <a:gd name="T92" fmla="*/ 2147483647 w 394"/>
                  <a:gd name="T93" fmla="*/ 2147483647 h 395"/>
                  <a:gd name="T94" fmla="*/ 2147483647 w 394"/>
                  <a:gd name="T95" fmla="*/ 2147483647 h 395"/>
                  <a:gd name="T96" fmla="*/ 2147483647 w 394"/>
                  <a:gd name="T97" fmla="*/ 2147483647 h 395"/>
                  <a:gd name="T98" fmla="*/ 2147483647 w 394"/>
                  <a:gd name="T99" fmla="*/ 2147483647 h 395"/>
                  <a:gd name="T100" fmla="*/ 2147483647 w 394"/>
                  <a:gd name="T101" fmla="*/ 2147483647 h 395"/>
                  <a:gd name="T102" fmla="*/ 2147483647 w 394"/>
                  <a:gd name="T103" fmla="*/ 2147483647 h 395"/>
                  <a:gd name="T104" fmla="*/ 2147483647 w 394"/>
                  <a:gd name="T105" fmla="*/ 2147483647 h 395"/>
                  <a:gd name="T106" fmla="*/ 2147483647 w 394"/>
                  <a:gd name="T107" fmla="*/ 2147483647 h 395"/>
                  <a:gd name="T108" fmla="*/ 2147483647 w 394"/>
                  <a:gd name="T109" fmla="*/ 2147483647 h 395"/>
                  <a:gd name="T110" fmla="*/ 2147483647 w 394"/>
                  <a:gd name="T111" fmla="*/ 2147483647 h 395"/>
                  <a:gd name="T112" fmla="*/ 2147483647 w 394"/>
                  <a:gd name="T113" fmla="*/ 2147483647 h 395"/>
                  <a:gd name="T114" fmla="*/ 2147483647 w 394"/>
                  <a:gd name="T115" fmla="*/ 2147483647 h 395"/>
                  <a:gd name="T116" fmla="*/ 2147483647 w 394"/>
                  <a:gd name="T117" fmla="*/ 2147483647 h 39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94" h="395">
                    <a:moveTo>
                      <a:pt x="348" y="70"/>
                    </a:moveTo>
                    <a:cubicBezTo>
                      <a:pt x="345" y="67"/>
                      <a:pt x="340" y="66"/>
                      <a:pt x="337" y="69"/>
                    </a:cubicBezTo>
                    <a:cubicBezTo>
                      <a:pt x="333" y="72"/>
                      <a:pt x="333" y="77"/>
                      <a:pt x="336" y="81"/>
                    </a:cubicBezTo>
                    <a:cubicBezTo>
                      <a:pt x="362" y="112"/>
                      <a:pt x="378" y="153"/>
                      <a:pt x="378" y="198"/>
                    </a:cubicBezTo>
                    <a:cubicBezTo>
                      <a:pt x="378" y="248"/>
                      <a:pt x="358" y="293"/>
                      <a:pt x="325" y="326"/>
                    </a:cubicBezTo>
                    <a:cubicBezTo>
                      <a:pt x="292" y="359"/>
                      <a:pt x="247" y="379"/>
                      <a:pt x="197" y="379"/>
                    </a:cubicBezTo>
                    <a:cubicBezTo>
                      <a:pt x="147" y="379"/>
                      <a:pt x="102" y="359"/>
                      <a:pt x="69" y="326"/>
                    </a:cubicBezTo>
                    <a:cubicBezTo>
                      <a:pt x="36" y="293"/>
                      <a:pt x="16" y="248"/>
                      <a:pt x="16" y="198"/>
                    </a:cubicBezTo>
                    <a:cubicBezTo>
                      <a:pt x="16" y="147"/>
                      <a:pt x="36" y="102"/>
                      <a:pt x="69" y="69"/>
                    </a:cubicBezTo>
                    <a:cubicBezTo>
                      <a:pt x="102" y="37"/>
                      <a:pt x="147" y="16"/>
                      <a:pt x="197" y="16"/>
                    </a:cubicBezTo>
                    <a:cubicBezTo>
                      <a:pt x="242" y="16"/>
                      <a:pt x="282" y="32"/>
                      <a:pt x="314" y="59"/>
                    </a:cubicBezTo>
                    <a:cubicBezTo>
                      <a:pt x="317" y="62"/>
                      <a:pt x="322" y="61"/>
                      <a:pt x="325" y="58"/>
                    </a:cubicBezTo>
                    <a:cubicBezTo>
                      <a:pt x="328" y="55"/>
                      <a:pt x="328" y="50"/>
                      <a:pt x="324" y="47"/>
                    </a:cubicBezTo>
                    <a:cubicBezTo>
                      <a:pt x="324" y="47"/>
                      <a:pt x="324" y="47"/>
                      <a:pt x="324" y="47"/>
                    </a:cubicBezTo>
                    <a:cubicBezTo>
                      <a:pt x="290" y="18"/>
                      <a:pt x="245" y="0"/>
                      <a:pt x="197" y="0"/>
                    </a:cubicBezTo>
                    <a:cubicBezTo>
                      <a:pt x="88" y="0"/>
                      <a:pt x="0" y="89"/>
                      <a:pt x="0" y="198"/>
                    </a:cubicBezTo>
                    <a:cubicBezTo>
                      <a:pt x="0" y="307"/>
                      <a:pt x="88" y="395"/>
                      <a:pt x="197" y="395"/>
                    </a:cubicBezTo>
                    <a:cubicBezTo>
                      <a:pt x="306" y="395"/>
                      <a:pt x="394" y="307"/>
                      <a:pt x="394" y="198"/>
                    </a:cubicBezTo>
                    <a:cubicBezTo>
                      <a:pt x="394" y="149"/>
                      <a:pt x="377" y="105"/>
                      <a:pt x="348" y="70"/>
                    </a:cubicBezTo>
                    <a:close/>
                    <a:moveTo>
                      <a:pt x="327" y="103"/>
                    </a:moveTo>
                    <a:cubicBezTo>
                      <a:pt x="327" y="99"/>
                      <a:pt x="323" y="95"/>
                      <a:pt x="319" y="95"/>
                    </a:cubicBezTo>
                    <a:cubicBezTo>
                      <a:pt x="74" y="95"/>
                      <a:pt x="74" y="95"/>
                      <a:pt x="74" y="95"/>
                    </a:cubicBezTo>
                    <a:cubicBezTo>
                      <a:pt x="70" y="95"/>
                      <a:pt x="66" y="99"/>
                      <a:pt x="66" y="103"/>
                    </a:cubicBezTo>
                    <a:cubicBezTo>
                      <a:pt x="66" y="107"/>
                      <a:pt x="70" y="111"/>
                      <a:pt x="74" y="111"/>
                    </a:cubicBezTo>
                    <a:cubicBezTo>
                      <a:pt x="319" y="111"/>
                      <a:pt x="319" y="111"/>
                      <a:pt x="319" y="111"/>
                    </a:cubicBezTo>
                    <a:cubicBezTo>
                      <a:pt x="323" y="111"/>
                      <a:pt x="327" y="107"/>
                      <a:pt x="327" y="103"/>
                    </a:cubicBezTo>
                    <a:close/>
                    <a:moveTo>
                      <a:pt x="245" y="149"/>
                    </a:moveTo>
                    <a:cubicBezTo>
                      <a:pt x="239" y="149"/>
                      <a:pt x="234" y="154"/>
                      <a:pt x="234" y="159"/>
                    </a:cubicBezTo>
                    <a:cubicBezTo>
                      <a:pt x="234" y="236"/>
                      <a:pt x="234" y="236"/>
                      <a:pt x="234" y="236"/>
                    </a:cubicBezTo>
                    <a:cubicBezTo>
                      <a:pt x="234" y="242"/>
                      <a:pt x="239" y="246"/>
                      <a:pt x="245" y="246"/>
                    </a:cubicBezTo>
                    <a:cubicBezTo>
                      <a:pt x="282" y="246"/>
                      <a:pt x="282" y="246"/>
                      <a:pt x="282" y="246"/>
                    </a:cubicBezTo>
                    <a:cubicBezTo>
                      <a:pt x="288" y="246"/>
                      <a:pt x="292" y="242"/>
                      <a:pt x="292" y="236"/>
                    </a:cubicBezTo>
                    <a:cubicBezTo>
                      <a:pt x="292" y="159"/>
                      <a:pt x="292" y="159"/>
                      <a:pt x="292" y="159"/>
                    </a:cubicBezTo>
                    <a:cubicBezTo>
                      <a:pt x="292" y="154"/>
                      <a:pt x="288" y="149"/>
                      <a:pt x="282" y="149"/>
                    </a:cubicBezTo>
                    <a:lnTo>
                      <a:pt x="245" y="149"/>
                    </a:lnTo>
                    <a:close/>
                    <a:moveTo>
                      <a:pt x="284" y="210"/>
                    </a:moveTo>
                    <a:cubicBezTo>
                      <a:pt x="284" y="219"/>
                      <a:pt x="277" y="224"/>
                      <a:pt x="269" y="226"/>
                    </a:cubicBezTo>
                    <a:cubicBezTo>
                      <a:pt x="268" y="226"/>
                      <a:pt x="267" y="226"/>
                      <a:pt x="267" y="226"/>
                    </a:cubicBezTo>
                    <a:cubicBezTo>
                      <a:pt x="266" y="226"/>
                      <a:pt x="264" y="225"/>
                      <a:pt x="264" y="223"/>
                    </a:cubicBezTo>
                    <a:cubicBezTo>
                      <a:pt x="264" y="222"/>
                      <a:pt x="265" y="221"/>
                      <a:pt x="267" y="221"/>
                    </a:cubicBezTo>
                    <a:cubicBezTo>
                      <a:pt x="273" y="220"/>
                      <a:pt x="278" y="216"/>
                      <a:pt x="278" y="210"/>
                    </a:cubicBezTo>
                    <a:cubicBezTo>
                      <a:pt x="278" y="204"/>
                      <a:pt x="273" y="199"/>
                      <a:pt x="262" y="199"/>
                    </a:cubicBezTo>
                    <a:cubicBezTo>
                      <a:pt x="253" y="199"/>
                      <a:pt x="248" y="204"/>
                      <a:pt x="248" y="210"/>
                    </a:cubicBezTo>
                    <a:cubicBezTo>
                      <a:pt x="248" y="217"/>
                      <a:pt x="253" y="220"/>
                      <a:pt x="260" y="221"/>
                    </a:cubicBezTo>
                    <a:cubicBezTo>
                      <a:pt x="261" y="221"/>
                      <a:pt x="262" y="222"/>
                      <a:pt x="262" y="223"/>
                    </a:cubicBezTo>
                    <a:cubicBezTo>
                      <a:pt x="262" y="225"/>
                      <a:pt x="261" y="226"/>
                      <a:pt x="259" y="226"/>
                    </a:cubicBezTo>
                    <a:cubicBezTo>
                      <a:pt x="259" y="226"/>
                      <a:pt x="258" y="226"/>
                      <a:pt x="258" y="226"/>
                    </a:cubicBezTo>
                    <a:cubicBezTo>
                      <a:pt x="249" y="224"/>
                      <a:pt x="242" y="219"/>
                      <a:pt x="242" y="210"/>
                    </a:cubicBezTo>
                    <a:cubicBezTo>
                      <a:pt x="242" y="203"/>
                      <a:pt x="247" y="198"/>
                      <a:pt x="253" y="196"/>
                    </a:cubicBezTo>
                    <a:cubicBezTo>
                      <a:pt x="253" y="196"/>
                      <a:pt x="253" y="196"/>
                      <a:pt x="253" y="196"/>
                    </a:cubicBezTo>
                    <a:cubicBezTo>
                      <a:pt x="247" y="195"/>
                      <a:pt x="244" y="191"/>
                      <a:pt x="244" y="184"/>
                    </a:cubicBezTo>
                    <a:cubicBezTo>
                      <a:pt x="244" y="176"/>
                      <a:pt x="248" y="171"/>
                      <a:pt x="258" y="169"/>
                    </a:cubicBezTo>
                    <a:cubicBezTo>
                      <a:pt x="258" y="169"/>
                      <a:pt x="259" y="169"/>
                      <a:pt x="259" y="169"/>
                    </a:cubicBezTo>
                    <a:cubicBezTo>
                      <a:pt x="261" y="169"/>
                      <a:pt x="262" y="170"/>
                      <a:pt x="262" y="172"/>
                    </a:cubicBezTo>
                    <a:cubicBezTo>
                      <a:pt x="262" y="173"/>
                      <a:pt x="261" y="174"/>
                      <a:pt x="260" y="174"/>
                    </a:cubicBezTo>
                    <a:cubicBezTo>
                      <a:pt x="253" y="175"/>
                      <a:pt x="249" y="178"/>
                      <a:pt x="249" y="184"/>
                    </a:cubicBezTo>
                    <a:cubicBezTo>
                      <a:pt x="249" y="190"/>
                      <a:pt x="254" y="194"/>
                      <a:pt x="264" y="194"/>
                    </a:cubicBezTo>
                    <a:cubicBezTo>
                      <a:pt x="271" y="194"/>
                      <a:pt x="277" y="190"/>
                      <a:pt x="277" y="184"/>
                    </a:cubicBezTo>
                    <a:cubicBezTo>
                      <a:pt x="277" y="178"/>
                      <a:pt x="273" y="175"/>
                      <a:pt x="267" y="174"/>
                    </a:cubicBezTo>
                    <a:cubicBezTo>
                      <a:pt x="265" y="174"/>
                      <a:pt x="264" y="173"/>
                      <a:pt x="264" y="172"/>
                    </a:cubicBezTo>
                    <a:cubicBezTo>
                      <a:pt x="264" y="170"/>
                      <a:pt x="266" y="169"/>
                      <a:pt x="267" y="169"/>
                    </a:cubicBezTo>
                    <a:cubicBezTo>
                      <a:pt x="267" y="169"/>
                      <a:pt x="268" y="169"/>
                      <a:pt x="269" y="169"/>
                    </a:cubicBezTo>
                    <a:cubicBezTo>
                      <a:pt x="278" y="171"/>
                      <a:pt x="282" y="177"/>
                      <a:pt x="282" y="184"/>
                    </a:cubicBezTo>
                    <a:cubicBezTo>
                      <a:pt x="282" y="190"/>
                      <a:pt x="279" y="194"/>
                      <a:pt x="274" y="196"/>
                    </a:cubicBezTo>
                    <a:cubicBezTo>
                      <a:pt x="274" y="196"/>
                      <a:pt x="274" y="196"/>
                      <a:pt x="274" y="196"/>
                    </a:cubicBezTo>
                    <a:cubicBezTo>
                      <a:pt x="279" y="198"/>
                      <a:pt x="283" y="203"/>
                      <a:pt x="284" y="210"/>
                    </a:cubicBezTo>
                    <a:close/>
                    <a:moveTo>
                      <a:pt x="113" y="149"/>
                    </a:moveTo>
                    <a:cubicBezTo>
                      <a:pt x="107" y="149"/>
                      <a:pt x="102" y="154"/>
                      <a:pt x="102" y="159"/>
                    </a:cubicBezTo>
                    <a:cubicBezTo>
                      <a:pt x="102" y="236"/>
                      <a:pt x="102" y="236"/>
                      <a:pt x="102" y="236"/>
                    </a:cubicBezTo>
                    <a:cubicBezTo>
                      <a:pt x="102" y="242"/>
                      <a:pt x="107" y="246"/>
                      <a:pt x="113" y="246"/>
                    </a:cubicBezTo>
                    <a:cubicBezTo>
                      <a:pt x="150" y="246"/>
                      <a:pt x="150" y="246"/>
                      <a:pt x="150" y="246"/>
                    </a:cubicBezTo>
                    <a:cubicBezTo>
                      <a:pt x="156" y="246"/>
                      <a:pt x="161" y="242"/>
                      <a:pt x="161" y="236"/>
                    </a:cubicBezTo>
                    <a:cubicBezTo>
                      <a:pt x="161" y="159"/>
                      <a:pt x="161" y="159"/>
                      <a:pt x="161" y="159"/>
                    </a:cubicBezTo>
                    <a:cubicBezTo>
                      <a:pt x="161" y="154"/>
                      <a:pt x="156" y="149"/>
                      <a:pt x="150" y="149"/>
                    </a:cubicBezTo>
                    <a:lnTo>
                      <a:pt x="113" y="149"/>
                    </a:lnTo>
                    <a:close/>
                    <a:moveTo>
                      <a:pt x="116" y="226"/>
                    </a:moveTo>
                    <a:cubicBezTo>
                      <a:pt x="114" y="226"/>
                      <a:pt x="113" y="225"/>
                      <a:pt x="113" y="223"/>
                    </a:cubicBezTo>
                    <a:cubicBezTo>
                      <a:pt x="113" y="222"/>
                      <a:pt x="114" y="220"/>
                      <a:pt x="116" y="220"/>
                    </a:cubicBezTo>
                    <a:cubicBezTo>
                      <a:pt x="133" y="221"/>
                      <a:pt x="144" y="215"/>
                      <a:pt x="144" y="204"/>
                    </a:cubicBezTo>
                    <a:cubicBezTo>
                      <a:pt x="144" y="198"/>
                      <a:pt x="140" y="194"/>
                      <a:pt x="133" y="194"/>
                    </a:cubicBezTo>
                    <a:cubicBezTo>
                      <a:pt x="126" y="194"/>
                      <a:pt x="122" y="196"/>
                      <a:pt x="120" y="198"/>
                    </a:cubicBezTo>
                    <a:cubicBezTo>
                      <a:pt x="116" y="199"/>
                      <a:pt x="115" y="197"/>
                      <a:pt x="115" y="195"/>
                    </a:cubicBezTo>
                    <a:cubicBezTo>
                      <a:pt x="115" y="174"/>
                      <a:pt x="115" y="174"/>
                      <a:pt x="115" y="174"/>
                    </a:cubicBezTo>
                    <a:cubicBezTo>
                      <a:pt x="115" y="171"/>
                      <a:pt x="117" y="170"/>
                      <a:pt x="120" y="170"/>
                    </a:cubicBezTo>
                    <a:cubicBezTo>
                      <a:pt x="144" y="169"/>
                      <a:pt x="144" y="169"/>
                      <a:pt x="144" y="169"/>
                    </a:cubicBezTo>
                    <a:cubicBezTo>
                      <a:pt x="145" y="169"/>
                      <a:pt x="147" y="171"/>
                      <a:pt x="147" y="172"/>
                    </a:cubicBezTo>
                    <a:cubicBezTo>
                      <a:pt x="147" y="174"/>
                      <a:pt x="145" y="175"/>
                      <a:pt x="144" y="175"/>
                    </a:cubicBezTo>
                    <a:cubicBezTo>
                      <a:pt x="120" y="175"/>
                      <a:pt x="120" y="175"/>
                      <a:pt x="120" y="175"/>
                    </a:cubicBezTo>
                    <a:cubicBezTo>
                      <a:pt x="120" y="192"/>
                      <a:pt x="120" y="192"/>
                      <a:pt x="120" y="192"/>
                    </a:cubicBezTo>
                    <a:cubicBezTo>
                      <a:pt x="123" y="190"/>
                      <a:pt x="127" y="189"/>
                      <a:pt x="133" y="189"/>
                    </a:cubicBezTo>
                    <a:cubicBezTo>
                      <a:pt x="143" y="189"/>
                      <a:pt x="150" y="195"/>
                      <a:pt x="150" y="204"/>
                    </a:cubicBezTo>
                    <a:cubicBezTo>
                      <a:pt x="150" y="218"/>
                      <a:pt x="137" y="227"/>
                      <a:pt x="116" y="226"/>
                    </a:cubicBezTo>
                    <a:close/>
                    <a:moveTo>
                      <a:pt x="74" y="300"/>
                    </a:moveTo>
                    <a:cubicBezTo>
                      <a:pt x="319" y="300"/>
                      <a:pt x="319" y="300"/>
                      <a:pt x="319" y="300"/>
                    </a:cubicBezTo>
                    <a:cubicBezTo>
                      <a:pt x="323" y="300"/>
                      <a:pt x="327" y="297"/>
                      <a:pt x="327" y="292"/>
                    </a:cubicBezTo>
                    <a:cubicBezTo>
                      <a:pt x="327" y="288"/>
                      <a:pt x="323" y="284"/>
                      <a:pt x="319" y="284"/>
                    </a:cubicBezTo>
                    <a:cubicBezTo>
                      <a:pt x="74" y="284"/>
                      <a:pt x="74" y="284"/>
                      <a:pt x="74" y="284"/>
                    </a:cubicBezTo>
                    <a:cubicBezTo>
                      <a:pt x="70" y="284"/>
                      <a:pt x="66" y="288"/>
                      <a:pt x="66" y="292"/>
                    </a:cubicBezTo>
                    <a:cubicBezTo>
                      <a:pt x="66" y="297"/>
                      <a:pt x="70" y="300"/>
                      <a:pt x="74" y="300"/>
                    </a:cubicBezTo>
                    <a:close/>
                    <a:moveTo>
                      <a:pt x="37" y="159"/>
                    </a:moveTo>
                    <a:cubicBezTo>
                      <a:pt x="37" y="236"/>
                      <a:pt x="37" y="236"/>
                      <a:pt x="37" y="236"/>
                    </a:cubicBezTo>
                    <a:cubicBezTo>
                      <a:pt x="37" y="242"/>
                      <a:pt x="41" y="246"/>
                      <a:pt x="47" y="246"/>
                    </a:cubicBezTo>
                    <a:cubicBezTo>
                      <a:pt x="84" y="246"/>
                      <a:pt x="84" y="246"/>
                      <a:pt x="84" y="246"/>
                    </a:cubicBezTo>
                    <a:cubicBezTo>
                      <a:pt x="90" y="246"/>
                      <a:pt x="95" y="242"/>
                      <a:pt x="95" y="236"/>
                    </a:cubicBezTo>
                    <a:cubicBezTo>
                      <a:pt x="95" y="159"/>
                      <a:pt x="95" y="159"/>
                      <a:pt x="95" y="159"/>
                    </a:cubicBezTo>
                    <a:cubicBezTo>
                      <a:pt x="95" y="154"/>
                      <a:pt x="90" y="149"/>
                      <a:pt x="84" y="149"/>
                    </a:cubicBezTo>
                    <a:cubicBezTo>
                      <a:pt x="47" y="149"/>
                      <a:pt x="47" y="149"/>
                      <a:pt x="47" y="149"/>
                    </a:cubicBezTo>
                    <a:cubicBezTo>
                      <a:pt x="41" y="149"/>
                      <a:pt x="37" y="154"/>
                      <a:pt x="37" y="159"/>
                    </a:cubicBezTo>
                    <a:close/>
                    <a:moveTo>
                      <a:pt x="65" y="175"/>
                    </a:moveTo>
                    <a:cubicBezTo>
                      <a:pt x="59" y="175"/>
                      <a:pt x="55" y="177"/>
                      <a:pt x="53" y="181"/>
                    </a:cubicBezTo>
                    <a:cubicBezTo>
                      <a:pt x="53" y="181"/>
                      <a:pt x="52" y="182"/>
                      <a:pt x="51" y="182"/>
                    </a:cubicBezTo>
                    <a:cubicBezTo>
                      <a:pt x="50" y="182"/>
                      <a:pt x="48" y="181"/>
                      <a:pt x="48" y="180"/>
                    </a:cubicBezTo>
                    <a:cubicBezTo>
                      <a:pt x="47" y="179"/>
                      <a:pt x="48" y="178"/>
                      <a:pt x="48" y="178"/>
                    </a:cubicBezTo>
                    <a:cubicBezTo>
                      <a:pt x="51" y="174"/>
                      <a:pt x="56" y="169"/>
                      <a:pt x="65" y="169"/>
                    </a:cubicBezTo>
                    <a:cubicBezTo>
                      <a:pt x="77" y="169"/>
                      <a:pt x="83" y="176"/>
                      <a:pt x="83" y="184"/>
                    </a:cubicBezTo>
                    <a:cubicBezTo>
                      <a:pt x="83" y="193"/>
                      <a:pt x="78" y="197"/>
                      <a:pt x="65" y="206"/>
                    </a:cubicBezTo>
                    <a:cubicBezTo>
                      <a:pt x="57" y="212"/>
                      <a:pt x="53" y="216"/>
                      <a:pt x="53" y="220"/>
                    </a:cubicBezTo>
                    <a:cubicBezTo>
                      <a:pt x="81" y="220"/>
                      <a:pt x="81" y="220"/>
                      <a:pt x="81" y="220"/>
                    </a:cubicBezTo>
                    <a:cubicBezTo>
                      <a:pt x="83" y="220"/>
                      <a:pt x="84" y="222"/>
                      <a:pt x="84" y="223"/>
                    </a:cubicBezTo>
                    <a:cubicBezTo>
                      <a:pt x="84" y="225"/>
                      <a:pt x="83" y="226"/>
                      <a:pt x="81" y="226"/>
                    </a:cubicBezTo>
                    <a:cubicBezTo>
                      <a:pt x="52" y="226"/>
                      <a:pt x="52" y="226"/>
                      <a:pt x="52" y="226"/>
                    </a:cubicBezTo>
                    <a:cubicBezTo>
                      <a:pt x="49" y="226"/>
                      <a:pt x="48" y="224"/>
                      <a:pt x="48" y="222"/>
                    </a:cubicBezTo>
                    <a:cubicBezTo>
                      <a:pt x="48" y="215"/>
                      <a:pt x="51" y="209"/>
                      <a:pt x="60" y="203"/>
                    </a:cubicBezTo>
                    <a:cubicBezTo>
                      <a:pt x="73" y="194"/>
                      <a:pt x="77" y="191"/>
                      <a:pt x="77" y="184"/>
                    </a:cubicBezTo>
                    <a:cubicBezTo>
                      <a:pt x="77" y="180"/>
                      <a:pt x="74" y="175"/>
                      <a:pt x="65" y="175"/>
                    </a:cubicBezTo>
                    <a:close/>
                    <a:moveTo>
                      <a:pt x="179" y="149"/>
                    </a:moveTo>
                    <a:cubicBezTo>
                      <a:pt x="173" y="149"/>
                      <a:pt x="168" y="154"/>
                      <a:pt x="168" y="159"/>
                    </a:cubicBezTo>
                    <a:cubicBezTo>
                      <a:pt x="168" y="236"/>
                      <a:pt x="168" y="236"/>
                      <a:pt x="168" y="236"/>
                    </a:cubicBezTo>
                    <a:cubicBezTo>
                      <a:pt x="168" y="242"/>
                      <a:pt x="173" y="246"/>
                      <a:pt x="179" y="246"/>
                    </a:cubicBezTo>
                    <a:cubicBezTo>
                      <a:pt x="216" y="246"/>
                      <a:pt x="216" y="246"/>
                      <a:pt x="216" y="246"/>
                    </a:cubicBezTo>
                    <a:cubicBezTo>
                      <a:pt x="222" y="246"/>
                      <a:pt x="226" y="242"/>
                      <a:pt x="226" y="236"/>
                    </a:cubicBezTo>
                    <a:cubicBezTo>
                      <a:pt x="226" y="159"/>
                      <a:pt x="226" y="159"/>
                      <a:pt x="226" y="159"/>
                    </a:cubicBezTo>
                    <a:cubicBezTo>
                      <a:pt x="226" y="154"/>
                      <a:pt x="222" y="149"/>
                      <a:pt x="216" y="149"/>
                    </a:cubicBezTo>
                    <a:lnTo>
                      <a:pt x="179" y="149"/>
                    </a:lnTo>
                    <a:close/>
                    <a:moveTo>
                      <a:pt x="182" y="226"/>
                    </a:moveTo>
                    <a:cubicBezTo>
                      <a:pt x="180" y="226"/>
                      <a:pt x="179" y="225"/>
                      <a:pt x="179" y="223"/>
                    </a:cubicBezTo>
                    <a:cubicBezTo>
                      <a:pt x="179" y="221"/>
                      <a:pt x="180" y="220"/>
                      <a:pt x="182" y="220"/>
                    </a:cubicBezTo>
                    <a:cubicBezTo>
                      <a:pt x="199" y="221"/>
                      <a:pt x="210" y="216"/>
                      <a:pt x="210" y="205"/>
                    </a:cubicBezTo>
                    <a:cubicBezTo>
                      <a:pt x="210" y="199"/>
                      <a:pt x="205" y="195"/>
                      <a:pt x="198" y="195"/>
                    </a:cubicBezTo>
                    <a:cubicBezTo>
                      <a:pt x="195" y="195"/>
                      <a:pt x="194" y="196"/>
                      <a:pt x="193" y="196"/>
                    </a:cubicBezTo>
                    <a:cubicBezTo>
                      <a:pt x="191" y="196"/>
                      <a:pt x="190" y="194"/>
                      <a:pt x="190" y="193"/>
                    </a:cubicBezTo>
                    <a:cubicBezTo>
                      <a:pt x="190" y="192"/>
                      <a:pt x="190" y="192"/>
                      <a:pt x="191" y="191"/>
                    </a:cubicBezTo>
                    <a:cubicBezTo>
                      <a:pt x="205" y="175"/>
                      <a:pt x="205" y="175"/>
                      <a:pt x="205" y="175"/>
                    </a:cubicBezTo>
                    <a:cubicBezTo>
                      <a:pt x="182" y="175"/>
                      <a:pt x="182" y="175"/>
                      <a:pt x="182" y="175"/>
                    </a:cubicBezTo>
                    <a:cubicBezTo>
                      <a:pt x="180" y="175"/>
                      <a:pt x="179" y="174"/>
                      <a:pt x="179" y="172"/>
                    </a:cubicBezTo>
                    <a:cubicBezTo>
                      <a:pt x="179" y="171"/>
                      <a:pt x="180" y="169"/>
                      <a:pt x="182" y="169"/>
                    </a:cubicBezTo>
                    <a:cubicBezTo>
                      <a:pt x="208" y="169"/>
                      <a:pt x="208" y="169"/>
                      <a:pt x="208" y="169"/>
                    </a:cubicBezTo>
                    <a:cubicBezTo>
                      <a:pt x="210" y="169"/>
                      <a:pt x="212" y="171"/>
                      <a:pt x="212" y="174"/>
                    </a:cubicBezTo>
                    <a:cubicBezTo>
                      <a:pt x="212" y="174"/>
                      <a:pt x="212" y="175"/>
                      <a:pt x="211" y="176"/>
                    </a:cubicBezTo>
                    <a:cubicBezTo>
                      <a:pt x="199" y="190"/>
                      <a:pt x="199" y="190"/>
                      <a:pt x="199" y="190"/>
                    </a:cubicBezTo>
                    <a:cubicBezTo>
                      <a:pt x="208" y="190"/>
                      <a:pt x="216" y="196"/>
                      <a:pt x="216" y="205"/>
                    </a:cubicBezTo>
                    <a:cubicBezTo>
                      <a:pt x="216" y="219"/>
                      <a:pt x="203" y="227"/>
                      <a:pt x="182" y="226"/>
                    </a:cubicBezTo>
                    <a:close/>
                    <a:moveTo>
                      <a:pt x="358" y="236"/>
                    </a:moveTo>
                    <a:cubicBezTo>
                      <a:pt x="358" y="159"/>
                      <a:pt x="358" y="159"/>
                      <a:pt x="358" y="159"/>
                    </a:cubicBezTo>
                    <a:cubicBezTo>
                      <a:pt x="358" y="154"/>
                      <a:pt x="353" y="149"/>
                      <a:pt x="348" y="149"/>
                    </a:cubicBezTo>
                    <a:cubicBezTo>
                      <a:pt x="310" y="149"/>
                      <a:pt x="310" y="149"/>
                      <a:pt x="310" y="149"/>
                    </a:cubicBezTo>
                    <a:cubicBezTo>
                      <a:pt x="305" y="149"/>
                      <a:pt x="300" y="154"/>
                      <a:pt x="300" y="159"/>
                    </a:cubicBezTo>
                    <a:cubicBezTo>
                      <a:pt x="300" y="236"/>
                      <a:pt x="300" y="236"/>
                      <a:pt x="300" y="236"/>
                    </a:cubicBezTo>
                    <a:cubicBezTo>
                      <a:pt x="300" y="242"/>
                      <a:pt x="305" y="246"/>
                      <a:pt x="310" y="246"/>
                    </a:cubicBezTo>
                    <a:cubicBezTo>
                      <a:pt x="348" y="246"/>
                      <a:pt x="348" y="246"/>
                      <a:pt x="348" y="246"/>
                    </a:cubicBezTo>
                    <a:cubicBezTo>
                      <a:pt x="353" y="246"/>
                      <a:pt x="358" y="242"/>
                      <a:pt x="358" y="236"/>
                    </a:cubicBezTo>
                    <a:close/>
                    <a:moveTo>
                      <a:pt x="315" y="226"/>
                    </a:moveTo>
                    <a:cubicBezTo>
                      <a:pt x="314" y="226"/>
                      <a:pt x="313" y="225"/>
                      <a:pt x="312" y="224"/>
                    </a:cubicBezTo>
                    <a:cubicBezTo>
                      <a:pt x="312" y="222"/>
                      <a:pt x="314" y="221"/>
                      <a:pt x="315" y="221"/>
                    </a:cubicBezTo>
                    <a:cubicBezTo>
                      <a:pt x="334" y="221"/>
                      <a:pt x="343" y="216"/>
                      <a:pt x="343" y="197"/>
                    </a:cubicBezTo>
                    <a:cubicBezTo>
                      <a:pt x="343" y="194"/>
                      <a:pt x="343" y="191"/>
                      <a:pt x="343" y="189"/>
                    </a:cubicBezTo>
                    <a:cubicBezTo>
                      <a:pt x="342" y="179"/>
                      <a:pt x="338" y="174"/>
                      <a:pt x="328" y="174"/>
                    </a:cubicBezTo>
                    <a:cubicBezTo>
                      <a:pt x="319" y="174"/>
                      <a:pt x="315" y="179"/>
                      <a:pt x="315" y="187"/>
                    </a:cubicBezTo>
                    <a:cubicBezTo>
                      <a:pt x="315" y="196"/>
                      <a:pt x="318" y="200"/>
                      <a:pt x="328" y="200"/>
                    </a:cubicBezTo>
                    <a:cubicBezTo>
                      <a:pt x="330" y="200"/>
                      <a:pt x="332" y="199"/>
                      <a:pt x="336" y="198"/>
                    </a:cubicBezTo>
                    <a:cubicBezTo>
                      <a:pt x="338" y="198"/>
                      <a:pt x="339" y="199"/>
                      <a:pt x="339" y="200"/>
                    </a:cubicBezTo>
                    <a:cubicBezTo>
                      <a:pt x="340" y="202"/>
                      <a:pt x="339" y="203"/>
                      <a:pt x="337" y="204"/>
                    </a:cubicBezTo>
                    <a:cubicBezTo>
                      <a:pt x="334" y="204"/>
                      <a:pt x="332" y="205"/>
                      <a:pt x="328" y="205"/>
                    </a:cubicBezTo>
                    <a:cubicBezTo>
                      <a:pt x="316" y="205"/>
                      <a:pt x="309" y="199"/>
                      <a:pt x="309" y="188"/>
                    </a:cubicBezTo>
                    <a:cubicBezTo>
                      <a:pt x="309" y="178"/>
                      <a:pt x="316" y="169"/>
                      <a:pt x="328" y="169"/>
                    </a:cubicBezTo>
                    <a:cubicBezTo>
                      <a:pt x="341" y="169"/>
                      <a:pt x="348" y="176"/>
                      <a:pt x="349" y="189"/>
                    </a:cubicBezTo>
                    <a:cubicBezTo>
                      <a:pt x="349" y="191"/>
                      <a:pt x="349" y="193"/>
                      <a:pt x="349" y="197"/>
                    </a:cubicBezTo>
                    <a:cubicBezTo>
                      <a:pt x="348" y="219"/>
                      <a:pt x="337" y="226"/>
                      <a:pt x="315" y="2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60" name="Freeform 9"/>
              <p:cNvSpPr>
                <a:spLocks noEditPoints="1"/>
              </p:cNvSpPr>
              <p:nvPr/>
            </p:nvSpPr>
            <p:spPr bwMode="auto">
              <a:xfrm>
                <a:off x="5063719" y="4218398"/>
                <a:ext cx="184988" cy="145953"/>
              </a:xfrm>
              <a:custGeom>
                <a:avLst/>
                <a:gdLst>
                  <a:gd name="T0" fmla="*/ 2147483647 w 467"/>
                  <a:gd name="T1" fmla="*/ 2147483647 h 377"/>
                  <a:gd name="T2" fmla="*/ 2147483647 w 467"/>
                  <a:gd name="T3" fmla="*/ 2147483647 h 377"/>
                  <a:gd name="T4" fmla="*/ 2147483647 w 467"/>
                  <a:gd name="T5" fmla="*/ 2147483647 h 377"/>
                  <a:gd name="T6" fmla="*/ 2147483647 w 467"/>
                  <a:gd name="T7" fmla="*/ 0 h 377"/>
                  <a:gd name="T8" fmla="*/ 2147483647 w 467"/>
                  <a:gd name="T9" fmla="*/ 0 h 377"/>
                  <a:gd name="T10" fmla="*/ 0 w 467"/>
                  <a:gd name="T11" fmla="*/ 2147483647 h 377"/>
                  <a:gd name="T12" fmla="*/ 0 w 467"/>
                  <a:gd name="T13" fmla="*/ 2147483647 h 377"/>
                  <a:gd name="T14" fmla="*/ 2147483647 w 467"/>
                  <a:gd name="T15" fmla="*/ 2147483647 h 377"/>
                  <a:gd name="T16" fmla="*/ 2147483647 w 467"/>
                  <a:gd name="T17" fmla="*/ 2147483647 h 377"/>
                  <a:gd name="T18" fmla="*/ 2147483647 w 467"/>
                  <a:gd name="T19" fmla="*/ 2147483647 h 377"/>
                  <a:gd name="T20" fmla="*/ 2147483647 w 467"/>
                  <a:gd name="T21" fmla="*/ 2147483647 h 377"/>
                  <a:gd name="T22" fmla="*/ 2147483647 w 467"/>
                  <a:gd name="T23" fmla="*/ 2147483647 h 377"/>
                  <a:gd name="T24" fmla="*/ 2147483647 w 467"/>
                  <a:gd name="T25" fmla="*/ 2147483647 h 377"/>
                  <a:gd name="T26" fmla="*/ 2147483647 w 467"/>
                  <a:gd name="T27" fmla="*/ 2147483647 h 377"/>
                  <a:gd name="T28" fmla="*/ 2147483647 w 467"/>
                  <a:gd name="T29" fmla="*/ 2147483647 h 377"/>
                  <a:gd name="T30" fmla="*/ 2147483647 w 467"/>
                  <a:gd name="T31" fmla="*/ 2147483647 h 377"/>
                  <a:gd name="T32" fmla="*/ 2147483647 w 467"/>
                  <a:gd name="T33" fmla="*/ 2147483647 h 377"/>
                  <a:gd name="T34" fmla="*/ 2147483647 w 467"/>
                  <a:gd name="T35" fmla="*/ 2147483647 h 377"/>
                  <a:gd name="T36" fmla="*/ 2147483647 w 467"/>
                  <a:gd name="T37" fmla="*/ 2147483647 h 377"/>
                  <a:gd name="T38" fmla="*/ 2147483647 w 467"/>
                  <a:gd name="T39" fmla="*/ 2147483647 h 377"/>
                  <a:gd name="T40" fmla="*/ 2147483647 w 467"/>
                  <a:gd name="T41" fmla="*/ 2147483647 h 377"/>
                  <a:gd name="T42" fmla="*/ 2147483647 w 467"/>
                  <a:gd name="T43" fmla="*/ 2147483647 h 377"/>
                  <a:gd name="T44" fmla="*/ 2147483647 w 467"/>
                  <a:gd name="T45" fmla="*/ 2147483647 h 377"/>
                  <a:gd name="T46" fmla="*/ 2147483647 w 467"/>
                  <a:gd name="T47" fmla="*/ 2147483647 h 377"/>
                  <a:gd name="T48" fmla="*/ 2147483647 w 467"/>
                  <a:gd name="T49" fmla="*/ 2147483647 h 377"/>
                  <a:gd name="T50" fmla="*/ 2147483647 w 467"/>
                  <a:gd name="T51" fmla="*/ 2147483647 h 377"/>
                  <a:gd name="T52" fmla="*/ 2147483647 w 467"/>
                  <a:gd name="T53" fmla="*/ 2147483647 h 377"/>
                  <a:gd name="T54" fmla="*/ 2147483647 w 467"/>
                  <a:gd name="T55" fmla="*/ 2147483647 h 377"/>
                  <a:gd name="T56" fmla="*/ 2147483647 w 467"/>
                  <a:gd name="T57" fmla="*/ 2147483647 h 377"/>
                  <a:gd name="T58" fmla="*/ 2147483647 w 467"/>
                  <a:gd name="T59" fmla="*/ 2147483647 h 377"/>
                  <a:gd name="T60" fmla="*/ 2147483647 w 467"/>
                  <a:gd name="T61" fmla="*/ 2147483647 h 377"/>
                  <a:gd name="T62" fmla="*/ 2147483647 w 467"/>
                  <a:gd name="T63" fmla="*/ 2147483647 h 377"/>
                  <a:gd name="T64" fmla="*/ 2147483647 w 467"/>
                  <a:gd name="T65" fmla="*/ 2147483647 h 377"/>
                  <a:gd name="T66" fmla="*/ 2147483647 w 467"/>
                  <a:gd name="T67" fmla="*/ 2147483647 h 377"/>
                  <a:gd name="T68" fmla="*/ 2147483647 w 467"/>
                  <a:gd name="T69" fmla="*/ 2147483647 h 377"/>
                  <a:gd name="T70" fmla="*/ 2147483647 w 467"/>
                  <a:gd name="T71" fmla="*/ 2147483647 h 377"/>
                  <a:gd name="T72" fmla="*/ 2147483647 w 467"/>
                  <a:gd name="T73" fmla="*/ 2147483647 h 377"/>
                  <a:gd name="T74" fmla="*/ 2147483647 w 467"/>
                  <a:gd name="T75" fmla="*/ 2147483647 h 377"/>
                  <a:gd name="T76" fmla="*/ 2147483647 w 467"/>
                  <a:gd name="T77" fmla="*/ 2147483647 h 377"/>
                  <a:gd name="T78" fmla="*/ 2147483647 w 467"/>
                  <a:gd name="T79" fmla="*/ 2147483647 h 377"/>
                  <a:gd name="T80" fmla="*/ 2147483647 w 467"/>
                  <a:gd name="T81" fmla="*/ 2147483647 h 377"/>
                  <a:gd name="T82" fmla="*/ 2147483647 w 467"/>
                  <a:gd name="T83" fmla="*/ 2147483647 h 377"/>
                  <a:gd name="T84" fmla="*/ 2147483647 w 467"/>
                  <a:gd name="T85" fmla="*/ 2147483647 h 377"/>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467" h="377">
                    <a:moveTo>
                      <a:pt x="459" y="42"/>
                    </a:moveTo>
                    <a:cubicBezTo>
                      <a:pt x="463" y="42"/>
                      <a:pt x="467" y="38"/>
                      <a:pt x="467" y="34"/>
                    </a:cubicBezTo>
                    <a:cubicBezTo>
                      <a:pt x="467" y="14"/>
                      <a:pt x="467" y="14"/>
                      <a:pt x="467" y="14"/>
                    </a:cubicBezTo>
                    <a:cubicBezTo>
                      <a:pt x="467" y="6"/>
                      <a:pt x="461" y="0"/>
                      <a:pt x="453" y="0"/>
                    </a:cubicBezTo>
                    <a:cubicBezTo>
                      <a:pt x="13" y="0"/>
                      <a:pt x="13" y="0"/>
                      <a:pt x="13" y="0"/>
                    </a:cubicBezTo>
                    <a:cubicBezTo>
                      <a:pt x="6" y="0"/>
                      <a:pt x="0" y="6"/>
                      <a:pt x="0" y="14"/>
                    </a:cubicBezTo>
                    <a:cubicBezTo>
                      <a:pt x="0" y="276"/>
                      <a:pt x="0" y="276"/>
                      <a:pt x="0" y="276"/>
                    </a:cubicBezTo>
                    <a:cubicBezTo>
                      <a:pt x="0" y="283"/>
                      <a:pt x="6" y="290"/>
                      <a:pt x="13" y="290"/>
                    </a:cubicBezTo>
                    <a:cubicBezTo>
                      <a:pt x="185" y="290"/>
                      <a:pt x="185" y="290"/>
                      <a:pt x="185" y="290"/>
                    </a:cubicBezTo>
                    <a:cubicBezTo>
                      <a:pt x="185" y="314"/>
                      <a:pt x="185" y="314"/>
                      <a:pt x="185" y="314"/>
                    </a:cubicBezTo>
                    <a:cubicBezTo>
                      <a:pt x="117" y="314"/>
                      <a:pt x="117" y="314"/>
                      <a:pt x="117" y="314"/>
                    </a:cubicBezTo>
                    <a:cubicBezTo>
                      <a:pt x="115" y="314"/>
                      <a:pt x="114" y="314"/>
                      <a:pt x="112" y="315"/>
                    </a:cubicBezTo>
                    <a:cubicBezTo>
                      <a:pt x="40" y="362"/>
                      <a:pt x="40" y="362"/>
                      <a:pt x="40" y="362"/>
                    </a:cubicBezTo>
                    <a:cubicBezTo>
                      <a:pt x="37" y="364"/>
                      <a:pt x="35" y="368"/>
                      <a:pt x="36" y="371"/>
                    </a:cubicBezTo>
                    <a:cubicBezTo>
                      <a:pt x="37" y="375"/>
                      <a:pt x="41" y="377"/>
                      <a:pt x="44" y="377"/>
                    </a:cubicBezTo>
                    <a:cubicBezTo>
                      <a:pt x="422" y="377"/>
                      <a:pt x="422" y="377"/>
                      <a:pt x="422" y="377"/>
                    </a:cubicBezTo>
                    <a:cubicBezTo>
                      <a:pt x="426" y="377"/>
                      <a:pt x="429" y="375"/>
                      <a:pt x="430" y="371"/>
                    </a:cubicBezTo>
                    <a:cubicBezTo>
                      <a:pt x="431" y="368"/>
                      <a:pt x="429" y="364"/>
                      <a:pt x="426" y="362"/>
                    </a:cubicBezTo>
                    <a:cubicBezTo>
                      <a:pt x="354" y="315"/>
                      <a:pt x="354" y="315"/>
                      <a:pt x="354" y="315"/>
                    </a:cubicBezTo>
                    <a:cubicBezTo>
                      <a:pt x="352" y="314"/>
                      <a:pt x="351" y="314"/>
                      <a:pt x="349" y="314"/>
                    </a:cubicBezTo>
                    <a:cubicBezTo>
                      <a:pt x="281" y="314"/>
                      <a:pt x="281" y="314"/>
                      <a:pt x="281" y="314"/>
                    </a:cubicBezTo>
                    <a:cubicBezTo>
                      <a:pt x="281" y="290"/>
                      <a:pt x="281" y="290"/>
                      <a:pt x="281" y="290"/>
                    </a:cubicBezTo>
                    <a:cubicBezTo>
                      <a:pt x="453" y="290"/>
                      <a:pt x="453" y="290"/>
                      <a:pt x="453" y="290"/>
                    </a:cubicBezTo>
                    <a:cubicBezTo>
                      <a:pt x="461" y="290"/>
                      <a:pt x="467" y="283"/>
                      <a:pt x="467" y="276"/>
                    </a:cubicBezTo>
                    <a:cubicBezTo>
                      <a:pt x="467" y="66"/>
                      <a:pt x="467" y="66"/>
                      <a:pt x="467" y="66"/>
                    </a:cubicBezTo>
                    <a:cubicBezTo>
                      <a:pt x="467" y="61"/>
                      <a:pt x="463" y="58"/>
                      <a:pt x="459" y="58"/>
                    </a:cubicBezTo>
                    <a:cubicBezTo>
                      <a:pt x="454" y="58"/>
                      <a:pt x="451" y="61"/>
                      <a:pt x="451" y="66"/>
                    </a:cubicBezTo>
                    <a:cubicBezTo>
                      <a:pt x="451" y="274"/>
                      <a:pt x="451" y="274"/>
                      <a:pt x="451" y="274"/>
                    </a:cubicBezTo>
                    <a:cubicBezTo>
                      <a:pt x="16" y="274"/>
                      <a:pt x="16" y="274"/>
                      <a:pt x="16" y="274"/>
                    </a:cubicBezTo>
                    <a:cubicBezTo>
                      <a:pt x="16" y="16"/>
                      <a:pt x="16" y="16"/>
                      <a:pt x="16" y="16"/>
                    </a:cubicBezTo>
                    <a:cubicBezTo>
                      <a:pt x="451" y="16"/>
                      <a:pt x="451" y="16"/>
                      <a:pt x="451" y="16"/>
                    </a:cubicBezTo>
                    <a:cubicBezTo>
                      <a:pt x="451" y="34"/>
                      <a:pt x="451" y="34"/>
                      <a:pt x="451" y="34"/>
                    </a:cubicBezTo>
                    <a:cubicBezTo>
                      <a:pt x="451" y="38"/>
                      <a:pt x="454" y="42"/>
                      <a:pt x="459" y="42"/>
                    </a:cubicBezTo>
                    <a:close/>
                    <a:moveTo>
                      <a:pt x="347" y="330"/>
                    </a:moveTo>
                    <a:cubicBezTo>
                      <a:pt x="395" y="361"/>
                      <a:pt x="395" y="361"/>
                      <a:pt x="395" y="361"/>
                    </a:cubicBezTo>
                    <a:cubicBezTo>
                      <a:pt x="71" y="361"/>
                      <a:pt x="71" y="361"/>
                      <a:pt x="71" y="361"/>
                    </a:cubicBezTo>
                    <a:cubicBezTo>
                      <a:pt x="119" y="330"/>
                      <a:pt x="119" y="330"/>
                      <a:pt x="119" y="330"/>
                    </a:cubicBezTo>
                    <a:lnTo>
                      <a:pt x="347" y="330"/>
                    </a:lnTo>
                    <a:close/>
                    <a:moveTo>
                      <a:pt x="201" y="290"/>
                    </a:moveTo>
                    <a:cubicBezTo>
                      <a:pt x="265" y="290"/>
                      <a:pt x="265" y="290"/>
                      <a:pt x="265" y="290"/>
                    </a:cubicBezTo>
                    <a:cubicBezTo>
                      <a:pt x="265" y="314"/>
                      <a:pt x="265" y="314"/>
                      <a:pt x="265" y="314"/>
                    </a:cubicBezTo>
                    <a:cubicBezTo>
                      <a:pt x="201" y="314"/>
                      <a:pt x="201" y="314"/>
                      <a:pt x="201" y="314"/>
                    </a:cubicBezTo>
                    <a:lnTo>
                      <a:pt x="201" y="2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61" name="Freeform 3"/>
              <p:cNvSpPr>
                <a:spLocks noChangeAspect="1" noEditPoints="1"/>
              </p:cNvSpPr>
              <p:nvPr/>
            </p:nvSpPr>
            <p:spPr bwMode="auto">
              <a:xfrm>
                <a:off x="5641649" y="4592598"/>
                <a:ext cx="134217" cy="111023"/>
              </a:xfrm>
              <a:custGeom>
                <a:avLst/>
                <a:gdLst>
                  <a:gd name="T0" fmla="*/ 2147483647 w 339"/>
                  <a:gd name="T1" fmla="*/ 2147483647 h 287"/>
                  <a:gd name="T2" fmla="*/ 2147483647 w 339"/>
                  <a:gd name="T3" fmla="*/ 2147483647 h 287"/>
                  <a:gd name="T4" fmla="*/ 2147483647 w 339"/>
                  <a:gd name="T5" fmla="*/ 2147483647 h 287"/>
                  <a:gd name="T6" fmla="*/ 2147483647 w 339"/>
                  <a:gd name="T7" fmla="*/ 2147483647 h 287"/>
                  <a:gd name="T8" fmla="*/ 2147483647 w 339"/>
                  <a:gd name="T9" fmla="*/ 2147483647 h 287"/>
                  <a:gd name="T10" fmla="*/ 2147483647 w 339"/>
                  <a:gd name="T11" fmla="*/ 2147483647 h 287"/>
                  <a:gd name="T12" fmla="*/ 2147483647 w 339"/>
                  <a:gd name="T13" fmla="*/ 2147483647 h 287"/>
                  <a:gd name="T14" fmla="*/ 2147483647 w 339"/>
                  <a:gd name="T15" fmla="*/ 2147483647 h 287"/>
                  <a:gd name="T16" fmla="*/ 2147483647 w 339"/>
                  <a:gd name="T17" fmla="*/ 2147483647 h 287"/>
                  <a:gd name="T18" fmla="*/ 2147483647 w 339"/>
                  <a:gd name="T19" fmla="*/ 2147483647 h 287"/>
                  <a:gd name="T20" fmla="*/ 2147483647 w 339"/>
                  <a:gd name="T21" fmla="*/ 2147483647 h 287"/>
                  <a:gd name="T22" fmla="*/ 2147483647 w 339"/>
                  <a:gd name="T23" fmla="*/ 2147483647 h 287"/>
                  <a:gd name="T24" fmla="*/ 2147483647 w 339"/>
                  <a:gd name="T25" fmla="*/ 2147483647 h 287"/>
                  <a:gd name="T26" fmla="*/ 2147483647 w 339"/>
                  <a:gd name="T27" fmla="*/ 2147483647 h 287"/>
                  <a:gd name="T28" fmla="*/ 2147483647 w 339"/>
                  <a:gd name="T29" fmla="*/ 2147483647 h 287"/>
                  <a:gd name="T30" fmla="*/ 2147483647 w 339"/>
                  <a:gd name="T31" fmla="*/ 2147483647 h 287"/>
                  <a:gd name="T32" fmla="*/ 2147483647 w 339"/>
                  <a:gd name="T33" fmla="*/ 2147483647 h 287"/>
                  <a:gd name="T34" fmla="*/ 2147483647 w 339"/>
                  <a:gd name="T35" fmla="*/ 2147483647 h 287"/>
                  <a:gd name="T36" fmla="*/ 2147483647 w 339"/>
                  <a:gd name="T37" fmla="*/ 2147483647 h 287"/>
                  <a:gd name="T38" fmla="*/ 2147483647 w 339"/>
                  <a:gd name="T39" fmla="*/ 2147483647 h 287"/>
                  <a:gd name="T40" fmla="*/ 2147483647 w 339"/>
                  <a:gd name="T41" fmla="*/ 2147483647 h 287"/>
                  <a:gd name="T42" fmla="*/ 2147483647 w 339"/>
                  <a:gd name="T43" fmla="*/ 2147483647 h 287"/>
                  <a:gd name="T44" fmla="*/ 2147483647 w 339"/>
                  <a:gd name="T45" fmla="*/ 2147483647 h 287"/>
                  <a:gd name="T46" fmla="*/ 2147483647 w 339"/>
                  <a:gd name="T47" fmla="*/ 2147483647 h 287"/>
                  <a:gd name="T48" fmla="*/ 2147483647 w 339"/>
                  <a:gd name="T49" fmla="*/ 2147483647 h 287"/>
                  <a:gd name="T50" fmla="*/ 2147483647 w 339"/>
                  <a:gd name="T51" fmla="*/ 2147483647 h 287"/>
                  <a:gd name="T52" fmla="*/ 2147483647 w 339"/>
                  <a:gd name="T53" fmla="*/ 2147483647 h 287"/>
                  <a:gd name="T54" fmla="*/ 2147483647 w 339"/>
                  <a:gd name="T55" fmla="*/ 2147483647 h 287"/>
                  <a:gd name="T56" fmla="*/ 2147483647 w 339"/>
                  <a:gd name="T57" fmla="*/ 0 h 287"/>
                  <a:gd name="T58" fmla="*/ 2147483647 w 339"/>
                  <a:gd name="T59" fmla="*/ 0 h 287"/>
                  <a:gd name="T60" fmla="*/ 2147483647 w 339"/>
                  <a:gd name="T61" fmla="*/ 2147483647 h 287"/>
                  <a:gd name="T62" fmla="*/ 2147483647 w 339"/>
                  <a:gd name="T63" fmla="*/ 2147483647 h 287"/>
                  <a:gd name="T64" fmla="*/ 2147483647 w 339"/>
                  <a:gd name="T65" fmla="*/ 2147483647 h 287"/>
                  <a:gd name="T66" fmla="*/ 2147483647 w 339"/>
                  <a:gd name="T67" fmla="*/ 2147483647 h 287"/>
                  <a:gd name="T68" fmla="*/ 0 w 339"/>
                  <a:gd name="T69" fmla="*/ 2147483647 h 287"/>
                  <a:gd name="T70" fmla="*/ 0 w 339"/>
                  <a:gd name="T71" fmla="*/ 2147483647 h 287"/>
                  <a:gd name="T72" fmla="*/ 2147483647 w 339"/>
                  <a:gd name="T73" fmla="*/ 2147483647 h 287"/>
                  <a:gd name="T74" fmla="*/ 2147483647 w 339"/>
                  <a:gd name="T75" fmla="*/ 2147483647 h 287"/>
                  <a:gd name="T76" fmla="*/ 2147483647 w 339"/>
                  <a:gd name="T77" fmla="*/ 2147483647 h 287"/>
                  <a:gd name="T78" fmla="*/ 2147483647 w 339"/>
                  <a:gd name="T79" fmla="*/ 2147483647 h 287"/>
                  <a:gd name="T80" fmla="*/ 2147483647 w 339"/>
                  <a:gd name="T81" fmla="*/ 2147483647 h 28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339" h="287">
                    <a:moveTo>
                      <a:pt x="84" y="162"/>
                    </a:moveTo>
                    <a:cubicBezTo>
                      <a:pt x="84" y="209"/>
                      <a:pt x="122" y="247"/>
                      <a:pt x="169" y="247"/>
                    </a:cubicBezTo>
                    <a:cubicBezTo>
                      <a:pt x="216" y="247"/>
                      <a:pt x="254" y="209"/>
                      <a:pt x="254" y="162"/>
                    </a:cubicBezTo>
                    <a:cubicBezTo>
                      <a:pt x="254" y="115"/>
                      <a:pt x="216" y="77"/>
                      <a:pt x="169" y="77"/>
                    </a:cubicBezTo>
                    <a:cubicBezTo>
                      <a:pt x="122" y="77"/>
                      <a:pt x="84" y="115"/>
                      <a:pt x="84" y="162"/>
                    </a:cubicBezTo>
                    <a:close/>
                    <a:moveTo>
                      <a:pt x="238" y="162"/>
                    </a:moveTo>
                    <a:cubicBezTo>
                      <a:pt x="238" y="200"/>
                      <a:pt x="207" y="231"/>
                      <a:pt x="169" y="231"/>
                    </a:cubicBezTo>
                    <a:cubicBezTo>
                      <a:pt x="131" y="231"/>
                      <a:pt x="100" y="200"/>
                      <a:pt x="100" y="162"/>
                    </a:cubicBezTo>
                    <a:cubicBezTo>
                      <a:pt x="100" y="124"/>
                      <a:pt x="131" y="93"/>
                      <a:pt x="169" y="93"/>
                    </a:cubicBezTo>
                    <a:cubicBezTo>
                      <a:pt x="207" y="93"/>
                      <a:pt x="238" y="124"/>
                      <a:pt x="238" y="162"/>
                    </a:cubicBezTo>
                    <a:close/>
                    <a:moveTo>
                      <a:pt x="331" y="118"/>
                    </a:moveTo>
                    <a:cubicBezTo>
                      <a:pt x="326" y="118"/>
                      <a:pt x="323" y="121"/>
                      <a:pt x="323" y="126"/>
                    </a:cubicBezTo>
                    <a:cubicBezTo>
                      <a:pt x="323" y="240"/>
                      <a:pt x="323" y="240"/>
                      <a:pt x="323" y="240"/>
                    </a:cubicBezTo>
                    <a:cubicBezTo>
                      <a:pt x="323" y="257"/>
                      <a:pt x="309" y="271"/>
                      <a:pt x="292" y="271"/>
                    </a:cubicBezTo>
                    <a:cubicBezTo>
                      <a:pt x="47" y="271"/>
                      <a:pt x="47" y="271"/>
                      <a:pt x="47" y="271"/>
                    </a:cubicBezTo>
                    <a:cubicBezTo>
                      <a:pt x="30" y="271"/>
                      <a:pt x="16" y="257"/>
                      <a:pt x="16" y="240"/>
                    </a:cubicBezTo>
                    <a:cubicBezTo>
                      <a:pt x="16" y="84"/>
                      <a:pt x="16" y="84"/>
                      <a:pt x="16" y="84"/>
                    </a:cubicBezTo>
                    <a:cubicBezTo>
                      <a:pt x="16" y="67"/>
                      <a:pt x="30" y="54"/>
                      <a:pt x="47" y="53"/>
                    </a:cubicBezTo>
                    <a:cubicBezTo>
                      <a:pt x="292" y="53"/>
                      <a:pt x="292" y="53"/>
                      <a:pt x="292" y="53"/>
                    </a:cubicBezTo>
                    <a:cubicBezTo>
                      <a:pt x="309" y="54"/>
                      <a:pt x="323" y="67"/>
                      <a:pt x="323" y="84"/>
                    </a:cubicBezTo>
                    <a:cubicBezTo>
                      <a:pt x="323" y="94"/>
                      <a:pt x="323" y="94"/>
                      <a:pt x="323" y="94"/>
                    </a:cubicBezTo>
                    <a:cubicBezTo>
                      <a:pt x="323" y="99"/>
                      <a:pt x="326" y="102"/>
                      <a:pt x="331" y="102"/>
                    </a:cubicBezTo>
                    <a:cubicBezTo>
                      <a:pt x="335" y="102"/>
                      <a:pt x="339" y="99"/>
                      <a:pt x="339" y="94"/>
                    </a:cubicBezTo>
                    <a:cubicBezTo>
                      <a:pt x="339" y="84"/>
                      <a:pt x="339" y="84"/>
                      <a:pt x="339" y="84"/>
                    </a:cubicBezTo>
                    <a:cubicBezTo>
                      <a:pt x="339" y="58"/>
                      <a:pt x="318" y="37"/>
                      <a:pt x="292" y="37"/>
                    </a:cubicBezTo>
                    <a:cubicBezTo>
                      <a:pt x="96" y="37"/>
                      <a:pt x="96" y="37"/>
                      <a:pt x="96" y="37"/>
                    </a:cubicBezTo>
                    <a:cubicBezTo>
                      <a:pt x="98" y="35"/>
                      <a:pt x="98" y="33"/>
                      <a:pt x="98" y="30"/>
                    </a:cubicBezTo>
                    <a:cubicBezTo>
                      <a:pt x="98" y="16"/>
                      <a:pt x="98" y="16"/>
                      <a:pt x="98" y="16"/>
                    </a:cubicBezTo>
                    <a:cubicBezTo>
                      <a:pt x="98" y="7"/>
                      <a:pt x="91" y="0"/>
                      <a:pt x="83" y="0"/>
                    </a:cubicBezTo>
                    <a:cubicBezTo>
                      <a:pt x="62" y="0"/>
                      <a:pt x="62" y="0"/>
                      <a:pt x="62" y="0"/>
                    </a:cubicBezTo>
                    <a:cubicBezTo>
                      <a:pt x="53" y="0"/>
                      <a:pt x="46" y="7"/>
                      <a:pt x="46" y="16"/>
                    </a:cubicBezTo>
                    <a:cubicBezTo>
                      <a:pt x="46" y="30"/>
                      <a:pt x="46" y="30"/>
                      <a:pt x="46" y="30"/>
                    </a:cubicBezTo>
                    <a:cubicBezTo>
                      <a:pt x="46" y="33"/>
                      <a:pt x="47" y="35"/>
                      <a:pt x="48" y="37"/>
                    </a:cubicBezTo>
                    <a:cubicBezTo>
                      <a:pt x="47" y="37"/>
                      <a:pt x="47" y="37"/>
                      <a:pt x="47" y="37"/>
                    </a:cubicBezTo>
                    <a:cubicBezTo>
                      <a:pt x="21" y="37"/>
                      <a:pt x="0" y="58"/>
                      <a:pt x="0" y="84"/>
                    </a:cubicBezTo>
                    <a:cubicBezTo>
                      <a:pt x="0" y="240"/>
                      <a:pt x="0" y="240"/>
                      <a:pt x="0" y="240"/>
                    </a:cubicBezTo>
                    <a:cubicBezTo>
                      <a:pt x="0" y="266"/>
                      <a:pt x="21" y="287"/>
                      <a:pt x="47" y="287"/>
                    </a:cubicBezTo>
                    <a:cubicBezTo>
                      <a:pt x="292" y="287"/>
                      <a:pt x="292" y="287"/>
                      <a:pt x="292" y="287"/>
                    </a:cubicBezTo>
                    <a:cubicBezTo>
                      <a:pt x="318" y="287"/>
                      <a:pt x="339" y="266"/>
                      <a:pt x="339" y="240"/>
                    </a:cubicBezTo>
                    <a:cubicBezTo>
                      <a:pt x="339" y="126"/>
                      <a:pt x="339" y="126"/>
                      <a:pt x="339" y="126"/>
                    </a:cubicBezTo>
                    <a:cubicBezTo>
                      <a:pt x="339" y="121"/>
                      <a:pt x="335" y="118"/>
                      <a:pt x="331"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62" name="Freeform 3"/>
              <p:cNvSpPr>
                <a:spLocks noChangeAspect="1" noEditPoints="1"/>
              </p:cNvSpPr>
              <p:nvPr/>
            </p:nvSpPr>
            <p:spPr bwMode="auto">
              <a:xfrm>
                <a:off x="5296685" y="4443120"/>
                <a:ext cx="190684" cy="71171"/>
              </a:xfrm>
              <a:custGeom>
                <a:avLst/>
                <a:gdLst>
                  <a:gd name="T0" fmla="*/ 2147483647 w 482"/>
                  <a:gd name="T1" fmla="*/ 2147483647 h 184"/>
                  <a:gd name="T2" fmla="*/ 2147483647 w 482"/>
                  <a:gd name="T3" fmla="*/ 2147483647 h 184"/>
                  <a:gd name="T4" fmla="*/ 2147483647 w 482"/>
                  <a:gd name="T5" fmla="*/ 2147483647 h 184"/>
                  <a:gd name="T6" fmla="*/ 2147483647 w 482"/>
                  <a:gd name="T7" fmla="*/ 2147483647 h 184"/>
                  <a:gd name="T8" fmla="*/ 2147483647 w 482"/>
                  <a:gd name="T9" fmla="*/ 2147483647 h 184"/>
                  <a:gd name="T10" fmla="*/ 2147483647 w 482"/>
                  <a:gd name="T11" fmla="*/ 2147483647 h 184"/>
                  <a:gd name="T12" fmla="*/ 2147483647 w 482"/>
                  <a:gd name="T13" fmla="*/ 2147483647 h 184"/>
                  <a:gd name="T14" fmla="*/ 2147483647 w 482"/>
                  <a:gd name="T15" fmla="*/ 0 h 184"/>
                  <a:gd name="T16" fmla="*/ 0 w 482"/>
                  <a:gd name="T17" fmla="*/ 2147483647 h 184"/>
                  <a:gd name="T18" fmla="*/ 2147483647 w 482"/>
                  <a:gd name="T19" fmla="*/ 2147483647 h 184"/>
                  <a:gd name="T20" fmla="*/ 2147483647 w 482"/>
                  <a:gd name="T21" fmla="*/ 2147483647 h 184"/>
                  <a:gd name="T22" fmla="*/ 2147483647 w 482"/>
                  <a:gd name="T23" fmla="*/ 2147483647 h 184"/>
                  <a:gd name="T24" fmla="*/ 2147483647 w 482"/>
                  <a:gd name="T25" fmla="*/ 2147483647 h 184"/>
                  <a:gd name="T26" fmla="*/ 2147483647 w 482"/>
                  <a:gd name="T27" fmla="*/ 2147483647 h 184"/>
                  <a:gd name="T28" fmla="*/ 2147483647 w 482"/>
                  <a:gd name="T29" fmla="*/ 2147483647 h 184"/>
                  <a:gd name="T30" fmla="*/ 2147483647 w 482"/>
                  <a:gd name="T31" fmla="*/ 2147483647 h 184"/>
                  <a:gd name="T32" fmla="*/ 2147483647 w 482"/>
                  <a:gd name="T33" fmla="*/ 2147483647 h 184"/>
                  <a:gd name="T34" fmla="*/ 2147483647 w 482"/>
                  <a:gd name="T35" fmla="*/ 2147483647 h 184"/>
                  <a:gd name="T36" fmla="*/ 2147483647 w 482"/>
                  <a:gd name="T37" fmla="*/ 2147483647 h 184"/>
                  <a:gd name="T38" fmla="*/ 2147483647 w 482"/>
                  <a:gd name="T39" fmla="*/ 2147483647 h 184"/>
                  <a:gd name="T40" fmla="*/ 2147483647 w 482"/>
                  <a:gd name="T41" fmla="*/ 2147483647 h 184"/>
                  <a:gd name="T42" fmla="*/ 2147483647 w 482"/>
                  <a:gd name="T43" fmla="*/ 2147483647 h 184"/>
                  <a:gd name="T44" fmla="*/ 2147483647 w 482"/>
                  <a:gd name="T45" fmla="*/ 2147483647 h 184"/>
                  <a:gd name="T46" fmla="*/ 2147483647 w 482"/>
                  <a:gd name="T47" fmla="*/ 2147483647 h 184"/>
                  <a:gd name="T48" fmla="*/ 2147483647 w 482"/>
                  <a:gd name="T49" fmla="*/ 2147483647 h 184"/>
                  <a:gd name="T50" fmla="*/ 2147483647 w 482"/>
                  <a:gd name="T51" fmla="*/ 2147483647 h 184"/>
                  <a:gd name="T52" fmla="*/ 2147483647 w 482"/>
                  <a:gd name="T53" fmla="*/ 2147483647 h 184"/>
                  <a:gd name="T54" fmla="*/ 2147483647 w 482"/>
                  <a:gd name="T55" fmla="*/ 2147483647 h 184"/>
                  <a:gd name="T56" fmla="*/ 2147483647 w 482"/>
                  <a:gd name="T57" fmla="*/ 2147483647 h 184"/>
                  <a:gd name="T58" fmla="*/ 2147483647 w 482"/>
                  <a:gd name="T59" fmla="*/ 2147483647 h 184"/>
                  <a:gd name="T60" fmla="*/ 2147483647 w 482"/>
                  <a:gd name="T61" fmla="*/ 2147483647 h 184"/>
                  <a:gd name="T62" fmla="*/ 2147483647 w 482"/>
                  <a:gd name="T63" fmla="*/ 2147483647 h 184"/>
                  <a:gd name="T64" fmla="*/ 2147483647 w 482"/>
                  <a:gd name="T65" fmla="*/ 2147483647 h 184"/>
                  <a:gd name="T66" fmla="*/ 2147483647 w 482"/>
                  <a:gd name="T67" fmla="*/ 2147483647 h 18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482" h="184">
                    <a:moveTo>
                      <a:pt x="46" y="134"/>
                    </a:moveTo>
                    <a:cubicBezTo>
                      <a:pt x="436" y="134"/>
                      <a:pt x="436" y="134"/>
                      <a:pt x="436" y="134"/>
                    </a:cubicBezTo>
                    <a:cubicBezTo>
                      <a:pt x="441" y="134"/>
                      <a:pt x="444" y="131"/>
                      <a:pt x="444" y="126"/>
                    </a:cubicBezTo>
                    <a:cubicBezTo>
                      <a:pt x="444" y="122"/>
                      <a:pt x="441" y="118"/>
                      <a:pt x="436" y="118"/>
                    </a:cubicBezTo>
                    <a:cubicBezTo>
                      <a:pt x="46" y="118"/>
                      <a:pt x="46" y="118"/>
                      <a:pt x="46" y="118"/>
                    </a:cubicBezTo>
                    <a:cubicBezTo>
                      <a:pt x="42" y="118"/>
                      <a:pt x="38" y="122"/>
                      <a:pt x="38" y="126"/>
                    </a:cubicBezTo>
                    <a:cubicBezTo>
                      <a:pt x="38" y="131"/>
                      <a:pt x="42" y="134"/>
                      <a:pt x="46" y="134"/>
                    </a:cubicBezTo>
                    <a:close/>
                    <a:moveTo>
                      <a:pt x="142" y="46"/>
                    </a:moveTo>
                    <a:cubicBezTo>
                      <a:pt x="142" y="36"/>
                      <a:pt x="134" y="28"/>
                      <a:pt x="124" y="28"/>
                    </a:cubicBezTo>
                    <a:cubicBezTo>
                      <a:pt x="113" y="28"/>
                      <a:pt x="105" y="36"/>
                      <a:pt x="105" y="46"/>
                    </a:cubicBezTo>
                    <a:cubicBezTo>
                      <a:pt x="105" y="56"/>
                      <a:pt x="113" y="65"/>
                      <a:pt x="124" y="65"/>
                    </a:cubicBezTo>
                    <a:cubicBezTo>
                      <a:pt x="134" y="65"/>
                      <a:pt x="142" y="56"/>
                      <a:pt x="142" y="46"/>
                    </a:cubicBezTo>
                    <a:close/>
                    <a:moveTo>
                      <a:pt x="474" y="48"/>
                    </a:moveTo>
                    <a:cubicBezTo>
                      <a:pt x="479" y="48"/>
                      <a:pt x="482" y="45"/>
                      <a:pt x="482" y="40"/>
                    </a:cubicBezTo>
                    <a:cubicBezTo>
                      <a:pt x="482" y="16"/>
                      <a:pt x="482" y="16"/>
                      <a:pt x="482" y="16"/>
                    </a:cubicBezTo>
                    <a:cubicBezTo>
                      <a:pt x="482" y="7"/>
                      <a:pt x="475" y="0"/>
                      <a:pt x="466" y="0"/>
                    </a:cubicBezTo>
                    <a:cubicBezTo>
                      <a:pt x="16" y="0"/>
                      <a:pt x="16" y="0"/>
                      <a:pt x="16" y="0"/>
                    </a:cubicBezTo>
                    <a:cubicBezTo>
                      <a:pt x="7" y="0"/>
                      <a:pt x="0" y="7"/>
                      <a:pt x="0" y="16"/>
                    </a:cubicBezTo>
                    <a:cubicBezTo>
                      <a:pt x="0" y="147"/>
                      <a:pt x="0" y="147"/>
                      <a:pt x="0" y="147"/>
                    </a:cubicBezTo>
                    <a:cubicBezTo>
                      <a:pt x="0" y="156"/>
                      <a:pt x="7" y="163"/>
                      <a:pt x="16" y="163"/>
                    </a:cubicBezTo>
                    <a:cubicBezTo>
                      <a:pt x="42" y="163"/>
                      <a:pt x="42" y="163"/>
                      <a:pt x="42" y="163"/>
                    </a:cubicBezTo>
                    <a:cubicBezTo>
                      <a:pt x="42" y="174"/>
                      <a:pt x="42" y="174"/>
                      <a:pt x="42" y="174"/>
                    </a:cubicBezTo>
                    <a:cubicBezTo>
                      <a:pt x="42" y="179"/>
                      <a:pt x="46" y="184"/>
                      <a:pt x="52" y="184"/>
                    </a:cubicBezTo>
                    <a:cubicBezTo>
                      <a:pt x="90" y="184"/>
                      <a:pt x="90" y="184"/>
                      <a:pt x="90" y="184"/>
                    </a:cubicBezTo>
                    <a:cubicBezTo>
                      <a:pt x="96" y="184"/>
                      <a:pt x="100" y="179"/>
                      <a:pt x="100" y="174"/>
                    </a:cubicBezTo>
                    <a:cubicBezTo>
                      <a:pt x="100" y="163"/>
                      <a:pt x="100" y="163"/>
                      <a:pt x="100" y="163"/>
                    </a:cubicBezTo>
                    <a:cubicBezTo>
                      <a:pt x="382" y="163"/>
                      <a:pt x="382" y="163"/>
                      <a:pt x="382" y="163"/>
                    </a:cubicBezTo>
                    <a:cubicBezTo>
                      <a:pt x="382" y="174"/>
                      <a:pt x="382" y="174"/>
                      <a:pt x="382" y="174"/>
                    </a:cubicBezTo>
                    <a:cubicBezTo>
                      <a:pt x="382" y="179"/>
                      <a:pt x="386" y="184"/>
                      <a:pt x="392" y="184"/>
                    </a:cubicBezTo>
                    <a:cubicBezTo>
                      <a:pt x="430" y="184"/>
                      <a:pt x="430" y="184"/>
                      <a:pt x="430" y="184"/>
                    </a:cubicBezTo>
                    <a:cubicBezTo>
                      <a:pt x="436" y="184"/>
                      <a:pt x="440" y="179"/>
                      <a:pt x="440" y="174"/>
                    </a:cubicBezTo>
                    <a:cubicBezTo>
                      <a:pt x="440" y="163"/>
                      <a:pt x="440" y="163"/>
                      <a:pt x="440" y="163"/>
                    </a:cubicBezTo>
                    <a:cubicBezTo>
                      <a:pt x="466" y="163"/>
                      <a:pt x="466" y="163"/>
                      <a:pt x="466" y="163"/>
                    </a:cubicBezTo>
                    <a:cubicBezTo>
                      <a:pt x="475" y="163"/>
                      <a:pt x="482" y="156"/>
                      <a:pt x="482" y="147"/>
                    </a:cubicBezTo>
                    <a:cubicBezTo>
                      <a:pt x="482" y="72"/>
                      <a:pt x="482" y="72"/>
                      <a:pt x="482" y="72"/>
                    </a:cubicBezTo>
                    <a:cubicBezTo>
                      <a:pt x="482" y="67"/>
                      <a:pt x="479" y="64"/>
                      <a:pt x="474" y="64"/>
                    </a:cubicBezTo>
                    <a:cubicBezTo>
                      <a:pt x="470" y="64"/>
                      <a:pt x="466" y="67"/>
                      <a:pt x="466" y="72"/>
                    </a:cubicBezTo>
                    <a:cubicBezTo>
                      <a:pt x="466" y="72"/>
                      <a:pt x="466" y="72"/>
                      <a:pt x="466" y="72"/>
                    </a:cubicBezTo>
                    <a:cubicBezTo>
                      <a:pt x="466" y="147"/>
                      <a:pt x="466" y="147"/>
                      <a:pt x="466" y="147"/>
                    </a:cubicBezTo>
                    <a:cubicBezTo>
                      <a:pt x="16" y="147"/>
                      <a:pt x="16" y="147"/>
                      <a:pt x="16" y="147"/>
                    </a:cubicBezTo>
                    <a:cubicBezTo>
                      <a:pt x="16" y="16"/>
                      <a:pt x="16" y="16"/>
                      <a:pt x="16" y="16"/>
                    </a:cubicBezTo>
                    <a:cubicBezTo>
                      <a:pt x="466" y="16"/>
                      <a:pt x="466" y="16"/>
                      <a:pt x="466" y="16"/>
                    </a:cubicBezTo>
                    <a:cubicBezTo>
                      <a:pt x="466" y="40"/>
                      <a:pt x="466" y="40"/>
                      <a:pt x="466" y="40"/>
                    </a:cubicBezTo>
                    <a:cubicBezTo>
                      <a:pt x="466" y="45"/>
                      <a:pt x="470" y="48"/>
                      <a:pt x="474" y="48"/>
                    </a:cubicBezTo>
                    <a:close/>
                    <a:moveTo>
                      <a:pt x="49" y="88"/>
                    </a:moveTo>
                    <a:cubicBezTo>
                      <a:pt x="78" y="88"/>
                      <a:pt x="78" y="88"/>
                      <a:pt x="78" y="88"/>
                    </a:cubicBezTo>
                    <a:cubicBezTo>
                      <a:pt x="82" y="88"/>
                      <a:pt x="86" y="84"/>
                      <a:pt x="86" y="80"/>
                    </a:cubicBezTo>
                    <a:cubicBezTo>
                      <a:pt x="86" y="36"/>
                      <a:pt x="86" y="36"/>
                      <a:pt x="86" y="36"/>
                    </a:cubicBezTo>
                    <a:cubicBezTo>
                      <a:pt x="86" y="32"/>
                      <a:pt x="82" y="28"/>
                      <a:pt x="78" y="28"/>
                    </a:cubicBezTo>
                    <a:cubicBezTo>
                      <a:pt x="49" y="28"/>
                      <a:pt x="49" y="28"/>
                      <a:pt x="49" y="28"/>
                    </a:cubicBezTo>
                    <a:cubicBezTo>
                      <a:pt x="44" y="28"/>
                      <a:pt x="41" y="32"/>
                      <a:pt x="41" y="36"/>
                    </a:cubicBezTo>
                    <a:cubicBezTo>
                      <a:pt x="41" y="80"/>
                      <a:pt x="41" y="80"/>
                      <a:pt x="41" y="80"/>
                    </a:cubicBezTo>
                    <a:cubicBezTo>
                      <a:pt x="41" y="84"/>
                      <a:pt x="44" y="88"/>
                      <a:pt x="49" y="88"/>
                    </a:cubicBezTo>
                    <a:close/>
                    <a:moveTo>
                      <a:pt x="310" y="46"/>
                    </a:moveTo>
                    <a:cubicBezTo>
                      <a:pt x="310" y="36"/>
                      <a:pt x="302" y="28"/>
                      <a:pt x="292" y="28"/>
                    </a:cubicBezTo>
                    <a:cubicBezTo>
                      <a:pt x="281" y="28"/>
                      <a:pt x="273" y="36"/>
                      <a:pt x="273" y="46"/>
                    </a:cubicBezTo>
                    <a:cubicBezTo>
                      <a:pt x="273" y="56"/>
                      <a:pt x="281" y="65"/>
                      <a:pt x="292" y="65"/>
                    </a:cubicBezTo>
                    <a:cubicBezTo>
                      <a:pt x="302" y="65"/>
                      <a:pt x="310" y="56"/>
                      <a:pt x="310" y="46"/>
                    </a:cubicBezTo>
                    <a:close/>
                    <a:moveTo>
                      <a:pt x="254" y="46"/>
                    </a:moveTo>
                    <a:cubicBezTo>
                      <a:pt x="254" y="36"/>
                      <a:pt x="246" y="28"/>
                      <a:pt x="236" y="28"/>
                    </a:cubicBezTo>
                    <a:cubicBezTo>
                      <a:pt x="225" y="28"/>
                      <a:pt x="217" y="36"/>
                      <a:pt x="217" y="46"/>
                    </a:cubicBezTo>
                    <a:cubicBezTo>
                      <a:pt x="217" y="56"/>
                      <a:pt x="225" y="65"/>
                      <a:pt x="236" y="65"/>
                    </a:cubicBezTo>
                    <a:cubicBezTo>
                      <a:pt x="246" y="65"/>
                      <a:pt x="254" y="56"/>
                      <a:pt x="254" y="46"/>
                    </a:cubicBezTo>
                    <a:close/>
                    <a:moveTo>
                      <a:pt x="198" y="46"/>
                    </a:moveTo>
                    <a:cubicBezTo>
                      <a:pt x="198" y="36"/>
                      <a:pt x="190" y="28"/>
                      <a:pt x="180" y="28"/>
                    </a:cubicBezTo>
                    <a:cubicBezTo>
                      <a:pt x="169" y="28"/>
                      <a:pt x="161" y="36"/>
                      <a:pt x="161" y="46"/>
                    </a:cubicBezTo>
                    <a:cubicBezTo>
                      <a:pt x="161" y="56"/>
                      <a:pt x="169" y="65"/>
                      <a:pt x="180" y="65"/>
                    </a:cubicBezTo>
                    <a:cubicBezTo>
                      <a:pt x="190" y="65"/>
                      <a:pt x="198" y="56"/>
                      <a:pt x="198"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63" name="Freeform 3"/>
              <p:cNvSpPr>
                <a:spLocks noChangeAspect="1" noEditPoints="1"/>
              </p:cNvSpPr>
              <p:nvPr/>
            </p:nvSpPr>
            <p:spPr bwMode="auto">
              <a:xfrm>
                <a:off x="4761319" y="4320837"/>
                <a:ext cx="74732" cy="180393"/>
              </a:xfrm>
              <a:custGeom>
                <a:avLst/>
                <a:gdLst>
                  <a:gd name="T0" fmla="*/ 2147483647 w 189"/>
                  <a:gd name="T1" fmla="*/ 2147483647 h 466"/>
                  <a:gd name="T2" fmla="*/ 2147483647 w 189"/>
                  <a:gd name="T3" fmla="*/ 2147483647 h 466"/>
                  <a:gd name="T4" fmla="*/ 2147483647 w 189"/>
                  <a:gd name="T5" fmla="*/ 2147483647 h 466"/>
                  <a:gd name="T6" fmla="*/ 2147483647 w 189"/>
                  <a:gd name="T7" fmla="*/ 2147483647 h 466"/>
                  <a:gd name="T8" fmla="*/ 2147483647 w 189"/>
                  <a:gd name="T9" fmla="*/ 2147483647 h 466"/>
                  <a:gd name="T10" fmla="*/ 2147483647 w 189"/>
                  <a:gd name="T11" fmla="*/ 2147483647 h 466"/>
                  <a:gd name="T12" fmla="*/ 2147483647 w 189"/>
                  <a:gd name="T13" fmla="*/ 2147483647 h 466"/>
                  <a:gd name="T14" fmla="*/ 2147483647 w 189"/>
                  <a:gd name="T15" fmla="*/ 2147483647 h 466"/>
                  <a:gd name="T16" fmla="*/ 2147483647 w 189"/>
                  <a:gd name="T17" fmla="*/ 2147483647 h 466"/>
                  <a:gd name="T18" fmla="*/ 2147483647 w 189"/>
                  <a:gd name="T19" fmla="*/ 2147483647 h 466"/>
                  <a:gd name="T20" fmla="*/ 2147483647 w 189"/>
                  <a:gd name="T21" fmla="*/ 2147483647 h 466"/>
                  <a:gd name="T22" fmla="*/ 2147483647 w 189"/>
                  <a:gd name="T23" fmla="*/ 2147483647 h 466"/>
                  <a:gd name="T24" fmla="*/ 2147483647 w 189"/>
                  <a:gd name="T25" fmla="*/ 2147483647 h 466"/>
                  <a:gd name="T26" fmla="*/ 2147483647 w 189"/>
                  <a:gd name="T27" fmla="*/ 2147483647 h 466"/>
                  <a:gd name="T28" fmla="*/ 2147483647 w 189"/>
                  <a:gd name="T29" fmla="*/ 2147483647 h 466"/>
                  <a:gd name="T30" fmla="*/ 2147483647 w 189"/>
                  <a:gd name="T31" fmla="*/ 2147483647 h 466"/>
                  <a:gd name="T32" fmla="*/ 2147483647 w 189"/>
                  <a:gd name="T33" fmla="*/ 2147483647 h 466"/>
                  <a:gd name="T34" fmla="*/ 2147483647 w 189"/>
                  <a:gd name="T35" fmla="*/ 2147483647 h 466"/>
                  <a:gd name="T36" fmla="*/ 2147483647 w 189"/>
                  <a:gd name="T37" fmla="*/ 2147483647 h 466"/>
                  <a:gd name="T38" fmla="*/ 2147483647 w 189"/>
                  <a:gd name="T39" fmla="*/ 2147483647 h 466"/>
                  <a:gd name="T40" fmla="*/ 2147483647 w 189"/>
                  <a:gd name="T41" fmla="*/ 2147483647 h 466"/>
                  <a:gd name="T42" fmla="*/ 2147483647 w 189"/>
                  <a:gd name="T43" fmla="*/ 2147483647 h 466"/>
                  <a:gd name="T44" fmla="*/ 2147483647 w 189"/>
                  <a:gd name="T45" fmla="*/ 2147483647 h 466"/>
                  <a:gd name="T46" fmla="*/ 2147483647 w 189"/>
                  <a:gd name="T47" fmla="*/ 2147483647 h 466"/>
                  <a:gd name="T48" fmla="*/ 2147483647 w 189"/>
                  <a:gd name="T49" fmla="*/ 2147483647 h 466"/>
                  <a:gd name="T50" fmla="*/ 2147483647 w 189"/>
                  <a:gd name="T51" fmla="*/ 2147483647 h 466"/>
                  <a:gd name="T52" fmla="*/ 2147483647 w 189"/>
                  <a:gd name="T53" fmla="*/ 2147483647 h 466"/>
                  <a:gd name="T54" fmla="*/ 2147483647 w 189"/>
                  <a:gd name="T55" fmla="*/ 2147483647 h 466"/>
                  <a:gd name="T56" fmla="*/ 2147483647 w 189"/>
                  <a:gd name="T57" fmla="*/ 2147483647 h 466"/>
                  <a:gd name="T58" fmla="*/ 2147483647 w 189"/>
                  <a:gd name="T59" fmla="*/ 2147483647 h 466"/>
                  <a:gd name="T60" fmla="*/ 2147483647 w 189"/>
                  <a:gd name="T61" fmla="*/ 2147483647 h 466"/>
                  <a:gd name="T62" fmla="*/ 2147483647 w 189"/>
                  <a:gd name="T63" fmla="*/ 2147483647 h 466"/>
                  <a:gd name="T64" fmla="*/ 2147483647 w 189"/>
                  <a:gd name="T65" fmla="*/ 2147483647 h 466"/>
                  <a:gd name="T66" fmla="*/ 2147483647 w 189"/>
                  <a:gd name="T67" fmla="*/ 2147483647 h 466"/>
                  <a:gd name="T68" fmla="*/ 2147483647 w 189"/>
                  <a:gd name="T69" fmla="*/ 2147483647 h 466"/>
                  <a:gd name="T70" fmla="*/ 2147483647 w 189"/>
                  <a:gd name="T71" fmla="*/ 2147483647 h 466"/>
                  <a:gd name="T72" fmla="*/ 2147483647 w 189"/>
                  <a:gd name="T73" fmla="*/ 2147483647 h 466"/>
                  <a:gd name="T74" fmla="*/ 2147483647 w 189"/>
                  <a:gd name="T75" fmla="*/ 2147483647 h 466"/>
                  <a:gd name="T76" fmla="*/ 2147483647 w 189"/>
                  <a:gd name="T77" fmla="*/ 2147483647 h 466"/>
                  <a:gd name="T78" fmla="*/ 2147483647 w 189"/>
                  <a:gd name="T79" fmla="*/ 2147483647 h 466"/>
                  <a:gd name="T80" fmla="*/ 2147483647 w 189"/>
                  <a:gd name="T81" fmla="*/ 0 h 466"/>
                  <a:gd name="T82" fmla="*/ 2147483647 w 189"/>
                  <a:gd name="T83" fmla="*/ 0 h 466"/>
                  <a:gd name="T84" fmla="*/ 2147483647 w 189"/>
                  <a:gd name="T85" fmla="*/ 2147483647 h 466"/>
                  <a:gd name="T86" fmla="*/ 2147483647 w 189"/>
                  <a:gd name="T87" fmla="*/ 2147483647 h 466"/>
                  <a:gd name="T88" fmla="*/ 0 w 189"/>
                  <a:gd name="T89" fmla="*/ 2147483647 h 466"/>
                  <a:gd name="T90" fmla="*/ 2147483647 w 189"/>
                  <a:gd name="T91" fmla="*/ 2147483647 h 466"/>
                  <a:gd name="T92" fmla="*/ 2147483647 w 189"/>
                  <a:gd name="T93" fmla="*/ 2147483647 h 466"/>
                  <a:gd name="T94" fmla="*/ 2147483647 w 189"/>
                  <a:gd name="T95" fmla="*/ 2147483647 h 466"/>
                  <a:gd name="T96" fmla="*/ 2147483647 w 189"/>
                  <a:gd name="T97" fmla="*/ 2147483647 h 466"/>
                  <a:gd name="T98" fmla="*/ 2147483647 w 189"/>
                  <a:gd name="T99" fmla="*/ 2147483647 h 466"/>
                  <a:gd name="T100" fmla="*/ 2147483647 w 189"/>
                  <a:gd name="T101" fmla="*/ 2147483647 h 466"/>
                  <a:gd name="T102" fmla="*/ 2147483647 w 189"/>
                  <a:gd name="T103" fmla="*/ 2147483647 h 466"/>
                  <a:gd name="T104" fmla="*/ 2147483647 w 189"/>
                  <a:gd name="T105" fmla="*/ 2147483647 h 466"/>
                  <a:gd name="T106" fmla="*/ 2147483647 w 189"/>
                  <a:gd name="T107" fmla="*/ 2147483647 h 466"/>
                  <a:gd name="T108" fmla="*/ 2147483647 w 189"/>
                  <a:gd name="T109" fmla="*/ 2147483647 h 46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89" h="466">
                    <a:moveTo>
                      <a:pt x="144" y="292"/>
                    </a:moveTo>
                    <a:cubicBezTo>
                      <a:pt x="144" y="83"/>
                      <a:pt x="144" y="83"/>
                      <a:pt x="144" y="83"/>
                    </a:cubicBezTo>
                    <a:cubicBezTo>
                      <a:pt x="144" y="79"/>
                      <a:pt x="141" y="75"/>
                      <a:pt x="136" y="75"/>
                    </a:cubicBezTo>
                    <a:cubicBezTo>
                      <a:pt x="132" y="75"/>
                      <a:pt x="128" y="79"/>
                      <a:pt x="128" y="83"/>
                    </a:cubicBezTo>
                    <a:cubicBezTo>
                      <a:pt x="128" y="107"/>
                      <a:pt x="128" y="107"/>
                      <a:pt x="128" y="107"/>
                    </a:cubicBezTo>
                    <a:cubicBezTo>
                      <a:pt x="94" y="107"/>
                      <a:pt x="94" y="107"/>
                      <a:pt x="94" y="107"/>
                    </a:cubicBezTo>
                    <a:cubicBezTo>
                      <a:pt x="90" y="107"/>
                      <a:pt x="86" y="110"/>
                      <a:pt x="86" y="115"/>
                    </a:cubicBezTo>
                    <a:cubicBezTo>
                      <a:pt x="86" y="119"/>
                      <a:pt x="90" y="123"/>
                      <a:pt x="94" y="123"/>
                    </a:cubicBezTo>
                    <a:cubicBezTo>
                      <a:pt x="128" y="123"/>
                      <a:pt x="128" y="123"/>
                      <a:pt x="128" y="123"/>
                    </a:cubicBezTo>
                    <a:cubicBezTo>
                      <a:pt x="128" y="146"/>
                      <a:pt x="128" y="146"/>
                      <a:pt x="128" y="146"/>
                    </a:cubicBezTo>
                    <a:cubicBezTo>
                      <a:pt x="94" y="146"/>
                      <a:pt x="94" y="146"/>
                      <a:pt x="94" y="146"/>
                    </a:cubicBezTo>
                    <a:cubicBezTo>
                      <a:pt x="90" y="146"/>
                      <a:pt x="86" y="150"/>
                      <a:pt x="86" y="154"/>
                    </a:cubicBezTo>
                    <a:cubicBezTo>
                      <a:pt x="86" y="159"/>
                      <a:pt x="90" y="162"/>
                      <a:pt x="94" y="162"/>
                    </a:cubicBezTo>
                    <a:cubicBezTo>
                      <a:pt x="128" y="162"/>
                      <a:pt x="128" y="162"/>
                      <a:pt x="128" y="162"/>
                    </a:cubicBezTo>
                    <a:cubicBezTo>
                      <a:pt x="128" y="186"/>
                      <a:pt x="128" y="186"/>
                      <a:pt x="128" y="186"/>
                    </a:cubicBezTo>
                    <a:cubicBezTo>
                      <a:pt x="94" y="186"/>
                      <a:pt x="94" y="186"/>
                      <a:pt x="94" y="186"/>
                    </a:cubicBezTo>
                    <a:cubicBezTo>
                      <a:pt x="90" y="186"/>
                      <a:pt x="86" y="190"/>
                      <a:pt x="86" y="194"/>
                    </a:cubicBezTo>
                    <a:cubicBezTo>
                      <a:pt x="86" y="199"/>
                      <a:pt x="90" y="202"/>
                      <a:pt x="94" y="202"/>
                    </a:cubicBezTo>
                    <a:cubicBezTo>
                      <a:pt x="128" y="202"/>
                      <a:pt x="128" y="202"/>
                      <a:pt x="128" y="202"/>
                    </a:cubicBezTo>
                    <a:cubicBezTo>
                      <a:pt x="128" y="226"/>
                      <a:pt x="128" y="226"/>
                      <a:pt x="128" y="226"/>
                    </a:cubicBezTo>
                    <a:cubicBezTo>
                      <a:pt x="94" y="226"/>
                      <a:pt x="94" y="226"/>
                      <a:pt x="94" y="226"/>
                    </a:cubicBezTo>
                    <a:cubicBezTo>
                      <a:pt x="90" y="226"/>
                      <a:pt x="86" y="230"/>
                      <a:pt x="86" y="234"/>
                    </a:cubicBezTo>
                    <a:cubicBezTo>
                      <a:pt x="86" y="239"/>
                      <a:pt x="90" y="242"/>
                      <a:pt x="94" y="242"/>
                    </a:cubicBezTo>
                    <a:cubicBezTo>
                      <a:pt x="128" y="242"/>
                      <a:pt x="128" y="242"/>
                      <a:pt x="128" y="242"/>
                    </a:cubicBezTo>
                    <a:cubicBezTo>
                      <a:pt x="128" y="266"/>
                      <a:pt x="128" y="266"/>
                      <a:pt x="128" y="266"/>
                    </a:cubicBezTo>
                    <a:cubicBezTo>
                      <a:pt x="94" y="266"/>
                      <a:pt x="94" y="266"/>
                      <a:pt x="94" y="266"/>
                    </a:cubicBezTo>
                    <a:cubicBezTo>
                      <a:pt x="90" y="266"/>
                      <a:pt x="86" y="270"/>
                      <a:pt x="86" y="274"/>
                    </a:cubicBezTo>
                    <a:cubicBezTo>
                      <a:pt x="86" y="278"/>
                      <a:pt x="90" y="282"/>
                      <a:pt x="94" y="282"/>
                    </a:cubicBezTo>
                    <a:cubicBezTo>
                      <a:pt x="128" y="282"/>
                      <a:pt x="128" y="282"/>
                      <a:pt x="128" y="282"/>
                    </a:cubicBezTo>
                    <a:cubicBezTo>
                      <a:pt x="128" y="306"/>
                      <a:pt x="128" y="306"/>
                      <a:pt x="128" y="306"/>
                    </a:cubicBezTo>
                    <a:cubicBezTo>
                      <a:pt x="128" y="312"/>
                      <a:pt x="110" y="319"/>
                      <a:pt x="94" y="319"/>
                    </a:cubicBezTo>
                    <a:cubicBezTo>
                      <a:pt x="78" y="319"/>
                      <a:pt x="60" y="313"/>
                      <a:pt x="60" y="306"/>
                    </a:cubicBezTo>
                    <a:cubicBezTo>
                      <a:pt x="60" y="42"/>
                      <a:pt x="60" y="42"/>
                      <a:pt x="60" y="42"/>
                    </a:cubicBezTo>
                    <a:cubicBezTo>
                      <a:pt x="60" y="27"/>
                      <a:pt x="72" y="16"/>
                      <a:pt x="86" y="16"/>
                    </a:cubicBezTo>
                    <a:cubicBezTo>
                      <a:pt x="102" y="16"/>
                      <a:pt x="102" y="16"/>
                      <a:pt x="102" y="16"/>
                    </a:cubicBezTo>
                    <a:cubicBezTo>
                      <a:pt x="117" y="16"/>
                      <a:pt x="128" y="27"/>
                      <a:pt x="128" y="42"/>
                    </a:cubicBezTo>
                    <a:cubicBezTo>
                      <a:pt x="128" y="51"/>
                      <a:pt x="128" y="51"/>
                      <a:pt x="128" y="51"/>
                    </a:cubicBezTo>
                    <a:cubicBezTo>
                      <a:pt x="128" y="56"/>
                      <a:pt x="132" y="59"/>
                      <a:pt x="136" y="59"/>
                    </a:cubicBezTo>
                    <a:cubicBezTo>
                      <a:pt x="141" y="59"/>
                      <a:pt x="144" y="56"/>
                      <a:pt x="144" y="51"/>
                    </a:cubicBezTo>
                    <a:cubicBezTo>
                      <a:pt x="144" y="42"/>
                      <a:pt x="144" y="42"/>
                      <a:pt x="144" y="42"/>
                    </a:cubicBezTo>
                    <a:cubicBezTo>
                      <a:pt x="144" y="18"/>
                      <a:pt x="126" y="0"/>
                      <a:pt x="102" y="0"/>
                    </a:cubicBezTo>
                    <a:cubicBezTo>
                      <a:pt x="86" y="0"/>
                      <a:pt x="86" y="0"/>
                      <a:pt x="86" y="0"/>
                    </a:cubicBezTo>
                    <a:cubicBezTo>
                      <a:pt x="63" y="0"/>
                      <a:pt x="44" y="18"/>
                      <a:pt x="44" y="42"/>
                    </a:cubicBezTo>
                    <a:cubicBezTo>
                      <a:pt x="44" y="292"/>
                      <a:pt x="44" y="292"/>
                      <a:pt x="44" y="292"/>
                    </a:cubicBezTo>
                    <a:cubicBezTo>
                      <a:pt x="18" y="308"/>
                      <a:pt x="1" y="337"/>
                      <a:pt x="0" y="370"/>
                    </a:cubicBezTo>
                    <a:cubicBezTo>
                      <a:pt x="0" y="422"/>
                      <a:pt x="41" y="465"/>
                      <a:pt x="93" y="466"/>
                    </a:cubicBezTo>
                    <a:cubicBezTo>
                      <a:pt x="145" y="466"/>
                      <a:pt x="188" y="425"/>
                      <a:pt x="188" y="373"/>
                    </a:cubicBezTo>
                    <a:cubicBezTo>
                      <a:pt x="189" y="339"/>
                      <a:pt x="171" y="309"/>
                      <a:pt x="144" y="292"/>
                    </a:cubicBezTo>
                    <a:close/>
                    <a:moveTo>
                      <a:pt x="94" y="446"/>
                    </a:moveTo>
                    <a:cubicBezTo>
                      <a:pt x="90" y="446"/>
                      <a:pt x="86" y="442"/>
                      <a:pt x="86" y="438"/>
                    </a:cubicBezTo>
                    <a:cubicBezTo>
                      <a:pt x="86" y="434"/>
                      <a:pt x="90" y="430"/>
                      <a:pt x="94" y="430"/>
                    </a:cubicBezTo>
                    <a:cubicBezTo>
                      <a:pt x="126" y="430"/>
                      <a:pt x="153" y="404"/>
                      <a:pt x="153" y="372"/>
                    </a:cubicBezTo>
                    <a:cubicBezTo>
                      <a:pt x="153" y="367"/>
                      <a:pt x="156" y="364"/>
                      <a:pt x="161" y="364"/>
                    </a:cubicBezTo>
                    <a:cubicBezTo>
                      <a:pt x="165" y="364"/>
                      <a:pt x="169" y="367"/>
                      <a:pt x="169" y="372"/>
                    </a:cubicBezTo>
                    <a:cubicBezTo>
                      <a:pt x="169" y="413"/>
                      <a:pt x="135" y="446"/>
                      <a:pt x="94" y="4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64" name="Freeform 3"/>
              <p:cNvSpPr>
                <a:spLocks noChangeAspect="1" noEditPoints="1"/>
              </p:cNvSpPr>
              <p:nvPr/>
            </p:nvSpPr>
            <p:spPr bwMode="auto">
              <a:xfrm>
                <a:off x="4848090" y="4234191"/>
                <a:ext cx="152649" cy="149562"/>
              </a:xfrm>
              <a:custGeom>
                <a:avLst/>
                <a:gdLst>
                  <a:gd name="T0" fmla="*/ 2147483647 w 386"/>
                  <a:gd name="T1" fmla="*/ 2147483647 h 386"/>
                  <a:gd name="T2" fmla="*/ 2147483647 w 386"/>
                  <a:gd name="T3" fmla="*/ 2147483647 h 386"/>
                  <a:gd name="T4" fmla="*/ 2147483647 w 386"/>
                  <a:gd name="T5" fmla="*/ 2147483647 h 386"/>
                  <a:gd name="T6" fmla="*/ 2147483647 w 386"/>
                  <a:gd name="T7" fmla="*/ 2147483647 h 386"/>
                  <a:gd name="T8" fmla="*/ 2147483647 w 386"/>
                  <a:gd name="T9" fmla="*/ 2147483647 h 386"/>
                  <a:gd name="T10" fmla="*/ 2147483647 w 386"/>
                  <a:gd name="T11" fmla="*/ 2147483647 h 386"/>
                  <a:gd name="T12" fmla="*/ 2147483647 w 386"/>
                  <a:gd name="T13" fmla="*/ 2147483647 h 386"/>
                  <a:gd name="T14" fmla="*/ 2147483647 w 386"/>
                  <a:gd name="T15" fmla="*/ 2147483647 h 386"/>
                  <a:gd name="T16" fmla="*/ 2147483647 w 386"/>
                  <a:gd name="T17" fmla="*/ 2147483647 h 386"/>
                  <a:gd name="T18" fmla="*/ 2147483647 w 386"/>
                  <a:gd name="T19" fmla="*/ 2147483647 h 386"/>
                  <a:gd name="T20" fmla="*/ 2147483647 w 386"/>
                  <a:gd name="T21" fmla="*/ 2147483647 h 386"/>
                  <a:gd name="T22" fmla="*/ 2147483647 w 386"/>
                  <a:gd name="T23" fmla="*/ 2147483647 h 386"/>
                  <a:gd name="T24" fmla="*/ 2147483647 w 386"/>
                  <a:gd name="T25" fmla="*/ 2147483647 h 386"/>
                  <a:gd name="T26" fmla="*/ 2147483647 w 386"/>
                  <a:gd name="T27" fmla="*/ 2147483647 h 386"/>
                  <a:gd name="T28" fmla="*/ 2147483647 w 386"/>
                  <a:gd name="T29" fmla="*/ 2147483647 h 386"/>
                  <a:gd name="T30" fmla="*/ 2147483647 w 386"/>
                  <a:gd name="T31" fmla="*/ 2147483647 h 386"/>
                  <a:gd name="T32" fmla="*/ 2147483647 w 386"/>
                  <a:gd name="T33" fmla="*/ 2147483647 h 386"/>
                  <a:gd name="T34" fmla="*/ 2147483647 w 386"/>
                  <a:gd name="T35" fmla="*/ 2147483647 h 386"/>
                  <a:gd name="T36" fmla="*/ 2147483647 w 386"/>
                  <a:gd name="T37" fmla="*/ 2147483647 h 386"/>
                  <a:gd name="T38" fmla="*/ 2147483647 w 386"/>
                  <a:gd name="T39" fmla="*/ 2147483647 h 386"/>
                  <a:gd name="T40" fmla="*/ 2147483647 w 386"/>
                  <a:gd name="T41" fmla="*/ 0 h 386"/>
                  <a:gd name="T42" fmla="*/ 0 w 386"/>
                  <a:gd name="T43" fmla="*/ 2147483647 h 386"/>
                  <a:gd name="T44" fmla="*/ 2147483647 w 386"/>
                  <a:gd name="T45" fmla="*/ 2147483647 h 386"/>
                  <a:gd name="T46" fmla="*/ 2147483647 w 386"/>
                  <a:gd name="T47" fmla="*/ 2147483647 h 386"/>
                  <a:gd name="T48" fmla="*/ 2147483647 w 386"/>
                  <a:gd name="T49" fmla="*/ 2147483647 h 386"/>
                  <a:gd name="T50" fmla="*/ 2147483647 w 386"/>
                  <a:gd name="T51" fmla="*/ 2147483647 h 386"/>
                  <a:gd name="T52" fmla="*/ 2147483647 w 386"/>
                  <a:gd name="T53" fmla="*/ 2147483647 h 386"/>
                  <a:gd name="T54" fmla="*/ 2147483647 w 386"/>
                  <a:gd name="T55" fmla="*/ 2147483647 h 386"/>
                  <a:gd name="T56" fmla="*/ 2147483647 w 386"/>
                  <a:gd name="T57" fmla="*/ 2147483647 h 386"/>
                  <a:gd name="T58" fmla="*/ 2147483647 w 386"/>
                  <a:gd name="T59" fmla="*/ 2147483647 h 386"/>
                  <a:gd name="T60" fmla="*/ 2147483647 w 386"/>
                  <a:gd name="T61" fmla="*/ 2147483647 h 386"/>
                  <a:gd name="T62" fmla="*/ 2147483647 w 386"/>
                  <a:gd name="T63" fmla="*/ 2147483647 h 386"/>
                  <a:gd name="T64" fmla="*/ 2147483647 w 386"/>
                  <a:gd name="T65" fmla="*/ 2147483647 h 386"/>
                  <a:gd name="T66" fmla="*/ 2147483647 w 386"/>
                  <a:gd name="T67" fmla="*/ 2147483647 h 386"/>
                  <a:gd name="T68" fmla="*/ 2147483647 w 386"/>
                  <a:gd name="T69" fmla="*/ 2147483647 h 386"/>
                  <a:gd name="T70" fmla="*/ 2147483647 w 386"/>
                  <a:gd name="T71" fmla="*/ 2147483647 h 386"/>
                  <a:gd name="T72" fmla="*/ 2147483647 w 386"/>
                  <a:gd name="T73" fmla="*/ 2147483647 h 386"/>
                  <a:gd name="T74" fmla="*/ 2147483647 w 386"/>
                  <a:gd name="T75" fmla="*/ 2147483647 h 386"/>
                  <a:gd name="T76" fmla="*/ 2147483647 w 386"/>
                  <a:gd name="T77" fmla="*/ 2147483647 h 386"/>
                  <a:gd name="T78" fmla="*/ 2147483647 w 386"/>
                  <a:gd name="T79" fmla="*/ 2147483647 h 386"/>
                  <a:gd name="T80" fmla="*/ 2147483647 w 386"/>
                  <a:gd name="T81" fmla="*/ 2147483647 h 386"/>
                  <a:gd name="T82" fmla="*/ 2147483647 w 386"/>
                  <a:gd name="T83" fmla="*/ 2147483647 h 38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386" h="386">
                    <a:moveTo>
                      <a:pt x="248" y="193"/>
                    </a:moveTo>
                    <a:cubicBezTo>
                      <a:pt x="248" y="162"/>
                      <a:pt x="224" y="137"/>
                      <a:pt x="193" y="137"/>
                    </a:cubicBezTo>
                    <a:cubicBezTo>
                      <a:pt x="163" y="137"/>
                      <a:pt x="138" y="162"/>
                      <a:pt x="138" y="193"/>
                    </a:cubicBezTo>
                    <a:cubicBezTo>
                      <a:pt x="138" y="223"/>
                      <a:pt x="163" y="248"/>
                      <a:pt x="193" y="248"/>
                    </a:cubicBezTo>
                    <a:cubicBezTo>
                      <a:pt x="224" y="248"/>
                      <a:pt x="248" y="223"/>
                      <a:pt x="248" y="193"/>
                    </a:cubicBezTo>
                    <a:moveTo>
                      <a:pt x="154" y="193"/>
                    </a:moveTo>
                    <a:cubicBezTo>
                      <a:pt x="154" y="171"/>
                      <a:pt x="171" y="153"/>
                      <a:pt x="193" y="153"/>
                    </a:cubicBezTo>
                    <a:cubicBezTo>
                      <a:pt x="215" y="153"/>
                      <a:pt x="232" y="171"/>
                      <a:pt x="232" y="193"/>
                    </a:cubicBezTo>
                    <a:cubicBezTo>
                      <a:pt x="232" y="214"/>
                      <a:pt x="215" y="232"/>
                      <a:pt x="193" y="232"/>
                    </a:cubicBezTo>
                    <a:cubicBezTo>
                      <a:pt x="171" y="232"/>
                      <a:pt x="154" y="214"/>
                      <a:pt x="154" y="193"/>
                    </a:cubicBezTo>
                    <a:moveTo>
                      <a:pt x="340" y="69"/>
                    </a:moveTo>
                    <a:cubicBezTo>
                      <a:pt x="338" y="65"/>
                      <a:pt x="333" y="65"/>
                      <a:pt x="329" y="68"/>
                    </a:cubicBezTo>
                    <a:cubicBezTo>
                      <a:pt x="326" y="71"/>
                      <a:pt x="325" y="76"/>
                      <a:pt x="328" y="79"/>
                    </a:cubicBezTo>
                    <a:cubicBezTo>
                      <a:pt x="355" y="111"/>
                      <a:pt x="370" y="151"/>
                      <a:pt x="370" y="193"/>
                    </a:cubicBezTo>
                    <a:cubicBezTo>
                      <a:pt x="370" y="290"/>
                      <a:pt x="290" y="370"/>
                      <a:pt x="193" y="370"/>
                    </a:cubicBezTo>
                    <a:cubicBezTo>
                      <a:pt x="96" y="370"/>
                      <a:pt x="16" y="290"/>
                      <a:pt x="16" y="193"/>
                    </a:cubicBezTo>
                    <a:cubicBezTo>
                      <a:pt x="16" y="95"/>
                      <a:pt x="96" y="16"/>
                      <a:pt x="193" y="16"/>
                    </a:cubicBezTo>
                    <a:cubicBezTo>
                      <a:pt x="235" y="16"/>
                      <a:pt x="275" y="30"/>
                      <a:pt x="307" y="58"/>
                    </a:cubicBezTo>
                    <a:cubicBezTo>
                      <a:pt x="310" y="60"/>
                      <a:pt x="315" y="60"/>
                      <a:pt x="318" y="57"/>
                    </a:cubicBezTo>
                    <a:cubicBezTo>
                      <a:pt x="321" y="53"/>
                      <a:pt x="320" y="48"/>
                      <a:pt x="317" y="45"/>
                    </a:cubicBezTo>
                    <a:cubicBezTo>
                      <a:pt x="282" y="16"/>
                      <a:pt x="239" y="0"/>
                      <a:pt x="193" y="0"/>
                    </a:cubicBezTo>
                    <a:cubicBezTo>
                      <a:pt x="87" y="0"/>
                      <a:pt x="0" y="87"/>
                      <a:pt x="0" y="193"/>
                    </a:cubicBezTo>
                    <a:cubicBezTo>
                      <a:pt x="0" y="299"/>
                      <a:pt x="87" y="386"/>
                      <a:pt x="193" y="386"/>
                    </a:cubicBezTo>
                    <a:cubicBezTo>
                      <a:pt x="299" y="386"/>
                      <a:pt x="386" y="299"/>
                      <a:pt x="386" y="193"/>
                    </a:cubicBezTo>
                    <a:cubicBezTo>
                      <a:pt x="386" y="147"/>
                      <a:pt x="370" y="104"/>
                      <a:pt x="340" y="69"/>
                    </a:cubicBezTo>
                    <a:moveTo>
                      <a:pt x="193" y="355"/>
                    </a:moveTo>
                    <a:cubicBezTo>
                      <a:pt x="283" y="355"/>
                      <a:pt x="355" y="282"/>
                      <a:pt x="355" y="193"/>
                    </a:cubicBezTo>
                    <a:cubicBezTo>
                      <a:pt x="355" y="188"/>
                      <a:pt x="352" y="185"/>
                      <a:pt x="347" y="185"/>
                    </a:cubicBezTo>
                    <a:cubicBezTo>
                      <a:pt x="343" y="185"/>
                      <a:pt x="339" y="188"/>
                      <a:pt x="339" y="193"/>
                    </a:cubicBezTo>
                    <a:cubicBezTo>
                      <a:pt x="339" y="274"/>
                      <a:pt x="274" y="339"/>
                      <a:pt x="193" y="339"/>
                    </a:cubicBezTo>
                    <a:cubicBezTo>
                      <a:pt x="189" y="339"/>
                      <a:pt x="185" y="343"/>
                      <a:pt x="185" y="347"/>
                    </a:cubicBezTo>
                    <a:cubicBezTo>
                      <a:pt x="185" y="352"/>
                      <a:pt x="189" y="355"/>
                      <a:pt x="193" y="355"/>
                    </a:cubicBezTo>
                    <a:moveTo>
                      <a:pt x="222" y="193"/>
                    </a:moveTo>
                    <a:cubicBezTo>
                      <a:pt x="222" y="177"/>
                      <a:pt x="209" y="164"/>
                      <a:pt x="193" y="164"/>
                    </a:cubicBezTo>
                    <a:cubicBezTo>
                      <a:pt x="177" y="164"/>
                      <a:pt x="164" y="177"/>
                      <a:pt x="164" y="193"/>
                    </a:cubicBezTo>
                    <a:cubicBezTo>
                      <a:pt x="164" y="209"/>
                      <a:pt x="177" y="222"/>
                      <a:pt x="193" y="222"/>
                    </a:cubicBezTo>
                    <a:cubicBezTo>
                      <a:pt x="209" y="222"/>
                      <a:pt x="222" y="209"/>
                      <a:pt x="222" y="193"/>
                    </a:cubicBezTo>
                    <a:moveTo>
                      <a:pt x="180" y="193"/>
                    </a:moveTo>
                    <a:cubicBezTo>
                      <a:pt x="180" y="186"/>
                      <a:pt x="186" y="180"/>
                      <a:pt x="193" y="180"/>
                    </a:cubicBezTo>
                    <a:cubicBezTo>
                      <a:pt x="200" y="180"/>
                      <a:pt x="206" y="186"/>
                      <a:pt x="206" y="193"/>
                    </a:cubicBezTo>
                    <a:cubicBezTo>
                      <a:pt x="206" y="200"/>
                      <a:pt x="200" y="206"/>
                      <a:pt x="193" y="206"/>
                    </a:cubicBezTo>
                    <a:cubicBezTo>
                      <a:pt x="186" y="206"/>
                      <a:pt x="180" y="200"/>
                      <a:pt x="180" y="19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65" name="Freeform 3"/>
              <p:cNvSpPr>
                <a:spLocks noChangeAspect="1" noEditPoints="1"/>
              </p:cNvSpPr>
              <p:nvPr/>
            </p:nvSpPr>
            <p:spPr bwMode="auto">
              <a:xfrm>
                <a:off x="4566698" y="4205966"/>
                <a:ext cx="179792" cy="153006"/>
              </a:xfrm>
              <a:custGeom>
                <a:avLst/>
                <a:gdLst>
                  <a:gd name="T0" fmla="*/ 2147483647 w 454"/>
                  <a:gd name="T1" fmla="*/ 2147483647 h 395"/>
                  <a:gd name="T2" fmla="*/ 2147483647 w 454"/>
                  <a:gd name="T3" fmla="*/ 2147483647 h 395"/>
                  <a:gd name="T4" fmla="*/ 2147483647 w 454"/>
                  <a:gd name="T5" fmla="*/ 2147483647 h 395"/>
                  <a:gd name="T6" fmla="*/ 2147483647 w 454"/>
                  <a:gd name="T7" fmla="*/ 2147483647 h 395"/>
                  <a:gd name="T8" fmla="*/ 2147483647 w 454"/>
                  <a:gd name="T9" fmla="*/ 2147483647 h 395"/>
                  <a:gd name="T10" fmla="*/ 2147483647 w 454"/>
                  <a:gd name="T11" fmla="*/ 2147483647 h 395"/>
                  <a:gd name="T12" fmla="*/ 2147483647 w 454"/>
                  <a:gd name="T13" fmla="*/ 2147483647 h 395"/>
                  <a:gd name="T14" fmla="*/ 2147483647 w 454"/>
                  <a:gd name="T15" fmla="*/ 2147483647 h 395"/>
                  <a:gd name="T16" fmla="*/ 0 w 454"/>
                  <a:gd name="T17" fmla="*/ 2147483647 h 395"/>
                  <a:gd name="T18" fmla="*/ 2147483647 w 454"/>
                  <a:gd name="T19" fmla="*/ 2147483647 h 395"/>
                  <a:gd name="T20" fmla="*/ 2147483647 w 454"/>
                  <a:gd name="T21" fmla="*/ 2147483647 h 395"/>
                  <a:gd name="T22" fmla="*/ 2147483647 w 454"/>
                  <a:gd name="T23" fmla="*/ 2147483647 h 395"/>
                  <a:gd name="T24" fmla="*/ 2147483647 w 454"/>
                  <a:gd name="T25" fmla="*/ 2147483647 h 395"/>
                  <a:gd name="T26" fmla="*/ 2147483647 w 454"/>
                  <a:gd name="T27" fmla="*/ 2147483647 h 395"/>
                  <a:gd name="T28" fmla="*/ 2147483647 w 454"/>
                  <a:gd name="T29" fmla="*/ 2147483647 h 395"/>
                  <a:gd name="T30" fmla="*/ 2147483647 w 454"/>
                  <a:gd name="T31" fmla="*/ 2147483647 h 395"/>
                  <a:gd name="T32" fmla="*/ 2147483647 w 454"/>
                  <a:gd name="T33" fmla="*/ 2147483647 h 395"/>
                  <a:gd name="T34" fmla="*/ 2147483647 w 454"/>
                  <a:gd name="T35" fmla="*/ 2147483647 h 395"/>
                  <a:gd name="T36" fmla="*/ 2147483647 w 454"/>
                  <a:gd name="T37" fmla="*/ 2147483647 h 395"/>
                  <a:gd name="T38" fmla="*/ 2147483647 w 454"/>
                  <a:gd name="T39" fmla="*/ 2147483647 h 395"/>
                  <a:gd name="T40" fmla="*/ 2147483647 w 454"/>
                  <a:gd name="T41" fmla="*/ 2147483647 h 395"/>
                  <a:gd name="T42" fmla="*/ 2147483647 w 454"/>
                  <a:gd name="T43" fmla="*/ 2147483647 h 395"/>
                  <a:gd name="T44" fmla="*/ 2147483647 w 454"/>
                  <a:gd name="T45" fmla="*/ 2147483647 h 395"/>
                  <a:gd name="T46" fmla="*/ 2147483647 w 454"/>
                  <a:gd name="T47" fmla="*/ 2147483647 h 395"/>
                  <a:gd name="T48" fmla="*/ 2147483647 w 454"/>
                  <a:gd name="T49" fmla="*/ 2147483647 h 395"/>
                  <a:gd name="T50" fmla="*/ 2147483647 w 454"/>
                  <a:gd name="T51" fmla="*/ 2147483647 h 395"/>
                  <a:gd name="T52" fmla="*/ 2147483647 w 454"/>
                  <a:gd name="T53" fmla="*/ 2147483647 h 395"/>
                  <a:gd name="T54" fmla="*/ 2147483647 w 454"/>
                  <a:gd name="T55" fmla="*/ 2147483647 h 395"/>
                  <a:gd name="T56" fmla="*/ 2147483647 w 454"/>
                  <a:gd name="T57" fmla="*/ 2147483647 h 395"/>
                  <a:gd name="T58" fmla="*/ 2147483647 w 454"/>
                  <a:gd name="T59" fmla="*/ 2147483647 h 395"/>
                  <a:gd name="T60" fmla="*/ 2147483647 w 454"/>
                  <a:gd name="T61" fmla="*/ 2147483647 h 395"/>
                  <a:gd name="T62" fmla="*/ 2147483647 w 454"/>
                  <a:gd name="T63" fmla="*/ 2147483647 h 395"/>
                  <a:gd name="T64" fmla="*/ 2147483647 w 454"/>
                  <a:gd name="T65" fmla="*/ 2147483647 h 39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454" h="395">
                    <a:moveTo>
                      <a:pt x="446" y="82"/>
                    </a:moveTo>
                    <a:cubicBezTo>
                      <a:pt x="436" y="76"/>
                      <a:pt x="351" y="28"/>
                      <a:pt x="350" y="28"/>
                    </a:cubicBezTo>
                    <a:cubicBezTo>
                      <a:pt x="347" y="26"/>
                      <a:pt x="342" y="27"/>
                      <a:pt x="339" y="31"/>
                    </a:cubicBezTo>
                    <a:cubicBezTo>
                      <a:pt x="337" y="35"/>
                      <a:pt x="339" y="39"/>
                      <a:pt x="342" y="42"/>
                    </a:cubicBezTo>
                    <a:cubicBezTo>
                      <a:pt x="343" y="42"/>
                      <a:pt x="415" y="83"/>
                      <a:pt x="434" y="93"/>
                    </a:cubicBezTo>
                    <a:cubicBezTo>
                      <a:pt x="426" y="98"/>
                      <a:pt x="407" y="109"/>
                      <a:pt x="382" y="123"/>
                    </a:cubicBezTo>
                    <a:cubicBezTo>
                      <a:pt x="381" y="123"/>
                      <a:pt x="381" y="123"/>
                      <a:pt x="381" y="123"/>
                    </a:cubicBezTo>
                    <a:cubicBezTo>
                      <a:pt x="245" y="47"/>
                      <a:pt x="245" y="47"/>
                      <a:pt x="245" y="47"/>
                    </a:cubicBezTo>
                    <a:cubicBezTo>
                      <a:pt x="292" y="20"/>
                      <a:pt x="292" y="20"/>
                      <a:pt x="292" y="20"/>
                    </a:cubicBezTo>
                    <a:cubicBezTo>
                      <a:pt x="297" y="17"/>
                      <a:pt x="301" y="20"/>
                      <a:pt x="302" y="20"/>
                    </a:cubicBezTo>
                    <a:cubicBezTo>
                      <a:pt x="302" y="20"/>
                      <a:pt x="302" y="20"/>
                      <a:pt x="302" y="20"/>
                    </a:cubicBezTo>
                    <a:cubicBezTo>
                      <a:pt x="316" y="27"/>
                      <a:pt x="316" y="27"/>
                      <a:pt x="316" y="27"/>
                    </a:cubicBezTo>
                    <a:cubicBezTo>
                      <a:pt x="320" y="30"/>
                      <a:pt x="325" y="28"/>
                      <a:pt x="327" y="24"/>
                    </a:cubicBezTo>
                    <a:cubicBezTo>
                      <a:pt x="329" y="20"/>
                      <a:pt x="328" y="16"/>
                      <a:pt x="324" y="13"/>
                    </a:cubicBezTo>
                    <a:cubicBezTo>
                      <a:pt x="310" y="6"/>
                      <a:pt x="310" y="6"/>
                      <a:pt x="310" y="6"/>
                    </a:cubicBezTo>
                    <a:cubicBezTo>
                      <a:pt x="306" y="3"/>
                      <a:pt x="295" y="0"/>
                      <a:pt x="284" y="6"/>
                    </a:cubicBezTo>
                    <a:cubicBezTo>
                      <a:pt x="9" y="163"/>
                      <a:pt x="9" y="163"/>
                      <a:pt x="9" y="163"/>
                    </a:cubicBezTo>
                    <a:cubicBezTo>
                      <a:pt x="5" y="165"/>
                      <a:pt x="0" y="169"/>
                      <a:pt x="0" y="175"/>
                    </a:cubicBezTo>
                    <a:cubicBezTo>
                      <a:pt x="0" y="178"/>
                      <a:pt x="1" y="183"/>
                      <a:pt x="9" y="188"/>
                    </a:cubicBezTo>
                    <a:cubicBezTo>
                      <a:pt x="73" y="224"/>
                      <a:pt x="73" y="224"/>
                      <a:pt x="73" y="224"/>
                    </a:cubicBezTo>
                    <a:cubicBezTo>
                      <a:pt x="73" y="295"/>
                      <a:pt x="73" y="295"/>
                      <a:pt x="73" y="295"/>
                    </a:cubicBezTo>
                    <a:cubicBezTo>
                      <a:pt x="73" y="300"/>
                      <a:pt x="75" y="309"/>
                      <a:pt x="84" y="314"/>
                    </a:cubicBezTo>
                    <a:cubicBezTo>
                      <a:pt x="219" y="392"/>
                      <a:pt x="219" y="392"/>
                      <a:pt x="219" y="392"/>
                    </a:cubicBezTo>
                    <a:cubicBezTo>
                      <a:pt x="219" y="392"/>
                      <a:pt x="219" y="392"/>
                      <a:pt x="219" y="392"/>
                    </a:cubicBezTo>
                    <a:cubicBezTo>
                      <a:pt x="223" y="394"/>
                      <a:pt x="227" y="395"/>
                      <a:pt x="231" y="395"/>
                    </a:cubicBezTo>
                    <a:cubicBezTo>
                      <a:pt x="231" y="395"/>
                      <a:pt x="231" y="395"/>
                      <a:pt x="231" y="395"/>
                    </a:cubicBezTo>
                    <a:cubicBezTo>
                      <a:pt x="231" y="395"/>
                      <a:pt x="231" y="395"/>
                      <a:pt x="231" y="395"/>
                    </a:cubicBezTo>
                    <a:cubicBezTo>
                      <a:pt x="238" y="395"/>
                      <a:pt x="242" y="393"/>
                      <a:pt x="243" y="392"/>
                    </a:cubicBezTo>
                    <a:cubicBezTo>
                      <a:pt x="243" y="392"/>
                      <a:pt x="244" y="392"/>
                      <a:pt x="244" y="392"/>
                    </a:cubicBezTo>
                    <a:cubicBezTo>
                      <a:pt x="378" y="314"/>
                      <a:pt x="378" y="314"/>
                      <a:pt x="378" y="314"/>
                    </a:cubicBezTo>
                    <a:cubicBezTo>
                      <a:pt x="383" y="312"/>
                      <a:pt x="389" y="306"/>
                      <a:pt x="389" y="295"/>
                    </a:cubicBezTo>
                    <a:cubicBezTo>
                      <a:pt x="389" y="137"/>
                      <a:pt x="389" y="137"/>
                      <a:pt x="389" y="137"/>
                    </a:cubicBezTo>
                    <a:cubicBezTo>
                      <a:pt x="420" y="120"/>
                      <a:pt x="442" y="107"/>
                      <a:pt x="445" y="105"/>
                    </a:cubicBezTo>
                    <a:cubicBezTo>
                      <a:pt x="449" y="103"/>
                      <a:pt x="454" y="99"/>
                      <a:pt x="454" y="94"/>
                    </a:cubicBezTo>
                    <a:cubicBezTo>
                      <a:pt x="454" y="91"/>
                      <a:pt x="453" y="86"/>
                      <a:pt x="446" y="82"/>
                    </a:cubicBezTo>
                    <a:close/>
                    <a:moveTo>
                      <a:pt x="20" y="175"/>
                    </a:moveTo>
                    <a:cubicBezTo>
                      <a:pt x="81" y="140"/>
                      <a:pt x="81" y="140"/>
                      <a:pt x="81" y="140"/>
                    </a:cubicBezTo>
                    <a:cubicBezTo>
                      <a:pt x="215" y="218"/>
                      <a:pt x="215" y="218"/>
                      <a:pt x="215" y="218"/>
                    </a:cubicBezTo>
                    <a:cubicBezTo>
                      <a:pt x="185" y="235"/>
                      <a:pt x="163" y="248"/>
                      <a:pt x="161" y="249"/>
                    </a:cubicBezTo>
                    <a:cubicBezTo>
                      <a:pt x="157" y="251"/>
                      <a:pt x="151" y="249"/>
                      <a:pt x="151" y="249"/>
                    </a:cubicBezTo>
                    <a:cubicBezTo>
                      <a:pt x="151" y="249"/>
                      <a:pt x="151" y="249"/>
                      <a:pt x="151" y="249"/>
                    </a:cubicBezTo>
                    <a:lnTo>
                      <a:pt x="20" y="175"/>
                    </a:lnTo>
                    <a:close/>
                    <a:moveTo>
                      <a:pt x="223" y="376"/>
                    </a:moveTo>
                    <a:cubicBezTo>
                      <a:pt x="92" y="300"/>
                      <a:pt x="92" y="300"/>
                      <a:pt x="92" y="300"/>
                    </a:cubicBezTo>
                    <a:cubicBezTo>
                      <a:pt x="89" y="299"/>
                      <a:pt x="89" y="296"/>
                      <a:pt x="89" y="296"/>
                    </a:cubicBezTo>
                    <a:cubicBezTo>
                      <a:pt x="89" y="233"/>
                      <a:pt x="89" y="233"/>
                      <a:pt x="89" y="233"/>
                    </a:cubicBezTo>
                    <a:cubicBezTo>
                      <a:pt x="144" y="263"/>
                      <a:pt x="144" y="263"/>
                      <a:pt x="144" y="263"/>
                    </a:cubicBezTo>
                    <a:cubicBezTo>
                      <a:pt x="146" y="264"/>
                      <a:pt x="151" y="266"/>
                      <a:pt x="157" y="266"/>
                    </a:cubicBezTo>
                    <a:cubicBezTo>
                      <a:pt x="161" y="266"/>
                      <a:pt x="165" y="265"/>
                      <a:pt x="169" y="263"/>
                    </a:cubicBezTo>
                    <a:cubicBezTo>
                      <a:pt x="171" y="261"/>
                      <a:pt x="193" y="249"/>
                      <a:pt x="223" y="232"/>
                    </a:cubicBezTo>
                    <a:lnTo>
                      <a:pt x="223" y="376"/>
                    </a:lnTo>
                    <a:close/>
                    <a:moveTo>
                      <a:pt x="223" y="204"/>
                    </a:moveTo>
                    <a:cubicBezTo>
                      <a:pt x="97" y="131"/>
                      <a:pt x="97" y="131"/>
                      <a:pt x="97" y="131"/>
                    </a:cubicBezTo>
                    <a:cubicBezTo>
                      <a:pt x="223" y="59"/>
                      <a:pt x="223" y="59"/>
                      <a:pt x="223" y="59"/>
                    </a:cubicBezTo>
                    <a:lnTo>
                      <a:pt x="223" y="204"/>
                    </a:lnTo>
                    <a:close/>
                    <a:moveTo>
                      <a:pt x="239" y="63"/>
                    </a:moveTo>
                    <a:cubicBezTo>
                      <a:pt x="364" y="132"/>
                      <a:pt x="364" y="132"/>
                      <a:pt x="364" y="132"/>
                    </a:cubicBezTo>
                    <a:cubicBezTo>
                      <a:pt x="239" y="204"/>
                      <a:pt x="239" y="204"/>
                      <a:pt x="239" y="204"/>
                    </a:cubicBezTo>
                    <a:lnTo>
                      <a:pt x="239" y="63"/>
                    </a:lnTo>
                    <a:close/>
                    <a:moveTo>
                      <a:pt x="373" y="295"/>
                    </a:moveTo>
                    <a:cubicBezTo>
                      <a:pt x="373" y="299"/>
                      <a:pt x="372" y="300"/>
                      <a:pt x="371" y="300"/>
                    </a:cubicBezTo>
                    <a:cubicBezTo>
                      <a:pt x="371" y="300"/>
                      <a:pt x="371" y="300"/>
                      <a:pt x="371" y="300"/>
                    </a:cubicBezTo>
                    <a:cubicBezTo>
                      <a:pt x="239" y="376"/>
                      <a:pt x="239" y="376"/>
                      <a:pt x="239" y="376"/>
                    </a:cubicBezTo>
                    <a:cubicBezTo>
                      <a:pt x="239" y="223"/>
                      <a:pt x="239" y="223"/>
                      <a:pt x="239" y="223"/>
                    </a:cubicBezTo>
                    <a:cubicBezTo>
                      <a:pt x="280" y="199"/>
                      <a:pt x="332" y="170"/>
                      <a:pt x="373" y="146"/>
                    </a:cubicBezTo>
                    <a:lnTo>
                      <a:pt x="373" y="2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66" name="Freeform 3"/>
              <p:cNvSpPr>
                <a:spLocks noChangeAspect="1" noEditPoints="1"/>
              </p:cNvSpPr>
              <p:nvPr/>
            </p:nvSpPr>
            <p:spPr bwMode="auto">
              <a:xfrm>
                <a:off x="5019337" y="3832147"/>
                <a:ext cx="156671" cy="146119"/>
              </a:xfrm>
              <a:custGeom>
                <a:avLst/>
                <a:gdLst>
                  <a:gd name="T0" fmla="*/ 2147483647 w 396"/>
                  <a:gd name="T1" fmla="*/ 2147483647 h 377"/>
                  <a:gd name="T2" fmla="*/ 2147483647 w 396"/>
                  <a:gd name="T3" fmla="*/ 2147483647 h 377"/>
                  <a:gd name="T4" fmla="*/ 2147483647 w 396"/>
                  <a:gd name="T5" fmla="*/ 2147483647 h 377"/>
                  <a:gd name="T6" fmla="*/ 2147483647 w 396"/>
                  <a:gd name="T7" fmla="*/ 2147483647 h 377"/>
                  <a:gd name="T8" fmla="*/ 2147483647 w 396"/>
                  <a:gd name="T9" fmla="*/ 2147483647 h 377"/>
                  <a:gd name="T10" fmla="*/ 2147483647 w 396"/>
                  <a:gd name="T11" fmla="*/ 2147483647 h 377"/>
                  <a:gd name="T12" fmla="*/ 2147483647 w 396"/>
                  <a:gd name="T13" fmla="*/ 2147483647 h 377"/>
                  <a:gd name="T14" fmla="*/ 2147483647 w 396"/>
                  <a:gd name="T15" fmla="*/ 2147483647 h 377"/>
                  <a:gd name="T16" fmla="*/ 2147483647 w 396"/>
                  <a:gd name="T17" fmla="*/ 2147483647 h 377"/>
                  <a:gd name="T18" fmla="*/ 2147483647 w 396"/>
                  <a:gd name="T19" fmla="*/ 2147483647 h 377"/>
                  <a:gd name="T20" fmla="*/ 2147483647 w 396"/>
                  <a:gd name="T21" fmla="*/ 2147483647 h 377"/>
                  <a:gd name="T22" fmla="*/ 2147483647 w 396"/>
                  <a:gd name="T23" fmla="*/ 2147483647 h 377"/>
                  <a:gd name="T24" fmla="*/ 2147483647 w 396"/>
                  <a:gd name="T25" fmla="*/ 2147483647 h 377"/>
                  <a:gd name="T26" fmla="*/ 2147483647 w 396"/>
                  <a:gd name="T27" fmla="*/ 2147483647 h 377"/>
                  <a:gd name="T28" fmla="*/ 2147483647 w 396"/>
                  <a:gd name="T29" fmla="*/ 2147483647 h 377"/>
                  <a:gd name="T30" fmla="*/ 2147483647 w 396"/>
                  <a:gd name="T31" fmla="*/ 2147483647 h 377"/>
                  <a:gd name="T32" fmla="*/ 2147483647 w 396"/>
                  <a:gd name="T33" fmla="*/ 2147483647 h 377"/>
                  <a:gd name="T34" fmla="*/ 2147483647 w 396"/>
                  <a:gd name="T35" fmla="*/ 2147483647 h 377"/>
                  <a:gd name="T36" fmla="*/ 2147483647 w 396"/>
                  <a:gd name="T37" fmla="*/ 2147483647 h 377"/>
                  <a:gd name="T38" fmla="*/ 2147483647 w 396"/>
                  <a:gd name="T39" fmla="*/ 2147483647 h 377"/>
                  <a:gd name="T40" fmla="*/ 2147483647 w 396"/>
                  <a:gd name="T41" fmla="*/ 2147483647 h 377"/>
                  <a:gd name="T42" fmla="*/ 2147483647 w 396"/>
                  <a:gd name="T43" fmla="*/ 2147483647 h 377"/>
                  <a:gd name="T44" fmla="*/ 2147483647 w 396"/>
                  <a:gd name="T45" fmla="*/ 2147483647 h 377"/>
                  <a:gd name="T46" fmla="*/ 2147483647 w 396"/>
                  <a:gd name="T47" fmla="*/ 2147483647 h 377"/>
                  <a:gd name="T48" fmla="*/ 2147483647 w 396"/>
                  <a:gd name="T49" fmla="*/ 2147483647 h 377"/>
                  <a:gd name="T50" fmla="*/ 2147483647 w 396"/>
                  <a:gd name="T51" fmla="*/ 2147483647 h 377"/>
                  <a:gd name="T52" fmla="*/ 2147483647 w 396"/>
                  <a:gd name="T53" fmla="*/ 2147483647 h 377"/>
                  <a:gd name="T54" fmla="*/ 2147483647 w 396"/>
                  <a:gd name="T55" fmla="*/ 2147483647 h 377"/>
                  <a:gd name="T56" fmla="*/ 2147483647 w 396"/>
                  <a:gd name="T57" fmla="*/ 2147483647 h 377"/>
                  <a:gd name="T58" fmla="*/ 2147483647 w 396"/>
                  <a:gd name="T59" fmla="*/ 2147483647 h 377"/>
                  <a:gd name="T60" fmla="*/ 2147483647 w 396"/>
                  <a:gd name="T61" fmla="*/ 2147483647 h 377"/>
                  <a:gd name="T62" fmla="*/ 2147483647 w 396"/>
                  <a:gd name="T63" fmla="*/ 2147483647 h 377"/>
                  <a:gd name="T64" fmla="*/ 2147483647 w 396"/>
                  <a:gd name="T65" fmla="*/ 2147483647 h 377"/>
                  <a:gd name="T66" fmla="*/ 2147483647 w 396"/>
                  <a:gd name="T67" fmla="*/ 2147483647 h 377"/>
                  <a:gd name="T68" fmla="*/ 2147483647 w 396"/>
                  <a:gd name="T69" fmla="*/ 2147483647 h 377"/>
                  <a:gd name="T70" fmla="*/ 2147483647 w 396"/>
                  <a:gd name="T71" fmla="*/ 2147483647 h 377"/>
                  <a:gd name="T72" fmla="*/ 2147483647 w 396"/>
                  <a:gd name="T73" fmla="*/ 2147483647 h 377"/>
                  <a:gd name="T74" fmla="*/ 2147483647 w 396"/>
                  <a:gd name="T75" fmla="*/ 2147483647 h 377"/>
                  <a:gd name="T76" fmla="*/ 2147483647 w 396"/>
                  <a:gd name="T77" fmla="*/ 2147483647 h 377"/>
                  <a:gd name="T78" fmla="*/ 2147483647 w 396"/>
                  <a:gd name="T79" fmla="*/ 2147483647 h 377"/>
                  <a:gd name="T80" fmla="*/ 2147483647 w 396"/>
                  <a:gd name="T81" fmla="*/ 2147483647 h 377"/>
                  <a:gd name="T82" fmla="*/ 2147483647 w 396"/>
                  <a:gd name="T83" fmla="*/ 2147483647 h 377"/>
                  <a:gd name="T84" fmla="*/ 2147483647 w 396"/>
                  <a:gd name="T85" fmla="*/ 2147483647 h 377"/>
                  <a:gd name="T86" fmla="*/ 2147483647 w 396"/>
                  <a:gd name="T87" fmla="*/ 2147483647 h 377"/>
                  <a:gd name="T88" fmla="*/ 2147483647 w 396"/>
                  <a:gd name="T89" fmla="*/ 2147483647 h 377"/>
                  <a:gd name="T90" fmla="*/ 2147483647 w 396"/>
                  <a:gd name="T91" fmla="*/ 2147483647 h 377"/>
                  <a:gd name="T92" fmla="*/ 2147483647 w 396"/>
                  <a:gd name="T93" fmla="*/ 2147483647 h 377"/>
                  <a:gd name="T94" fmla="*/ 2147483647 w 396"/>
                  <a:gd name="T95" fmla="*/ 2147483647 h 377"/>
                  <a:gd name="T96" fmla="*/ 2147483647 w 396"/>
                  <a:gd name="T97" fmla="*/ 2147483647 h 377"/>
                  <a:gd name="T98" fmla="*/ 2147483647 w 396"/>
                  <a:gd name="T99" fmla="*/ 2147483647 h 377"/>
                  <a:gd name="T100" fmla="*/ 2147483647 w 396"/>
                  <a:gd name="T101" fmla="*/ 2147483647 h 377"/>
                  <a:gd name="T102" fmla="*/ 2147483647 w 396"/>
                  <a:gd name="T103" fmla="*/ 2147483647 h 377"/>
                  <a:gd name="T104" fmla="*/ 2147483647 w 396"/>
                  <a:gd name="T105" fmla="*/ 2147483647 h 377"/>
                  <a:gd name="T106" fmla="*/ 2147483647 w 396"/>
                  <a:gd name="T107" fmla="*/ 2147483647 h 37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396" h="377">
                    <a:moveTo>
                      <a:pt x="388" y="64"/>
                    </a:moveTo>
                    <a:cubicBezTo>
                      <a:pt x="392" y="64"/>
                      <a:pt x="396" y="60"/>
                      <a:pt x="396" y="56"/>
                    </a:cubicBezTo>
                    <a:cubicBezTo>
                      <a:pt x="396" y="39"/>
                      <a:pt x="396" y="39"/>
                      <a:pt x="396" y="39"/>
                    </a:cubicBezTo>
                    <a:cubicBezTo>
                      <a:pt x="396" y="28"/>
                      <a:pt x="389" y="19"/>
                      <a:pt x="377" y="17"/>
                    </a:cubicBezTo>
                    <a:cubicBezTo>
                      <a:pt x="279" y="0"/>
                      <a:pt x="211" y="31"/>
                      <a:pt x="204" y="35"/>
                    </a:cubicBezTo>
                    <a:cubicBezTo>
                      <a:pt x="201" y="36"/>
                      <a:pt x="200" y="37"/>
                      <a:pt x="198" y="37"/>
                    </a:cubicBezTo>
                    <a:cubicBezTo>
                      <a:pt x="197" y="37"/>
                      <a:pt x="195" y="36"/>
                      <a:pt x="193" y="35"/>
                    </a:cubicBezTo>
                    <a:cubicBezTo>
                      <a:pt x="185" y="31"/>
                      <a:pt x="118" y="0"/>
                      <a:pt x="19" y="17"/>
                    </a:cubicBezTo>
                    <a:cubicBezTo>
                      <a:pt x="7" y="19"/>
                      <a:pt x="1" y="28"/>
                      <a:pt x="1" y="39"/>
                    </a:cubicBezTo>
                    <a:cubicBezTo>
                      <a:pt x="1" y="254"/>
                      <a:pt x="1" y="254"/>
                      <a:pt x="1" y="254"/>
                    </a:cubicBezTo>
                    <a:cubicBezTo>
                      <a:pt x="1" y="261"/>
                      <a:pt x="3" y="267"/>
                      <a:pt x="7" y="270"/>
                    </a:cubicBezTo>
                    <a:cubicBezTo>
                      <a:pt x="9" y="273"/>
                      <a:pt x="14" y="275"/>
                      <a:pt x="21" y="275"/>
                    </a:cubicBezTo>
                    <a:cubicBezTo>
                      <a:pt x="109" y="270"/>
                      <a:pt x="178" y="292"/>
                      <a:pt x="190" y="296"/>
                    </a:cubicBezTo>
                    <a:cubicBezTo>
                      <a:pt x="193" y="297"/>
                      <a:pt x="196" y="297"/>
                      <a:pt x="198" y="297"/>
                    </a:cubicBezTo>
                    <a:cubicBezTo>
                      <a:pt x="201" y="297"/>
                      <a:pt x="203" y="297"/>
                      <a:pt x="206" y="296"/>
                    </a:cubicBezTo>
                    <a:cubicBezTo>
                      <a:pt x="219" y="292"/>
                      <a:pt x="287" y="270"/>
                      <a:pt x="375" y="275"/>
                    </a:cubicBezTo>
                    <a:cubicBezTo>
                      <a:pt x="382" y="275"/>
                      <a:pt x="387" y="273"/>
                      <a:pt x="390" y="270"/>
                    </a:cubicBezTo>
                    <a:cubicBezTo>
                      <a:pt x="394" y="267"/>
                      <a:pt x="396" y="261"/>
                      <a:pt x="396" y="254"/>
                    </a:cubicBezTo>
                    <a:cubicBezTo>
                      <a:pt x="396" y="88"/>
                      <a:pt x="396" y="88"/>
                      <a:pt x="396" y="88"/>
                    </a:cubicBezTo>
                    <a:cubicBezTo>
                      <a:pt x="396" y="83"/>
                      <a:pt x="392" y="80"/>
                      <a:pt x="388" y="80"/>
                    </a:cubicBezTo>
                    <a:cubicBezTo>
                      <a:pt x="383" y="80"/>
                      <a:pt x="380" y="83"/>
                      <a:pt x="380" y="88"/>
                    </a:cubicBezTo>
                    <a:cubicBezTo>
                      <a:pt x="380" y="254"/>
                      <a:pt x="380" y="254"/>
                      <a:pt x="380" y="254"/>
                    </a:cubicBezTo>
                    <a:cubicBezTo>
                      <a:pt x="380" y="257"/>
                      <a:pt x="379" y="258"/>
                      <a:pt x="379" y="258"/>
                    </a:cubicBezTo>
                    <a:cubicBezTo>
                      <a:pt x="379" y="258"/>
                      <a:pt x="378" y="259"/>
                      <a:pt x="376" y="259"/>
                    </a:cubicBezTo>
                    <a:cubicBezTo>
                      <a:pt x="285" y="254"/>
                      <a:pt x="214" y="276"/>
                      <a:pt x="201" y="281"/>
                    </a:cubicBezTo>
                    <a:cubicBezTo>
                      <a:pt x="199" y="282"/>
                      <a:pt x="197" y="282"/>
                      <a:pt x="196" y="281"/>
                    </a:cubicBezTo>
                    <a:cubicBezTo>
                      <a:pt x="182" y="276"/>
                      <a:pt x="111" y="254"/>
                      <a:pt x="20" y="259"/>
                    </a:cubicBezTo>
                    <a:cubicBezTo>
                      <a:pt x="18" y="259"/>
                      <a:pt x="17" y="258"/>
                      <a:pt x="17" y="258"/>
                    </a:cubicBezTo>
                    <a:cubicBezTo>
                      <a:pt x="17" y="258"/>
                      <a:pt x="17" y="257"/>
                      <a:pt x="17" y="254"/>
                    </a:cubicBezTo>
                    <a:cubicBezTo>
                      <a:pt x="17" y="39"/>
                      <a:pt x="17" y="39"/>
                      <a:pt x="17" y="39"/>
                    </a:cubicBezTo>
                    <a:cubicBezTo>
                      <a:pt x="17" y="35"/>
                      <a:pt x="18" y="34"/>
                      <a:pt x="22" y="33"/>
                    </a:cubicBezTo>
                    <a:cubicBezTo>
                      <a:pt x="115" y="16"/>
                      <a:pt x="179" y="46"/>
                      <a:pt x="186" y="49"/>
                    </a:cubicBezTo>
                    <a:cubicBezTo>
                      <a:pt x="192" y="52"/>
                      <a:pt x="195" y="53"/>
                      <a:pt x="195" y="53"/>
                    </a:cubicBezTo>
                    <a:cubicBezTo>
                      <a:pt x="197" y="54"/>
                      <a:pt x="199" y="54"/>
                      <a:pt x="201" y="53"/>
                    </a:cubicBezTo>
                    <a:cubicBezTo>
                      <a:pt x="201" y="53"/>
                      <a:pt x="205" y="52"/>
                      <a:pt x="211" y="49"/>
                    </a:cubicBezTo>
                    <a:cubicBezTo>
                      <a:pt x="217" y="46"/>
                      <a:pt x="281" y="16"/>
                      <a:pt x="375" y="33"/>
                    </a:cubicBezTo>
                    <a:cubicBezTo>
                      <a:pt x="378" y="34"/>
                      <a:pt x="380" y="35"/>
                      <a:pt x="380" y="39"/>
                    </a:cubicBezTo>
                    <a:cubicBezTo>
                      <a:pt x="380" y="56"/>
                      <a:pt x="380" y="56"/>
                      <a:pt x="380" y="56"/>
                    </a:cubicBezTo>
                    <a:cubicBezTo>
                      <a:pt x="380" y="60"/>
                      <a:pt x="383" y="64"/>
                      <a:pt x="388" y="64"/>
                    </a:cubicBezTo>
                    <a:moveTo>
                      <a:pt x="389" y="299"/>
                    </a:moveTo>
                    <a:cubicBezTo>
                      <a:pt x="295" y="291"/>
                      <a:pt x="221" y="314"/>
                      <a:pt x="201" y="321"/>
                    </a:cubicBezTo>
                    <a:cubicBezTo>
                      <a:pt x="199" y="321"/>
                      <a:pt x="197" y="321"/>
                      <a:pt x="196" y="321"/>
                    </a:cubicBezTo>
                    <a:cubicBezTo>
                      <a:pt x="175" y="314"/>
                      <a:pt x="101" y="291"/>
                      <a:pt x="8" y="299"/>
                    </a:cubicBezTo>
                    <a:cubicBezTo>
                      <a:pt x="3" y="300"/>
                      <a:pt x="0" y="304"/>
                      <a:pt x="1" y="308"/>
                    </a:cubicBezTo>
                    <a:cubicBezTo>
                      <a:pt x="1" y="313"/>
                      <a:pt x="5" y="316"/>
                      <a:pt x="9" y="315"/>
                    </a:cubicBezTo>
                    <a:cubicBezTo>
                      <a:pt x="99" y="307"/>
                      <a:pt x="171" y="329"/>
                      <a:pt x="190" y="336"/>
                    </a:cubicBezTo>
                    <a:cubicBezTo>
                      <a:pt x="193" y="337"/>
                      <a:pt x="196" y="337"/>
                      <a:pt x="198" y="337"/>
                    </a:cubicBezTo>
                    <a:cubicBezTo>
                      <a:pt x="201" y="337"/>
                      <a:pt x="203" y="337"/>
                      <a:pt x="206" y="336"/>
                    </a:cubicBezTo>
                    <a:cubicBezTo>
                      <a:pt x="226" y="329"/>
                      <a:pt x="297" y="307"/>
                      <a:pt x="387" y="315"/>
                    </a:cubicBezTo>
                    <a:cubicBezTo>
                      <a:pt x="392" y="316"/>
                      <a:pt x="395" y="313"/>
                      <a:pt x="396" y="308"/>
                    </a:cubicBezTo>
                    <a:cubicBezTo>
                      <a:pt x="396" y="304"/>
                      <a:pt x="393" y="300"/>
                      <a:pt x="389" y="299"/>
                    </a:cubicBezTo>
                    <a:moveTo>
                      <a:pt x="389" y="339"/>
                    </a:moveTo>
                    <a:cubicBezTo>
                      <a:pt x="295" y="331"/>
                      <a:pt x="221" y="354"/>
                      <a:pt x="200" y="361"/>
                    </a:cubicBezTo>
                    <a:cubicBezTo>
                      <a:pt x="199" y="361"/>
                      <a:pt x="197" y="361"/>
                      <a:pt x="196" y="361"/>
                    </a:cubicBezTo>
                    <a:cubicBezTo>
                      <a:pt x="176" y="354"/>
                      <a:pt x="101" y="331"/>
                      <a:pt x="8" y="339"/>
                    </a:cubicBezTo>
                    <a:cubicBezTo>
                      <a:pt x="3" y="340"/>
                      <a:pt x="0" y="344"/>
                      <a:pt x="1" y="348"/>
                    </a:cubicBezTo>
                    <a:cubicBezTo>
                      <a:pt x="1" y="352"/>
                      <a:pt x="5" y="356"/>
                      <a:pt x="9" y="355"/>
                    </a:cubicBezTo>
                    <a:cubicBezTo>
                      <a:pt x="100" y="347"/>
                      <a:pt x="171" y="369"/>
                      <a:pt x="191" y="376"/>
                    </a:cubicBezTo>
                    <a:cubicBezTo>
                      <a:pt x="193" y="377"/>
                      <a:pt x="196" y="377"/>
                      <a:pt x="198" y="377"/>
                    </a:cubicBezTo>
                    <a:cubicBezTo>
                      <a:pt x="201" y="377"/>
                      <a:pt x="203" y="377"/>
                      <a:pt x="206" y="376"/>
                    </a:cubicBezTo>
                    <a:cubicBezTo>
                      <a:pt x="225" y="369"/>
                      <a:pt x="297" y="347"/>
                      <a:pt x="387" y="355"/>
                    </a:cubicBezTo>
                    <a:cubicBezTo>
                      <a:pt x="392" y="356"/>
                      <a:pt x="395" y="352"/>
                      <a:pt x="396" y="348"/>
                    </a:cubicBezTo>
                    <a:cubicBezTo>
                      <a:pt x="396" y="344"/>
                      <a:pt x="393" y="340"/>
                      <a:pt x="389" y="339"/>
                    </a:cubicBezTo>
                    <a:moveTo>
                      <a:pt x="180" y="210"/>
                    </a:moveTo>
                    <a:cubicBezTo>
                      <a:pt x="170" y="220"/>
                      <a:pt x="170" y="236"/>
                      <a:pt x="180" y="246"/>
                    </a:cubicBezTo>
                    <a:cubicBezTo>
                      <a:pt x="190" y="256"/>
                      <a:pt x="206" y="256"/>
                      <a:pt x="216" y="246"/>
                    </a:cubicBezTo>
                    <a:cubicBezTo>
                      <a:pt x="226" y="236"/>
                      <a:pt x="226" y="220"/>
                      <a:pt x="216" y="210"/>
                    </a:cubicBezTo>
                    <a:cubicBezTo>
                      <a:pt x="206" y="200"/>
                      <a:pt x="190" y="200"/>
                      <a:pt x="180" y="210"/>
                    </a:cubicBezTo>
                    <a:moveTo>
                      <a:pt x="237" y="190"/>
                    </a:moveTo>
                    <a:cubicBezTo>
                      <a:pt x="239" y="190"/>
                      <a:pt x="241" y="189"/>
                      <a:pt x="243" y="187"/>
                    </a:cubicBezTo>
                    <a:cubicBezTo>
                      <a:pt x="246" y="184"/>
                      <a:pt x="246" y="179"/>
                      <a:pt x="243" y="176"/>
                    </a:cubicBezTo>
                    <a:cubicBezTo>
                      <a:pt x="230" y="164"/>
                      <a:pt x="214" y="158"/>
                      <a:pt x="198" y="158"/>
                    </a:cubicBezTo>
                    <a:cubicBezTo>
                      <a:pt x="182" y="158"/>
                      <a:pt x="166" y="164"/>
                      <a:pt x="154" y="176"/>
                    </a:cubicBezTo>
                    <a:cubicBezTo>
                      <a:pt x="151" y="179"/>
                      <a:pt x="151" y="184"/>
                      <a:pt x="154" y="187"/>
                    </a:cubicBezTo>
                    <a:cubicBezTo>
                      <a:pt x="157" y="191"/>
                      <a:pt x="162" y="191"/>
                      <a:pt x="165" y="187"/>
                    </a:cubicBezTo>
                    <a:cubicBezTo>
                      <a:pt x="174" y="178"/>
                      <a:pt x="186" y="174"/>
                      <a:pt x="198" y="174"/>
                    </a:cubicBezTo>
                    <a:cubicBezTo>
                      <a:pt x="210" y="174"/>
                      <a:pt x="222" y="178"/>
                      <a:pt x="231" y="187"/>
                    </a:cubicBezTo>
                    <a:cubicBezTo>
                      <a:pt x="233" y="189"/>
                      <a:pt x="235" y="190"/>
                      <a:pt x="237" y="190"/>
                    </a:cubicBezTo>
                    <a:moveTo>
                      <a:pt x="290" y="129"/>
                    </a:moveTo>
                    <a:cubicBezTo>
                      <a:pt x="291" y="131"/>
                      <a:pt x="293" y="132"/>
                      <a:pt x="295" y="132"/>
                    </a:cubicBezTo>
                    <a:cubicBezTo>
                      <a:pt x="298" y="132"/>
                      <a:pt x="300" y="131"/>
                      <a:pt x="301" y="129"/>
                    </a:cubicBezTo>
                    <a:cubicBezTo>
                      <a:pt x="304" y="126"/>
                      <a:pt x="304" y="121"/>
                      <a:pt x="301" y="118"/>
                    </a:cubicBezTo>
                    <a:cubicBezTo>
                      <a:pt x="296" y="113"/>
                      <a:pt x="291" y="109"/>
                      <a:pt x="286" y="105"/>
                    </a:cubicBezTo>
                    <a:cubicBezTo>
                      <a:pt x="284" y="103"/>
                      <a:pt x="282" y="102"/>
                      <a:pt x="281" y="101"/>
                    </a:cubicBezTo>
                    <a:cubicBezTo>
                      <a:pt x="277" y="98"/>
                      <a:pt x="272" y="99"/>
                      <a:pt x="269" y="103"/>
                    </a:cubicBezTo>
                    <a:cubicBezTo>
                      <a:pt x="267" y="106"/>
                      <a:pt x="268" y="111"/>
                      <a:pt x="272" y="114"/>
                    </a:cubicBezTo>
                    <a:cubicBezTo>
                      <a:pt x="273" y="115"/>
                      <a:pt x="275" y="116"/>
                      <a:pt x="276" y="118"/>
                    </a:cubicBezTo>
                    <a:cubicBezTo>
                      <a:pt x="281" y="121"/>
                      <a:pt x="286" y="125"/>
                      <a:pt x="290" y="129"/>
                    </a:cubicBezTo>
                    <a:moveTo>
                      <a:pt x="245" y="100"/>
                    </a:moveTo>
                    <a:cubicBezTo>
                      <a:pt x="249" y="102"/>
                      <a:pt x="254" y="100"/>
                      <a:pt x="255" y="95"/>
                    </a:cubicBezTo>
                    <a:cubicBezTo>
                      <a:pt x="257" y="91"/>
                      <a:pt x="255" y="87"/>
                      <a:pt x="251" y="85"/>
                    </a:cubicBezTo>
                    <a:cubicBezTo>
                      <a:pt x="234" y="79"/>
                      <a:pt x="216" y="75"/>
                      <a:pt x="198" y="75"/>
                    </a:cubicBezTo>
                    <a:cubicBezTo>
                      <a:pt x="159" y="75"/>
                      <a:pt x="123" y="90"/>
                      <a:pt x="95" y="118"/>
                    </a:cubicBezTo>
                    <a:cubicBezTo>
                      <a:pt x="92" y="121"/>
                      <a:pt x="92" y="126"/>
                      <a:pt x="95" y="129"/>
                    </a:cubicBezTo>
                    <a:cubicBezTo>
                      <a:pt x="97" y="131"/>
                      <a:pt x="99" y="132"/>
                      <a:pt x="101" y="132"/>
                    </a:cubicBezTo>
                    <a:cubicBezTo>
                      <a:pt x="103" y="132"/>
                      <a:pt x="105" y="131"/>
                      <a:pt x="107" y="129"/>
                    </a:cubicBezTo>
                    <a:cubicBezTo>
                      <a:pt x="131" y="105"/>
                      <a:pt x="164" y="91"/>
                      <a:pt x="198" y="91"/>
                    </a:cubicBezTo>
                    <a:cubicBezTo>
                      <a:pt x="214" y="91"/>
                      <a:pt x="230" y="94"/>
                      <a:pt x="245" y="100"/>
                    </a:cubicBezTo>
                    <a:moveTo>
                      <a:pt x="266" y="161"/>
                    </a:moveTo>
                    <a:cubicBezTo>
                      <a:pt x="268" y="161"/>
                      <a:pt x="270" y="160"/>
                      <a:pt x="272" y="159"/>
                    </a:cubicBezTo>
                    <a:cubicBezTo>
                      <a:pt x="275" y="155"/>
                      <a:pt x="275" y="150"/>
                      <a:pt x="272" y="147"/>
                    </a:cubicBezTo>
                    <a:cubicBezTo>
                      <a:pt x="251" y="127"/>
                      <a:pt x="225" y="117"/>
                      <a:pt x="198" y="117"/>
                    </a:cubicBezTo>
                    <a:cubicBezTo>
                      <a:pt x="172" y="117"/>
                      <a:pt x="145" y="127"/>
                      <a:pt x="125" y="147"/>
                    </a:cubicBezTo>
                    <a:cubicBezTo>
                      <a:pt x="122" y="150"/>
                      <a:pt x="122" y="155"/>
                      <a:pt x="125" y="159"/>
                    </a:cubicBezTo>
                    <a:cubicBezTo>
                      <a:pt x="128" y="162"/>
                      <a:pt x="133" y="162"/>
                      <a:pt x="136" y="159"/>
                    </a:cubicBezTo>
                    <a:cubicBezTo>
                      <a:pt x="136" y="159"/>
                      <a:pt x="136" y="159"/>
                      <a:pt x="136" y="159"/>
                    </a:cubicBezTo>
                    <a:cubicBezTo>
                      <a:pt x="153" y="141"/>
                      <a:pt x="176" y="133"/>
                      <a:pt x="198" y="133"/>
                    </a:cubicBezTo>
                    <a:cubicBezTo>
                      <a:pt x="221" y="133"/>
                      <a:pt x="243" y="141"/>
                      <a:pt x="260" y="159"/>
                    </a:cubicBezTo>
                    <a:cubicBezTo>
                      <a:pt x="262" y="160"/>
                      <a:pt x="264" y="161"/>
                      <a:pt x="266" y="16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67" name="Freeform 3"/>
              <p:cNvSpPr>
                <a:spLocks noChangeAspect="1" noEditPoints="1"/>
              </p:cNvSpPr>
              <p:nvPr/>
            </p:nvSpPr>
            <p:spPr bwMode="auto">
              <a:xfrm>
                <a:off x="5588215" y="4224712"/>
                <a:ext cx="170075" cy="133327"/>
              </a:xfrm>
              <a:custGeom>
                <a:avLst/>
                <a:gdLst>
                  <a:gd name="T0" fmla="*/ 2147483647 w 430"/>
                  <a:gd name="T1" fmla="*/ 2147483647 h 344"/>
                  <a:gd name="T2" fmla="*/ 2147483647 w 430"/>
                  <a:gd name="T3" fmla="*/ 2147483647 h 344"/>
                  <a:gd name="T4" fmla="*/ 2147483647 w 430"/>
                  <a:gd name="T5" fmla="*/ 2147483647 h 344"/>
                  <a:gd name="T6" fmla="*/ 2147483647 w 430"/>
                  <a:gd name="T7" fmla="*/ 2147483647 h 344"/>
                  <a:gd name="T8" fmla="*/ 2147483647 w 430"/>
                  <a:gd name="T9" fmla="*/ 2147483647 h 344"/>
                  <a:gd name="T10" fmla="*/ 2147483647 w 430"/>
                  <a:gd name="T11" fmla="*/ 2147483647 h 344"/>
                  <a:gd name="T12" fmla="*/ 2147483647 w 430"/>
                  <a:gd name="T13" fmla="*/ 2147483647 h 344"/>
                  <a:gd name="T14" fmla="*/ 2147483647 w 430"/>
                  <a:gd name="T15" fmla="*/ 2147483647 h 344"/>
                  <a:gd name="T16" fmla="*/ 2147483647 w 430"/>
                  <a:gd name="T17" fmla="*/ 2147483647 h 344"/>
                  <a:gd name="T18" fmla="*/ 2147483647 w 430"/>
                  <a:gd name="T19" fmla="*/ 2147483647 h 344"/>
                  <a:gd name="T20" fmla="*/ 2147483647 w 430"/>
                  <a:gd name="T21" fmla="*/ 2147483647 h 344"/>
                  <a:gd name="T22" fmla="*/ 2147483647 w 430"/>
                  <a:gd name="T23" fmla="*/ 2147483647 h 344"/>
                  <a:gd name="T24" fmla="*/ 2147483647 w 430"/>
                  <a:gd name="T25" fmla="*/ 2147483647 h 344"/>
                  <a:gd name="T26" fmla="*/ 2147483647 w 430"/>
                  <a:gd name="T27" fmla="*/ 2147483647 h 344"/>
                  <a:gd name="T28" fmla="*/ 2147483647 w 430"/>
                  <a:gd name="T29" fmla="*/ 2147483647 h 344"/>
                  <a:gd name="T30" fmla="*/ 2147483647 w 430"/>
                  <a:gd name="T31" fmla="*/ 2147483647 h 344"/>
                  <a:gd name="T32" fmla="*/ 2147483647 w 430"/>
                  <a:gd name="T33" fmla="*/ 2147483647 h 344"/>
                  <a:gd name="T34" fmla="*/ 2147483647 w 430"/>
                  <a:gd name="T35" fmla="*/ 2147483647 h 344"/>
                  <a:gd name="T36" fmla="*/ 2147483647 w 430"/>
                  <a:gd name="T37" fmla="*/ 2147483647 h 344"/>
                  <a:gd name="T38" fmla="*/ 2147483647 w 430"/>
                  <a:gd name="T39" fmla="*/ 2147483647 h 344"/>
                  <a:gd name="T40" fmla="*/ 2147483647 w 430"/>
                  <a:gd name="T41" fmla="*/ 2147483647 h 344"/>
                  <a:gd name="T42" fmla="*/ 2147483647 w 430"/>
                  <a:gd name="T43" fmla="*/ 2147483647 h 344"/>
                  <a:gd name="T44" fmla="*/ 2147483647 w 430"/>
                  <a:gd name="T45" fmla="*/ 0 h 344"/>
                  <a:gd name="T46" fmla="*/ 0 w 430"/>
                  <a:gd name="T47" fmla="*/ 2147483647 h 344"/>
                  <a:gd name="T48" fmla="*/ 2147483647 w 430"/>
                  <a:gd name="T49" fmla="*/ 2147483647 h 344"/>
                  <a:gd name="T50" fmla="*/ 2147483647 w 430"/>
                  <a:gd name="T51" fmla="*/ 2147483647 h 344"/>
                  <a:gd name="T52" fmla="*/ 2147483647 w 430"/>
                  <a:gd name="T53" fmla="*/ 2147483647 h 344"/>
                  <a:gd name="T54" fmla="*/ 2147483647 w 430"/>
                  <a:gd name="T55" fmla="*/ 2147483647 h 344"/>
                  <a:gd name="T56" fmla="*/ 2147483647 w 430"/>
                  <a:gd name="T57" fmla="*/ 2147483647 h 344"/>
                  <a:gd name="T58" fmla="*/ 2147483647 w 430"/>
                  <a:gd name="T59" fmla="*/ 2147483647 h 344"/>
                  <a:gd name="T60" fmla="*/ 2147483647 w 430"/>
                  <a:gd name="T61" fmla="*/ 2147483647 h 344"/>
                  <a:gd name="T62" fmla="*/ 2147483647 w 430"/>
                  <a:gd name="T63" fmla="*/ 2147483647 h 344"/>
                  <a:gd name="T64" fmla="*/ 2147483647 w 430"/>
                  <a:gd name="T65" fmla="*/ 2147483647 h 344"/>
                  <a:gd name="T66" fmla="*/ 2147483647 w 430"/>
                  <a:gd name="T67" fmla="*/ 2147483647 h 344"/>
                  <a:gd name="T68" fmla="*/ 2147483647 w 430"/>
                  <a:gd name="T69" fmla="*/ 2147483647 h 344"/>
                  <a:gd name="T70" fmla="*/ 2147483647 w 430"/>
                  <a:gd name="T71" fmla="*/ 2147483647 h 344"/>
                  <a:gd name="T72" fmla="*/ 2147483647 w 430"/>
                  <a:gd name="T73" fmla="*/ 2147483647 h 344"/>
                  <a:gd name="T74" fmla="*/ 2147483647 w 430"/>
                  <a:gd name="T75" fmla="*/ 2147483647 h 344"/>
                  <a:gd name="T76" fmla="*/ 2147483647 w 430"/>
                  <a:gd name="T77" fmla="*/ 2147483647 h 34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430" h="344">
                    <a:moveTo>
                      <a:pt x="177" y="99"/>
                    </a:moveTo>
                    <a:cubicBezTo>
                      <a:pt x="177" y="90"/>
                      <a:pt x="169" y="82"/>
                      <a:pt x="160" y="82"/>
                    </a:cubicBezTo>
                    <a:cubicBezTo>
                      <a:pt x="139" y="82"/>
                      <a:pt x="139" y="82"/>
                      <a:pt x="139" y="82"/>
                    </a:cubicBezTo>
                    <a:cubicBezTo>
                      <a:pt x="130" y="82"/>
                      <a:pt x="122" y="90"/>
                      <a:pt x="122" y="99"/>
                    </a:cubicBezTo>
                    <a:cubicBezTo>
                      <a:pt x="122" y="118"/>
                      <a:pt x="122" y="118"/>
                      <a:pt x="122" y="118"/>
                    </a:cubicBezTo>
                    <a:cubicBezTo>
                      <a:pt x="122" y="128"/>
                      <a:pt x="130" y="135"/>
                      <a:pt x="139" y="135"/>
                    </a:cubicBezTo>
                    <a:cubicBezTo>
                      <a:pt x="160" y="135"/>
                      <a:pt x="160" y="135"/>
                      <a:pt x="160" y="135"/>
                    </a:cubicBezTo>
                    <a:cubicBezTo>
                      <a:pt x="169" y="135"/>
                      <a:pt x="177" y="128"/>
                      <a:pt x="177" y="118"/>
                    </a:cubicBezTo>
                    <a:lnTo>
                      <a:pt x="177" y="99"/>
                    </a:lnTo>
                    <a:close/>
                    <a:moveTo>
                      <a:pt x="79" y="82"/>
                    </a:moveTo>
                    <a:cubicBezTo>
                      <a:pt x="59" y="82"/>
                      <a:pt x="59" y="82"/>
                      <a:pt x="59" y="82"/>
                    </a:cubicBezTo>
                    <a:cubicBezTo>
                      <a:pt x="50" y="82"/>
                      <a:pt x="42" y="90"/>
                      <a:pt x="42" y="99"/>
                    </a:cubicBezTo>
                    <a:cubicBezTo>
                      <a:pt x="42" y="118"/>
                      <a:pt x="42" y="118"/>
                      <a:pt x="42" y="118"/>
                    </a:cubicBezTo>
                    <a:cubicBezTo>
                      <a:pt x="42" y="128"/>
                      <a:pt x="50" y="135"/>
                      <a:pt x="59" y="135"/>
                    </a:cubicBezTo>
                    <a:cubicBezTo>
                      <a:pt x="79" y="135"/>
                      <a:pt x="79" y="135"/>
                      <a:pt x="79" y="135"/>
                    </a:cubicBezTo>
                    <a:cubicBezTo>
                      <a:pt x="89" y="135"/>
                      <a:pt x="96" y="128"/>
                      <a:pt x="96" y="118"/>
                    </a:cubicBezTo>
                    <a:cubicBezTo>
                      <a:pt x="96" y="99"/>
                      <a:pt x="96" y="99"/>
                      <a:pt x="96" y="99"/>
                    </a:cubicBezTo>
                    <a:cubicBezTo>
                      <a:pt x="96" y="90"/>
                      <a:pt x="89" y="82"/>
                      <a:pt x="79" y="82"/>
                    </a:cubicBezTo>
                    <a:moveTo>
                      <a:pt x="414" y="87"/>
                    </a:moveTo>
                    <a:cubicBezTo>
                      <a:pt x="398" y="87"/>
                      <a:pt x="398" y="87"/>
                      <a:pt x="398" y="87"/>
                    </a:cubicBezTo>
                    <a:cubicBezTo>
                      <a:pt x="398" y="87"/>
                      <a:pt x="398" y="87"/>
                      <a:pt x="398" y="87"/>
                    </a:cubicBezTo>
                    <a:cubicBezTo>
                      <a:pt x="398" y="17"/>
                      <a:pt x="398" y="17"/>
                      <a:pt x="398" y="17"/>
                    </a:cubicBezTo>
                    <a:cubicBezTo>
                      <a:pt x="398" y="8"/>
                      <a:pt x="391" y="1"/>
                      <a:pt x="382" y="1"/>
                    </a:cubicBezTo>
                    <a:cubicBezTo>
                      <a:pt x="374" y="1"/>
                      <a:pt x="374" y="1"/>
                      <a:pt x="374" y="1"/>
                    </a:cubicBezTo>
                    <a:cubicBezTo>
                      <a:pt x="365" y="1"/>
                      <a:pt x="358" y="8"/>
                      <a:pt x="358" y="17"/>
                    </a:cubicBezTo>
                    <a:cubicBezTo>
                      <a:pt x="358" y="87"/>
                      <a:pt x="358" y="87"/>
                      <a:pt x="358" y="87"/>
                    </a:cubicBezTo>
                    <a:cubicBezTo>
                      <a:pt x="358" y="87"/>
                      <a:pt x="358" y="87"/>
                      <a:pt x="358" y="87"/>
                    </a:cubicBezTo>
                    <a:cubicBezTo>
                      <a:pt x="327" y="87"/>
                      <a:pt x="327" y="87"/>
                      <a:pt x="327" y="87"/>
                    </a:cubicBezTo>
                    <a:cubicBezTo>
                      <a:pt x="327" y="87"/>
                      <a:pt x="327" y="87"/>
                      <a:pt x="327" y="87"/>
                    </a:cubicBezTo>
                    <a:cubicBezTo>
                      <a:pt x="327" y="17"/>
                      <a:pt x="327" y="17"/>
                      <a:pt x="327" y="17"/>
                    </a:cubicBezTo>
                    <a:cubicBezTo>
                      <a:pt x="327" y="8"/>
                      <a:pt x="320" y="1"/>
                      <a:pt x="311" y="1"/>
                    </a:cubicBezTo>
                    <a:cubicBezTo>
                      <a:pt x="303" y="1"/>
                      <a:pt x="303" y="1"/>
                      <a:pt x="303" y="1"/>
                    </a:cubicBezTo>
                    <a:cubicBezTo>
                      <a:pt x="294" y="1"/>
                      <a:pt x="287" y="8"/>
                      <a:pt x="287" y="17"/>
                    </a:cubicBezTo>
                    <a:cubicBezTo>
                      <a:pt x="287" y="87"/>
                      <a:pt x="287" y="87"/>
                      <a:pt x="287" y="87"/>
                    </a:cubicBezTo>
                    <a:cubicBezTo>
                      <a:pt x="287" y="87"/>
                      <a:pt x="287" y="87"/>
                      <a:pt x="287" y="87"/>
                    </a:cubicBezTo>
                    <a:cubicBezTo>
                      <a:pt x="270" y="87"/>
                      <a:pt x="270" y="87"/>
                      <a:pt x="270" y="87"/>
                    </a:cubicBezTo>
                    <a:cubicBezTo>
                      <a:pt x="261" y="87"/>
                      <a:pt x="254" y="94"/>
                      <a:pt x="254" y="103"/>
                    </a:cubicBezTo>
                    <a:cubicBezTo>
                      <a:pt x="254" y="131"/>
                      <a:pt x="254" y="131"/>
                      <a:pt x="254" y="131"/>
                    </a:cubicBezTo>
                    <a:cubicBezTo>
                      <a:pt x="254" y="180"/>
                      <a:pt x="293" y="219"/>
                      <a:pt x="341" y="220"/>
                    </a:cubicBezTo>
                    <a:cubicBezTo>
                      <a:pt x="339" y="280"/>
                      <a:pt x="290" y="328"/>
                      <a:pt x="229" y="328"/>
                    </a:cubicBezTo>
                    <a:cubicBezTo>
                      <a:pt x="168" y="328"/>
                      <a:pt x="118" y="279"/>
                      <a:pt x="117" y="218"/>
                    </a:cubicBezTo>
                    <a:cubicBezTo>
                      <a:pt x="185" y="218"/>
                      <a:pt x="185" y="218"/>
                      <a:pt x="185" y="218"/>
                    </a:cubicBezTo>
                    <a:cubicBezTo>
                      <a:pt x="203" y="218"/>
                      <a:pt x="219" y="202"/>
                      <a:pt x="219" y="184"/>
                    </a:cubicBezTo>
                    <a:cubicBezTo>
                      <a:pt x="219" y="34"/>
                      <a:pt x="219" y="34"/>
                      <a:pt x="219" y="34"/>
                    </a:cubicBezTo>
                    <a:cubicBezTo>
                      <a:pt x="219" y="15"/>
                      <a:pt x="203" y="0"/>
                      <a:pt x="185" y="0"/>
                    </a:cubicBezTo>
                    <a:cubicBezTo>
                      <a:pt x="34" y="0"/>
                      <a:pt x="34" y="0"/>
                      <a:pt x="34" y="0"/>
                    </a:cubicBezTo>
                    <a:cubicBezTo>
                      <a:pt x="15" y="0"/>
                      <a:pt x="0" y="15"/>
                      <a:pt x="0" y="34"/>
                    </a:cubicBezTo>
                    <a:cubicBezTo>
                      <a:pt x="0" y="184"/>
                      <a:pt x="0" y="184"/>
                      <a:pt x="0" y="184"/>
                    </a:cubicBezTo>
                    <a:cubicBezTo>
                      <a:pt x="0" y="202"/>
                      <a:pt x="15" y="218"/>
                      <a:pt x="34" y="218"/>
                    </a:cubicBezTo>
                    <a:cubicBezTo>
                      <a:pt x="101" y="218"/>
                      <a:pt x="101" y="218"/>
                      <a:pt x="101" y="218"/>
                    </a:cubicBezTo>
                    <a:cubicBezTo>
                      <a:pt x="102" y="287"/>
                      <a:pt x="159" y="344"/>
                      <a:pt x="229" y="344"/>
                    </a:cubicBezTo>
                    <a:cubicBezTo>
                      <a:pt x="299" y="344"/>
                      <a:pt x="356" y="288"/>
                      <a:pt x="357" y="218"/>
                    </a:cubicBezTo>
                    <a:cubicBezTo>
                      <a:pt x="390" y="213"/>
                      <a:pt x="418" y="188"/>
                      <a:pt x="427" y="155"/>
                    </a:cubicBezTo>
                    <a:cubicBezTo>
                      <a:pt x="428" y="151"/>
                      <a:pt x="426" y="147"/>
                      <a:pt x="422" y="145"/>
                    </a:cubicBezTo>
                    <a:cubicBezTo>
                      <a:pt x="417" y="144"/>
                      <a:pt x="413" y="147"/>
                      <a:pt x="412" y="151"/>
                    </a:cubicBezTo>
                    <a:cubicBezTo>
                      <a:pt x="403" y="182"/>
                      <a:pt x="374" y="204"/>
                      <a:pt x="342" y="204"/>
                    </a:cubicBezTo>
                    <a:cubicBezTo>
                      <a:pt x="302" y="204"/>
                      <a:pt x="270" y="171"/>
                      <a:pt x="270" y="131"/>
                    </a:cubicBezTo>
                    <a:cubicBezTo>
                      <a:pt x="270" y="103"/>
                      <a:pt x="270" y="103"/>
                      <a:pt x="270" y="103"/>
                    </a:cubicBezTo>
                    <a:cubicBezTo>
                      <a:pt x="414" y="103"/>
                      <a:pt x="414" y="103"/>
                      <a:pt x="414" y="103"/>
                    </a:cubicBezTo>
                    <a:cubicBezTo>
                      <a:pt x="414" y="121"/>
                      <a:pt x="414" y="121"/>
                      <a:pt x="414" y="121"/>
                    </a:cubicBezTo>
                    <a:cubicBezTo>
                      <a:pt x="414" y="126"/>
                      <a:pt x="418" y="129"/>
                      <a:pt x="422" y="129"/>
                    </a:cubicBezTo>
                    <a:cubicBezTo>
                      <a:pt x="427" y="129"/>
                      <a:pt x="430" y="126"/>
                      <a:pt x="430" y="121"/>
                    </a:cubicBezTo>
                    <a:cubicBezTo>
                      <a:pt x="430" y="103"/>
                      <a:pt x="430" y="103"/>
                      <a:pt x="430" y="103"/>
                    </a:cubicBezTo>
                    <a:cubicBezTo>
                      <a:pt x="430" y="94"/>
                      <a:pt x="423" y="87"/>
                      <a:pt x="414" y="87"/>
                    </a:cubicBezTo>
                    <a:moveTo>
                      <a:pt x="17" y="109"/>
                    </a:moveTo>
                    <a:cubicBezTo>
                      <a:pt x="17" y="58"/>
                      <a:pt x="58" y="16"/>
                      <a:pt x="109" y="16"/>
                    </a:cubicBezTo>
                    <a:cubicBezTo>
                      <a:pt x="161" y="16"/>
                      <a:pt x="202" y="58"/>
                      <a:pt x="202" y="109"/>
                    </a:cubicBezTo>
                    <a:cubicBezTo>
                      <a:pt x="202" y="160"/>
                      <a:pt x="161" y="201"/>
                      <a:pt x="109" y="201"/>
                    </a:cubicBezTo>
                    <a:cubicBezTo>
                      <a:pt x="58" y="201"/>
                      <a:pt x="17" y="160"/>
                      <a:pt x="17" y="109"/>
                    </a:cubicBezTo>
                    <a:moveTo>
                      <a:pt x="311" y="87"/>
                    </a:moveTo>
                    <a:cubicBezTo>
                      <a:pt x="303" y="87"/>
                      <a:pt x="303" y="87"/>
                      <a:pt x="303" y="87"/>
                    </a:cubicBezTo>
                    <a:cubicBezTo>
                      <a:pt x="303" y="17"/>
                      <a:pt x="303" y="17"/>
                      <a:pt x="303" y="17"/>
                    </a:cubicBezTo>
                    <a:cubicBezTo>
                      <a:pt x="311" y="17"/>
                      <a:pt x="311" y="17"/>
                      <a:pt x="311" y="17"/>
                    </a:cubicBezTo>
                    <a:lnTo>
                      <a:pt x="311" y="87"/>
                    </a:lnTo>
                    <a:close/>
                    <a:moveTo>
                      <a:pt x="382" y="87"/>
                    </a:moveTo>
                    <a:cubicBezTo>
                      <a:pt x="374" y="87"/>
                      <a:pt x="374" y="87"/>
                      <a:pt x="374" y="87"/>
                    </a:cubicBezTo>
                    <a:cubicBezTo>
                      <a:pt x="374" y="17"/>
                      <a:pt x="374" y="17"/>
                      <a:pt x="374" y="17"/>
                    </a:cubicBezTo>
                    <a:cubicBezTo>
                      <a:pt x="382" y="17"/>
                      <a:pt x="382" y="17"/>
                      <a:pt x="382" y="17"/>
                    </a:cubicBezTo>
                    <a:lnTo>
                      <a:pt x="382"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68" name="Freeform 3"/>
              <p:cNvSpPr>
                <a:spLocks noChangeAspect="1" noEditPoints="1"/>
              </p:cNvSpPr>
              <p:nvPr/>
            </p:nvSpPr>
            <p:spPr bwMode="auto">
              <a:xfrm>
                <a:off x="5277972" y="4057887"/>
                <a:ext cx="178956" cy="114795"/>
              </a:xfrm>
              <a:custGeom>
                <a:avLst/>
                <a:gdLst>
                  <a:gd name="T0" fmla="*/ 2147483647 w 452"/>
                  <a:gd name="T1" fmla="*/ 2147483647 h 296"/>
                  <a:gd name="T2" fmla="*/ 2147483647 w 452"/>
                  <a:gd name="T3" fmla="*/ 2147483647 h 296"/>
                  <a:gd name="T4" fmla="*/ 2147483647 w 452"/>
                  <a:gd name="T5" fmla="*/ 2147483647 h 296"/>
                  <a:gd name="T6" fmla="*/ 2147483647 w 452"/>
                  <a:gd name="T7" fmla="*/ 2147483647 h 296"/>
                  <a:gd name="T8" fmla="*/ 2147483647 w 452"/>
                  <a:gd name="T9" fmla="*/ 2147483647 h 296"/>
                  <a:gd name="T10" fmla="*/ 2147483647 w 452"/>
                  <a:gd name="T11" fmla="*/ 2147483647 h 296"/>
                  <a:gd name="T12" fmla="*/ 2147483647 w 452"/>
                  <a:gd name="T13" fmla="*/ 2147483647 h 296"/>
                  <a:gd name="T14" fmla="*/ 2147483647 w 452"/>
                  <a:gd name="T15" fmla="*/ 2147483647 h 296"/>
                  <a:gd name="T16" fmla="*/ 2147483647 w 452"/>
                  <a:gd name="T17" fmla="*/ 0 h 296"/>
                  <a:gd name="T18" fmla="*/ 2147483647 w 452"/>
                  <a:gd name="T19" fmla="*/ 2147483647 h 296"/>
                  <a:gd name="T20" fmla="*/ 2147483647 w 452"/>
                  <a:gd name="T21" fmla="*/ 2147483647 h 296"/>
                  <a:gd name="T22" fmla="*/ 2147483647 w 452"/>
                  <a:gd name="T23" fmla="*/ 2147483647 h 296"/>
                  <a:gd name="T24" fmla="*/ 0 w 452"/>
                  <a:gd name="T25" fmla="*/ 2147483647 h 296"/>
                  <a:gd name="T26" fmla="*/ 2147483647 w 452"/>
                  <a:gd name="T27" fmla="*/ 2147483647 h 296"/>
                  <a:gd name="T28" fmla="*/ 2147483647 w 452"/>
                  <a:gd name="T29" fmla="*/ 2147483647 h 296"/>
                  <a:gd name="T30" fmla="*/ 2147483647 w 452"/>
                  <a:gd name="T31" fmla="*/ 2147483647 h 296"/>
                  <a:gd name="T32" fmla="*/ 2147483647 w 452"/>
                  <a:gd name="T33" fmla="*/ 2147483647 h 296"/>
                  <a:gd name="T34" fmla="*/ 2147483647 w 452"/>
                  <a:gd name="T35" fmla="*/ 2147483647 h 296"/>
                  <a:gd name="T36" fmla="*/ 2147483647 w 452"/>
                  <a:gd name="T37" fmla="*/ 2147483647 h 296"/>
                  <a:gd name="T38" fmla="*/ 2147483647 w 452"/>
                  <a:gd name="T39" fmla="*/ 2147483647 h 296"/>
                  <a:gd name="T40" fmla="*/ 2147483647 w 452"/>
                  <a:gd name="T41" fmla="*/ 2147483647 h 296"/>
                  <a:gd name="T42" fmla="*/ 2147483647 w 452"/>
                  <a:gd name="T43" fmla="*/ 2147483647 h 296"/>
                  <a:gd name="T44" fmla="*/ 2147483647 w 452"/>
                  <a:gd name="T45" fmla="*/ 2147483647 h 296"/>
                  <a:gd name="T46" fmla="*/ 2147483647 w 452"/>
                  <a:gd name="T47" fmla="*/ 2147483647 h 296"/>
                  <a:gd name="T48" fmla="*/ 2147483647 w 452"/>
                  <a:gd name="T49" fmla="*/ 2147483647 h 296"/>
                  <a:gd name="T50" fmla="*/ 2147483647 w 452"/>
                  <a:gd name="T51" fmla="*/ 2147483647 h 296"/>
                  <a:gd name="T52" fmla="*/ 2147483647 w 452"/>
                  <a:gd name="T53" fmla="*/ 2147483647 h 296"/>
                  <a:gd name="T54" fmla="*/ 2147483647 w 452"/>
                  <a:gd name="T55" fmla="*/ 2147483647 h 296"/>
                  <a:gd name="T56" fmla="*/ 2147483647 w 452"/>
                  <a:gd name="T57" fmla="*/ 2147483647 h 296"/>
                  <a:gd name="T58" fmla="*/ 2147483647 w 452"/>
                  <a:gd name="T59" fmla="*/ 2147483647 h 296"/>
                  <a:gd name="T60" fmla="*/ 2147483647 w 452"/>
                  <a:gd name="T61" fmla="*/ 2147483647 h 296"/>
                  <a:gd name="T62" fmla="*/ 2147483647 w 452"/>
                  <a:gd name="T63" fmla="*/ 2147483647 h 29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452" h="296">
                    <a:moveTo>
                      <a:pt x="438" y="249"/>
                    </a:moveTo>
                    <a:cubicBezTo>
                      <a:pt x="421" y="249"/>
                      <a:pt x="421" y="249"/>
                      <a:pt x="421" y="249"/>
                    </a:cubicBezTo>
                    <a:cubicBezTo>
                      <a:pt x="421" y="249"/>
                      <a:pt x="421" y="248"/>
                      <a:pt x="421" y="248"/>
                    </a:cubicBezTo>
                    <a:cubicBezTo>
                      <a:pt x="421" y="70"/>
                      <a:pt x="421" y="70"/>
                      <a:pt x="421" y="70"/>
                    </a:cubicBezTo>
                    <a:cubicBezTo>
                      <a:pt x="421" y="65"/>
                      <a:pt x="418" y="62"/>
                      <a:pt x="413" y="62"/>
                    </a:cubicBezTo>
                    <a:cubicBezTo>
                      <a:pt x="409" y="62"/>
                      <a:pt x="405" y="65"/>
                      <a:pt x="405" y="70"/>
                    </a:cubicBezTo>
                    <a:cubicBezTo>
                      <a:pt x="405" y="248"/>
                      <a:pt x="405" y="248"/>
                      <a:pt x="405" y="248"/>
                    </a:cubicBezTo>
                    <a:cubicBezTo>
                      <a:pt x="405" y="248"/>
                      <a:pt x="406" y="249"/>
                      <a:pt x="406" y="249"/>
                    </a:cubicBezTo>
                    <a:cubicBezTo>
                      <a:pt x="47" y="249"/>
                      <a:pt x="47" y="249"/>
                      <a:pt x="47" y="249"/>
                    </a:cubicBezTo>
                    <a:cubicBezTo>
                      <a:pt x="47" y="228"/>
                      <a:pt x="47" y="228"/>
                      <a:pt x="47" y="228"/>
                    </a:cubicBezTo>
                    <a:cubicBezTo>
                      <a:pt x="47" y="211"/>
                      <a:pt x="47" y="211"/>
                      <a:pt x="47" y="211"/>
                    </a:cubicBezTo>
                    <a:cubicBezTo>
                      <a:pt x="47" y="16"/>
                      <a:pt x="47" y="16"/>
                      <a:pt x="47" y="16"/>
                    </a:cubicBezTo>
                    <a:cubicBezTo>
                      <a:pt x="405" y="16"/>
                      <a:pt x="405" y="16"/>
                      <a:pt x="405" y="16"/>
                    </a:cubicBezTo>
                    <a:cubicBezTo>
                      <a:pt x="405" y="37"/>
                      <a:pt x="405" y="37"/>
                      <a:pt x="405" y="37"/>
                    </a:cubicBezTo>
                    <a:cubicBezTo>
                      <a:pt x="405" y="42"/>
                      <a:pt x="409" y="45"/>
                      <a:pt x="413" y="45"/>
                    </a:cubicBezTo>
                    <a:cubicBezTo>
                      <a:pt x="418" y="45"/>
                      <a:pt x="421" y="42"/>
                      <a:pt x="421" y="37"/>
                    </a:cubicBezTo>
                    <a:cubicBezTo>
                      <a:pt x="421" y="14"/>
                      <a:pt x="421" y="14"/>
                      <a:pt x="421" y="14"/>
                    </a:cubicBezTo>
                    <a:cubicBezTo>
                      <a:pt x="421" y="6"/>
                      <a:pt x="415" y="0"/>
                      <a:pt x="408" y="0"/>
                    </a:cubicBezTo>
                    <a:cubicBezTo>
                      <a:pt x="45" y="0"/>
                      <a:pt x="45" y="0"/>
                      <a:pt x="45" y="0"/>
                    </a:cubicBezTo>
                    <a:cubicBezTo>
                      <a:pt x="37" y="0"/>
                      <a:pt x="31" y="6"/>
                      <a:pt x="31" y="14"/>
                    </a:cubicBezTo>
                    <a:cubicBezTo>
                      <a:pt x="31" y="211"/>
                      <a:pt x="31" y="211"/>
                      <a:pt x="31" y="211"/>
                    </a:cubicBezTo>
                    <a:cubicBezTo>
                      <a:pt x="31" y="228"/>
                      <a:pt x="31" y="228"/>
                      <a:pt x="31" y="228"/>
                    </a:cubicBezTo>
                    <a:cubicBezTo>
                      <a:pt x="31" y="249"/>
                      <a:pt x="31" y="249"/>
                      <a:pt x="31" y="249"/>
                    </a:cubicBezTo>
                    <a:cubicBezTo>
                      <a:pt x="14" y="249"/>
                      <a:pt x="14" y="249"/>
                      <a:pt x="14" y="249"/>
                    </a:cubicBezTo>
                    <a:cubicBezTo>
                      <a:pt x="7" y="249"/>
                      <a:pt x="0" y="255"/>
                      <a:pt x="0" y="263"/>
                    </a:cubicBezTo>
                    <a:cubicBezTo>
                      <a:pt x="0" y="282"/>
                      <a:pt x="0" y="282"/>
                      <a:pt x="0" y="282"/>
                    </a:cubicBezTo>
                    <a:cubicBezTo>
                      <a:pt x="0" y="289"/>
                      <a:pt x="7" y="296"/>
                      <a:pt x="14" y="296"/>
                    </a:cubicBezTo>
                    <a:cubicBezTo>
                      <a:pt x="438" y="296"/>
                      <a:pt x="438" y="296"/>
                      <a:pt x="438" y="296"/>
                    </a:cubicBezTo>
                    <a:cubicBezTo>
                      <a:pt x="446" y="296"/>
                      <a:pt x="452" y="289"/>
                      <a:pt x="452" y="282"/>
                    </a:cubicBezTo>
                    <a:cubicBezTo>
                      <a:pt x="452" y="263"/>
                      <a:pt x="452" y="263"/>
                      <a:pt x="452" y="263"/>
                    </a:cubicBezTo>
                    <a:cubicBezTo>
                      <a:pt x="452" y="255"/>
                      <a:pt x="446" y="249"/>
                      <a:pt x="438" y="249"/>
                    </a:cubicBezTo>
                    <a:close/>
                    <a:moveTo>
                      <a:pt x="436" y="280"/>
                    </a:moveTo>
                    <a:cubicBezTo>
                      <a:pt x="16" y="280"/>
                      <a:pt x="16" y="280"/>
                      <a:pt x="16" y="280"/>
                    </a:cubicBezTo>
                    <a:cubicBezTo>
                      <a:pt x="16" y="265"/>
                      <a:pt x="16" y="265"/>
                      <a:pt x="16" y="265"/>
                    </a:cubicBezTo>
                    <a:cubicBezTo>
                      <a:pt x="184" y="265"/>
                      <a:pt x="184" y="265"/>
                      <a:pt x="184" y="265"/>
                    </a:cubicBezTo>
                    <a:cubicBezTo>
                      <a:pt x="185" y="268"/>
                      <a:pt x="188" y="271"/>
                      <a:pt x="191" y="271"/>
                    </a:cubicBezTo>
                    <a:cubicBezTo>
                      <a:pt x="260" y="271"/>
                      <a:pt x="260" y="271"/>
                      <a:pt x="260" y="271"/>
                    </a:cubicBezTo>
                    <a:cubicBezTo>
                      <a:pt x="264" y="271"/>
                      <a:pt x="267" y="268"/>
                      <a:pt x="268" y="265"/>
                    </a:cubicBezTo>
                    <a:cubicBezTo>
                      <a:pt x="436" y="265"/>
                      <a:pt x="436" y="265"/>
                      <a:pt x="436" y="265"/>
                    </a:cubicBezTo>
                    <a:lnTo>
                      <a:pt x="436" y="280"/>
                    </a:lnTo>
                    <a:close/>
                    <a:moveTo>
                      <a:pt x="261" y="78"/>
                    </a:moveTo>
                    <a:cubicBezTo>
                      <a:pt x="261" y="65"/>
                      <a:pt x="250" y="55"/>
                      <a:pt x="237" y="55"/>
                    </a:cubicBezTo>
                    <a:cubicBezTo>
                      <a:pt x="224" y="55"/>
                      <a:pt x="214" y="65"/>
                      <a:pt x="214" y="78"/>
                    </a:cubicBezTo>
                    <a:cubicBezTo>
                      <a:pt x="214" y="91"/>
                      <a:pt x="224" y="102"/>
                      <a:pt x="237" y="102"/>
                    </a:cubicBezTo>
                    <a:cubicBezTo>
                      <a:pt x="250" y="102"/>
                      <a:pt x="261" y="91"/>
                      <a:pt x="261" y="78"/>
                    </a:cubicBezTo>
                    <a:close/>
                    <a:moveTo>
                      <a:pt x="146" y="136"/>
                    </a:moveTo>
                    <a:cubicBezTo>
                      <a:pt x="146" y="196"/>
                      <a:pt x="146" y="196"/>
                      <a:pt x="146" y="196"/>
                    </a:cubicBezTo>
                    <a:cubicBezTo>
                      <a:pt x="146" y="207"/>
                      <a:pt x="154" y="216"/>
                      <a:pt x="165" y="216"/>
                    </a:cubicBezTo>
                    <a:cubicBezTo>
                      <a:pt x="247" y="216"/>
                      <a:pt x="247" y="216"/>
                      <a:pt x="247" y="216"/>
                    </a:cubicBezTo>
                    <a:cubicBezTo>
                      <a:pt x="258" y="216"/>
                      <a:pt x="266" y="207"/>
                      <a:pt x="266" y="196"/>
                    </a:cubicBezTo>
                    <a:cubicBezTo>
                      <a:pt x="266" y="180"/>
                      <a:pt x="266" y="180"/>
                      <a:pt x="266" y="180"/>
                    </a:cubicBezTo>
                    <a:cubicBezTo>
                      <a:pt x="277" y="188"/>
                      <a:pt x="294" y="202"/>
                      <a:pt x="298" y="204"/>
                    </a:cubicBezTo>
                    <a:cubicBezTo>
                      <a:pt x="302" y="208"/>
                      <a:pt x="307" y="207"/>
                      <a:pt x="307" y="200"/>
                    </a:cubicBezTo>
                    <a:cubicBezTo>
                      <a:pt x="307" y="198"/>
                      <a:pt x="307" y="139"/>
                      <a:pt x="307" y="137"/>
                    </a:cubicBezTo>
                    <a:cubicBezTo>
                      <a:pt x="307" y="130"/>
                      <a:pt x="302" y="129"/>
                      <a:pt x="298" y="133"/>
                    </a:cubicBezTo>
                    <a:cubicBezTo>
                      <a:pt x="297" y="133"/>
                      <a:pt x="277" y="149"/>
                      <a:pt x="266" y="157"/>
                    </a:cubicBezTo>
                    <a:cubicBezTo>
                      <a:pt x="266" y="136"/>
                      <a:pt x="266" y="136"/>
                      <a:pt x="266" y="136"/>
                    </a:cubicBezTo>
                    <a:cubicBezTo>
                      <a:pt x="266" y="125"/>
                      <a:pt x="258" y="116"/>
                      <a:pt x="247" y="116"/>
                    </a:cubicBezTo>
                    <a:cubicBezTo>
                      <a:pt x="165" y="116"/>
                      <a:pt x="165" y="116"/>
                      <a:pt x="165" y="116"/>
                    </a:cubicBezTo>
                    <a:cubicBezTo>
                      <a:pt x="154" y="116"/>
                      <a:pt x="146" y="125"/>
                      <a:pt x="146" y="136"/>
                    </a:cubicBezTo>
                    <a:close/>
                    <a:moveTo>
                      <a:pt x="201" y="78"/>
                    </a:moveTo>
                    <a:cubicBezTo>
                      <a:pt x="201" y="65"/>
                      <a:pt x="190" y="55"/>
                      <a:pt x="178" y="55"/>
                    </a:cubicBezTo>
                    <a:cubicBezTo>
                      <a:pt x="165" y="55"/>
                      <a:pt x="154" y="65"/>
                      <a:pt x="154" y="78"/>
                    </a:cubicBezTo>
                    <a:cubicBezTo>
                      <a:pt x="154" y="91"/>
                      <a:pt x="165" y="102"/>
                      <a:pt x="178" y="102"/>
                    </a:cubicBezTo>
                    <a:cubicBezTo>
                      <a:pt x="190" y="102"/>
                      <a:pt x="201" y="91"/>
                      <a:pt x="201"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69" name="Freeform 3"/>
              <p:cNvSpPr>
                <a:spLocks noChangeAspect="1" noEditPoints="1"/>
              </p:cNvSpPr>
              <p:nvPr/>
            </p:nvSpPr>
            <p:spPr bwMode="auto">
              <a:xfrm>
                <a:off x="4447899" y="4023159"/>
                <a:ext cx="141925" cy="112500"/>
              </a:xfrm>
              <a:custGeom>
                <a:avLst/>
                <a:gdLst>
                  <a:gd name="T0" fmla="*/ 2147483647 w 359"/>
                  <a:gd name="T1" fmla="*/ 0 h 290"/>
                  <a:gd name="T2" fmla="*/ 2147483647 w 359"/>
                  <a:gd name="T3" fmla="*/ 2147483647 h 290"/>
                  <a:gd name="T4" fmla="*/ 2147483647 w 359"/>
                  <a:gd name="T5" fmla="*/ 2147483647 h 290"/>
                  <a:gd name="T6" fmla="*/ 2147483647 w 359"/>
                  <a:gd name="T7" fmla="*/ 2147483647 h 290"/>
                  <a:gd name="T8" fmla="*/ 2147483647 w 359"/>
                  <a:gd name="T9" fmla="*/ 2147483647 h 290"/>
                  <a:gd name="T10" fmla="*/ 2147483647 w 359"/>
                  <a:gd name="T11" fmla="*/ 2147483647 h 290"/>
                  <a:gd name="T12" fmla="*/ 2147483647 w 359"/>
                  <a:gd name="T13" fmla="*/ 2147483647 h 290"/>
                  <a:gd name="T14" fmla="*/ 2147483647 w 359"/>
                  <a:gd name="T15" fmla="*/ 2147483647 h 290"/>
                  <a:gd name="T16" fmla="*/ 2147483647 w 359"/>
                  <a:gd name="T17" fmla="*/ 2147483647 h 290"/>
                  <a:gd name="T18" fmla="*/ 2147483647 w 359"/>
                  <a:gd name="T19" fmla="*/ 2147483647 h 290"/>
                  <a:gd name="T20" fmla="*/ 2147483647 w 359"/>
                  <a:gd name="T21" fmla="*/ 2147483647 h 290"/>
                  <a:gd name="T22" fmla="*/ 2147483647 w 359"/>
                  <a:gd name="T23" fmla="*/ 2147483647 h 290"/>
                  <a:gd name="T24" fmla="*/ 2147483647 w 359"/>
                  <a:gd name="T25" fmla="*/ 2147483647 h 290"/>
                  <a:gd name="T26" fmla="*/ 2147483647 w 359"/>
                  <a:gd name="T27" fmla="*/ 2147483647 h 290"/>
                  <a:gd name="T28" fmla="*/ 2147483647 w 359"/>
                  <a:gd name="T29" fmla="*/ 2147483647 h 290"/>
                  <a:gd name="T30" fmla="*/ 2147483647 w 359"/>
                  <a:gd name="T31" fmla="*/ 2147483647 h 290"/>
                  <a:gd name="T32" fmla="*/ 2147483647 w 359"/>
                  <a:gd name="T33" fmla="*/ 2147483647 h 290"/>
                  <a:gd name="T34" fmla="*/ 2147483647 w 359"/>
                  <a:gd name="T35" fmla="*/ 2147483647 h 290"/>
                  <a:gd name="T36" fmla="*/ 2147483647 w 359"/>
                  <a:gd name="T37" fmla="*/ 2147483647 h 290"/>
                  <a:gd name="T38" fmla="*/ 2147483647 w 359"/>
                  <a:gd name="T39" fmla="*/ 2147483647 h 290"/>
                  <a:gd name="T40" fmla="*/ 2147483647 w 359"/>
                  <a:gd name="T41" fmla="*/ 2147483647 h 290"/>
                  <a:gd name="T42" fmla="*/ 2147483647 w 359"/>
                  <a:gd name="T43" fmla="*/ 2147483647 h 290"/>
                  <a:gd name="T44" fmla="*/ 2147483647 w 359"/>
                  <a:gd name="T45" fmla="*/ 2147483647 h 290"/>
                  <a:gd name="T46" fmla="*/ 2147483647 w 359"/>
                  <a:gd name="T47" fmla="*/ 2147483647 h 290"/>
                  <a:gd name="T48" fmla="*/ 2147483647 w 359"/>
                  <a:gd name="T49" fmla="*/ 2147483647 h 290"/>
                  <a:gd name="T50" fmla="*/ 2147483647 w 359"/>
                  <a:gd name="T51" fmla="*/ 2147483647 h 290"/>
                  <a:gd name="T52" fmla="*/ 2147483647 w 359"/>
                  <a:gd name="T53" fmla="*/ 2147483647 h 290"/>
                  <a:gd name="T54" fmla="*/ 2147483647 w 359"/>
                  <a:gd name="T55" fmla="*/ 2147483647 h 290"/>
                  <a:gd name="T56" fmla="*/ 2147483647 w 359"/>
                  <a:gd name="T57" fmla="*/ 2147483647 h 290"/>
                  <a:gd name="T58" fmla="*/ 2147483647 w 359"/>
                  <a:gd name="T59" fmla="*/ 2147483647 h 290"/>
                  <a:gd name="T60" fmla="*/ 2147483647 w 359"/>
                  <a:gd name="T61" fmla="*/ 2147483647 h 290"/>
                  <a:gd name="T62" fmla="*/ 2147483647 w 359"/>
                  <a:gd name="T63" fmla="*/ 2147483647 h 290"/>
                  <a:gd name="T64" fmla="*/ 2147483647 w 359"/>
                  <a:gd name="T65" fmla="*/ 2147483647 h 290"/>
                  <a:gd name="T66" fmla="*/ 2147483647 w 359"/>
                  <a:gd name="T67" fmla="*/ 2147483647 h 290"/>
                  <a:gd name="T68" fmla="*/ 2147483647 w 359"/>
                  <a:gd name="T69" fmla="*/ 2147483647 h 290"/>
                  <a:gd name="T70" fmla="*/ 2147483647 w 359"/>
                  <a:gd name="T71" fmla="*/ 2147483647 h 29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359" h="290">
                    <a:moveTo>
                      <a:pt x="337" y="0"/>
                    </a:moveTo>
                    <a:cubicBezTo>
                      <a:pt x="312" y="0"/>
                      <a:pt x="312" y="0"/>
                      <a:pt x="312" y="0"/>
                    </a:cubicBezTo>
                    <a:cubicBezTo>
                      <a:pt x="299" y="0"/>
                      <a:pt x="286" y="10"/>
                      <a:pt x="284" y="23"/>
                    </a:cubicBezTo>
                    <a:cubicBezTo>
                      <a:pt x="279" y="49"/>
                      <a:pt x="279" y="49"/>
                      <a:pt x="279" y="49"/>
                    </a:cubicBezTo>
                    <a:cubicBezTo>
                      <a:pt x="275" y="46"/>
                      <a:pt x="270" y="44"/>
                      <a:pt x="264" y="44"/>
                    </a:cubicBezTo>
                    <a:cubicBezTo>
                      <a:pt x="28" y="44"/>
                      <a:pt x="28" y="44"/>
                      <a:pt x="28" y="44"/>
                    </a:cubicBezTo>
                    <a:cubicBezTo>
                      <a:pt x="20" y="44"/>
                      <a:pt x="12" y="48"/>
                      <a:pt x="7" y="54"/>
                    </a:cubicBezTo>
                    <a:cubicBezTo>
                      <a:pt x="2" y="60"/>
                      <a:pt x="0" y="68"/>
                      <a:pt x="1" y="76"/>
                    </a:cubicBezTo>
                    <a:cubicBezTo>
                      <a:pt x="20" y="191"/>
                      <a:pt x="20" y="191"/>
                      <a:pt x="20" y="191"/>
                    </a:cubicBezTo>
                    <a:cubicBezTo>
                      <a:pt x="22" y="204"/>
                      <a:pt x="34" y="215"/>
                      <a:pt x="48" y="215"/>
                    </a:cubicBezTo>
                    <a:cubicBezTo>
                      <a:pt x="241" y="215"/>
                      <a:pt x="241" y="215"/>
                      <a:pt x="241" y="215"/>
                    </a:cubicBezTo>
                    <a:cubicBezTo>
                      <a:pt x="244" y="215"/>
                      <a:pt x="246" y="214"/>
                      <a:pt x="249" y="214"/>
                    </a:cubicBezTo>
                    <a:cubicBezTo>
                      <a:pt x="245" y="233"/>
                      <a:pt x="242" y="249"/>
                      <a:pt x="242" y="249"/>
                    </a:cubicBezTo>
                    <a:cubicBezTo>
                      <a:pt x="242" y="250"/>
                      <a:pt x="240" y="252"/>
                      <a:pt x="238" y="252"/>
                    </a:cubicBezTo>
                    <a:cubicBezTo>
                      <a:pt x="234" y="252"/>
                      <a:pt x="234" y="252"/>
                      <a:pt x="234" y="252"/>
                    </a:cubicBezTo>
                    <a:cubicBezTo>
                      <a:pt x="231" y="240"/>
                      <a:pt x="220" y="231"/>
                      <a:pt x="206" y="231"/>
                    </a:cubicBezTo>
                    <a:cubicBezTo>
                      <a:pt x="193" y="231"/>
                      <a:pt x="182" y="240"/>
                      <a:pt x="178" y="252"/>
                    </a:cubicBezTo>
                    <a:cubicBezTo>
                      <a:pt x="89" y="252"/>
                      <a:pt x="89" y="252"/>
                      <a:pt x="89" y="252"/>
                    </a:cubicBezTo>
                    <a:cubicBezTo>
                      <a:pt x="86" y="240"/>
                      <a:pt x="75" y="231"/>
                      <a:pt x="61" y="231"/>
                    </a:cubicBezTo>
                    <a:cubicBezTo>
                      <a:pt x="45" y="231"/>
                      <a:pt x="32" y="244"/>
                      <a:pt x="32" y="260"/>
                    </a:cubicBezTo>
                    <a:cubicBezTo>
                      <a:pt x="32" y="277"/>
                      <a:pt x="45" y="290"/>
                      <a:pt x="61" y="290"/>
                    </a:cubicBezTo>
                    <a:cubicBezTo>
                      <a:pt x="75" y="290"/>
                      <a:pt x="86" y="281"/>
                      <a:pt x="90" y="268"/>
                    </a:cubicBezTo>
                    <a:cubicBezTo>
                      <a:pt x="178" y="268"/>
                      <a:pt x="178" y="268"/>
                      <a:pt x="178" y="268"/>
                    </a:cubicBezTo>
                    <a:cubicBezTo>
                      <a:pt x="182" y="281"/>
                      <a:pt x="193" y="290"/>
                      <a:pt x="206" y="290"/>
                    </a:cubicBezTo>
                    <a:cubicBezTo>
                      <a:pt x="220" y="290"/>
                      <a:pt x="231" y="281"/>
                      <a:pt x="234" y="268"/>
                    </a:cubicBezTo>
                    <a:cubicBezTo>
                      <a:pt x="238" y="268"/>
                      <a:pt x="238" y="268"/>
                      <a:pt x="238" y="268"/>
                    </a:cubicBezTo>
                    <a:cubicBezTo>
                      <a:pt x="248" y="268"/>
                      <a:pt x="256" y="261"/>
                      <a:pt x="258" y="252"/>
                    </a:cubicBezTo>
                    <a:cubicBezTo>
                      <a:pt x="262" y="229"/>
                      <a:pt x="266" y="210"/>
                      <a:pt x="268" y="195"/>
                    </a:cubicBezTo>
                    <a:cubicBezTo>
                      <a:pt x="269" y="194"/>
                      <a:pt x="269" y="193"/>
                      <a:pt x="269" y="191"/>
                    </a:cubicBezTo>
                    <a:cubicBezTo>
                      <a:pt x="281" y="127"/>
                      <a:pt x="281" y="127"/>
                      <a:pt x="281" y="127"/>
                    </a:cubicBezTo>
                    <a:cubicBezTo>
                      <a:pt x="281" y="126"/>
                      <a:pt x="281" y="125"/>
                      <a:pt x="281" y="123"/>
                    </a:cubicBezTo>
                    <a:cubicBezTo>
                      <a:pt x="280" y="122"/>
                      <a:pt x="280" y="121"/>
                      <a:pt x="279" y="120"/>
                    </a:cubicBezTo>
                    <a:cubicBezTo>
                      <a:pt x="278" y="120"/>
                      <a:pt x="278" y="119"/>
                      <a:pt x="277" y="119"/>
                    </a:cubicBezTo>
                    <a:cubicBezTo>
                      <a:pt x="276" y="118"/>
                      <a:pt x="275" y="118"/>
                      <a:pt x="274" y="118"/>
                    </a:cubicBezTo>
                    <a:cubicBezTo>
                      <a:pt x="270" y="117"/>
                      <a:pt x="266" y="120"/>
                      <a:pt x="265" y="124"/>
                    </a:cubicBezTo>
                    <a:cubicBezTo>
                      <a:pt x="265" y="124"/>
                      <a:pt x="265" y="124"/>
                      <a:pt x="265" y="124"/>
                    </a:cubicBezTo>
                    <a:cubicBezTo>
                      <a:pt x="265" y="125"/>
                      <a:pt x="259" y="159"/>
                      <a:pt x="253" y="191"/>
                    </a:cubicBezTo>
                    <a:cubicBezTo>
                      <a:pt x="251" y="195"/>
                      <a:pt x="246" y="199"/>
                      <a:pt x="241" y="199"/>
                    </a:cubicBezTo>
                    <a:cubicBezTo>
                      <a:pt x="48" y="199"/>
                      <a:pt x="48" y="199"/>
                      <a:pt x="48" y="199"/>
                    </a:cubicBezTo>
                    <a:cubicBezTo>
                      <a:pt x="42" y="199"/>
                      <a:pt x="37" y="194"/>
                      <a:pt x="36" y="189"/>
                    </a:cubicBezTo>
                    <a:cubicBezTo>
                      <a:pt x="17" y="73"/>
                      <a:pt x="17" y="73"/>
                      <a:pt x="17" y="73"/>
                    </a:cubicBezTo>
                    <a:cubicBezTo>
                      <a:pt x="17" y="70"/>
                      <a:pt x="17" y="66"/>
                      <a:pt x="19" y="64"/>
                    </a:cubicBezTo>
                    <a:cubicBezTo>
                      <a:pt x="21" y="62"/>
                      <a:pt x="25" y="60"/>
                      <a:pt x="28" y="60"/>
                    </a:cubicBezTo>
                    <a:cubicBezTo>
                      <a:pt x="264" y="60"/>
                      <a:pt x="264" y="60"/>
                      <a:pt x="264" y="60"/>
                    </a:cubicBezTo>
                    <a:cubicBezTo>
                      <a:pt x="268" y="60"/>
                      <a:pt x="271" y="62"/>
                      <a:pt x="273" y="64"/>
                    </a:cubicBezTo>
                    <a:cubicBezTo>
                      <a:pt x="275" y="66"/>
                      <a:pt x="275" y="69"/>
                      <a:pt x="275" y="72"/>
                    </a:cubicBezTo>
                    <a:cubicBezTo>
                      <a:pt x="271" y="93"/>
                      <a:pt x="271" y="93"/>
                      <a:pt x="271" y="93"/>
                    </a:cubicBezTo>
                    <a:cubicBezTo>
                      <a:pt x="271" y="93"/>
                      <a:pt x="271" y="93"/>
                      <a:pt x="271" y="93"/>
                    </a:cubicBezTo>
                    <a:cubicBezTo>
                      <a:pt x="270" y="97"/>
                      <a:pt x="273" y="102"/>
                      <a:pt x="277" y="102"/>
                    </a:cubicBezTo>
                    <a:cubicBezTo>
                      <a:pt x="282" y="103"/>
                      <a:pt x="286" y="100"/>
                      <a:pt x="287" y="96"/>
                    </a:cubicBezTo>
                    <a:cubicBezTo>
                      <a:pt x="290" y="76"/>
                      <a:pt x="290" y="76"/>
                      <a:pt x="290" y="76"/>
                    </a:cubicBezTo>
                    <a:cubicBezTo>
                      <a:pt x="291" y="76"/>
                      <a:pt x="291" y="75"/>
                      <a:pt x="291" y="75"/>
                    </a:cubicBezTo>
                    <a:cubicBezTo>
                      <a:pt x="300" y="26"/>
                      <a:pt x="300" y="26"/>
                      <a:pt x="300" y="26"/>
                    </a:cubicBezTo>
                    <a:cubicBezTo>
                      <a:pt x="301" y="20"/>
                      <a:pt x="307" y="16"/>
                      <a:pt x="312" y="16"/>
                    </a:cubicBezTo>
                    <a:cubicBezTo>
                      <a:pt x="337" y="16"/>
                      <a:pt x="337" y="16"/>
                      <a:pt x="337" y="16"/>
                    </a:cubicBezTo>
                    <a:cubicBezTo>
                      <a:pt x="341" y="16"/>
                      <a:pt x="343" y="19"/>
                      <a:pt x="343" y="22"/>
                    </a:cubicBezTo>
                    <a:cubicBezTo>
                      <a:pt x="343" y="27"/>
                      <a:pt x="338" y="27"/>
                      <a:pt x="337" y="27"/>
                    </a:cubicBezTo>
                    <a:cubicBezTo>
                      <a:pt x="322" y="27"/>
                      <a:pt x="322" y="27"/>
                      <a:pt x="322" y="27"/>
                    </a:cubicBezTo>
                    <a:cubicBezTo>
                      <a:pt x="318" y="27"/>
                      <a:pt x="314" y="31"/>
                      <a:pt x="314" y="35"/>
                    </a:cubicBezTo>
                    <a:cubicBezTo>
                      <a:pt x="314" y="40"/>
                      <a:pt x="318" y="43"/>
                      <a:pt x="322" y="43"/>
                    </a:cubicBezTo>
                    <a:cubicBezTo>
                      <a:pt x="337" y="43"/>
                      <a:pt x="337" y="43"/>
                      <a:pt x="337" y="43"/>
                    </a:cubicBezTo>
                    <a:cubicBezTo>
                      <a:pt x="350" y="43"/>
                      <a:pt x="359" y="35"/>
                      <a:pt x="359" y="22"/>
                    </a:cubicBezTo>
                    <a:cubicBezTo>
                      <a:pt x="359" y="10"/>
                      <a:pt x="349" y="0"/>
                      <a:pt x="337" y="0"/>
                    </a:cubicBezTo>
                    <a:close/>
                    <a:moveTo>
                      <a:pt x="61" y="274"/>
                    </a:moveTo>
                    <a:cubicBezTo>
                      <a:pt x="54" y="274"/>
                      <a:pt x="48" y="268"/>
                      <a:pt x="48" y="260"/>
                    </a:cubicBezTo>
                    <a:cubicBezTo>
                      <a:pt x="48" y="253"/>
                      <a:pt x="54" y="247"/>
                      <a:pt x="61" y="247"/>
                    </a:cubicBezTo>
                    <a:cubicBezTo>
                      <a:pt x="69" y="247"/>
                      <a:pt x="75" y="253"/>
                      <a:pt x="75" y="260"/>
                    </a:cubicBezTo>
                    <a:cubicBezTo>
                      <a:pt x="75" y="268"/>
                      <a:pt x="69" y="274"/>
                      <a:pt x="61" y="274"/>
                    </a:cubicBezTo>
                    <a:close/>
                    <a:moveTo>
                      <a:pt x="206" y="274"/>
                    </a:moveTo>
                    <a:cubicBezTo>
                      <a:pt x="199" y="274"/>
                      <a:pt x="193" y="268"/>
                      <a:pt x="193" y="260"/>
                    </a:cubicBezTo>
                    <a:cubicBezTo>
                      <a:pt x="193" y="253"/>
                      <a:pt x="199" y="247"/>
                      <a:pt x="206" y="247"/>
                    </a:cubicBezTo>
                    <a:cubicBezTo>
                      <a:pt x="214" y="247"/>
                      <a:pt x="219" y="253"/>
                      <a:pt x="219" y="260"/>
                    </a:cubicBezTo>
                    <a:cubicBezTo>
                      <a:pt x="219" y="268"/>
                      <a:pt x="214" y="274"/>
                      <a:pt x="206" y="2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70" name="Freeform 3"/>
              <p:cNvSpPr>
                <a:spLocks noChangeAspect="1" noEditPoints="1"/>
              </p:cNvSpPr>
              <p:nvPr/>
            </p:nvSpPr>
            <p:spPr bwMode="auto">
              <a:xfrm>
                <a:off x="5371017" y="4597794"/>
                <a:ext cx="177279" cy="80519"/>
              </a:xfrm>
              <a:custGeom>
                <a:avLst/>
                <a:gdLst>
                  <a:gd name="T0" fmla="*/ 2147483647 w 448"/>
                  <a:gd name="T1" fmla="*/ 2147483647 h 208"/>
                  <a:gd name="T2" fmla="*/ 2147483647 w 448"/>
                  <a:gd name="T3" fmla="*/ 2147483647 h 208"/>
                  <a:gd name="T4" fmla="*/ 2147483647 w 448"/>
                  <a:gd name="T5" fmla="*/ 2147483647 h 208"/>
                  <a:gd name="T6" fmla="*/ 2147483647 w 448"/>
                  <a:gd name="T7" fmla="*/ 2147483647 h 208"/>
                  <a:gd name="T8" fmla="*/ 2147483647 w 448"/>
                  <a:gd name="T9" fmla="*/ 2147483647 h 208"/>
                  <a:gd name="T10" fmla="*/ 2147483647 w 448"/>
                  <a:gd name="T11" fmla="*/ 2147483647 h 208"/>
                  <a:gd name="T12" fmla="*/ 2147483647 w 448"/>
                  <a:gd name="T13" fmla="*/ 2147483647 h 208"/>
                  <a:gd name="T14" fmla="*/ 2147483647 w 448"/>
                  <a:gd name="T15" fmla="*/ 2147483647 h 208"/>
                  <a:gd name="T16" fmla="*/ 2147483647 w 448"/>
                  <a:gd name="T17" fmla="*/ 2147483647 h 208"/>
                  <a:gd name="T18" fmla="*/ 2147483647 w 448"/>
                  <a:gd name="T19" fmla="*/ 2147483647 h 208"/>
                  <a:gd name="T20" fmla="*/ 2147483647 w 448"/>
                  <a:gd name="T21" fmla="*/ 2147483647 h 208"/>
                  <a:gd name="T22" fmla="*/ 2147483647 w 448"/>
                  <a:gd name="T23" fmla="*/ 2147483647 h 208"/>
                  <a:gd name="T24" fmla="*/ 2147483647 w 448"/>
                  <a:gd name="T25" fmla="*/ 2147483647 h 208"/>
                  <a:gd name="T26" fmla="*/ 2147483647 w 448"/>
                  <a:gd name="T27" fmla="*/ 2147483647 h 208"/>
                  <a:gd name="T28" fmla="*/ 2147483647 w 448"/>
                  <a:gd name="T29" fmla="*/ 2147483647 h 208"/>
                  <a:gd name="T30" fmla="*/ 2147483647 w 448"/>
                  <a:gd name="T31" fmla="*/ 2147483647 h 208"/>
                  <a:gd name="T32" fmla="*/ 2147483647 w 448"/>
                  <a:gd name="T33" fmla="*/ 2147483647 h 208"/>
                  <a:gd name="T34" fmla="*/ 2147483647 w 448"/>
                  <a:gd name="T35" fmla="*/ 2147483647 h 208"/>
                  <a:gd name="T36" fmla="*/ 2147483647 w 448"/>
                  <a:gd name="T37" fmla="*/ 2147483647 h 208"/>
                  <a:gd name="T38" fmla="*/ 2147483647 w 448"/>
                  <a:gd name="T39" fmla="*/ 2147483647 h 208"/>
                  <a:gd name="T40" fmla="*/ 2147483647 w 448"/>
                  <a:gd name="T41" fmla="*/ 2147483647 h 208"/>
                  <a:gd name="T42" fmla="*/ 2147483647 w 448"/>
                  <a:gd name="T43" fmla="*/ 2147483647 h 208"/>
                  <a:gd name="T44" fmla="*/ 2147483647 w 448"/>
                  <a:gd name="T45" fmla="*/ 2147483647 h 208"/>
                  <a:gd name="T46" fmla="*/ 2147483647 w 448"/>
                  <a:gd name="T47" fmla="*/ 2147483647 h 208"/>
                  <a:gd name="T48" fmla="*/ 2147483647 w 448"/>
                  <a:gd name="T49" fmla="*/ 2147483647 h 208"/>
                  <a:gd name="T50" fmla="*/ 2147483647 w 448"/>
                  <a:gd name="T51" fmla="*/ 2147483647 h 208"/>
                  <a:gd name="T52" fmla="*/ 2147483647 w 448"/>
                  <a:gd name="T53" fmla="*/ 2147483647 h 208"/>
                  <a:gd name="T54" fmla="*/ 2147483647 w 448"/>
                  <a:gd name="T55" fmla="*/ 2147483647 h 208"/>
                  <a:gd name="T56" fmla="*/ 2147483647 w 448"/>
                  <a:gd name="T57" fmla="*/ 2147483647 h 208"/>
                  <a:gd name="T58" fmla="*/ 2147483647 w 448"/>
                  <a:gd name="T59" fmla="*/ 2147483647 h 208"/>
                  <a:gd name="T60" fmla="*/ 2147483647 w 448"/>
                  <a:gd name="T61" fmla="*/ 2147483647 h 208"/>
                  <a:gd name="T62" fmla="*/ 2147483647 w 448"/>
                  <a:gd name="T63" fmla="*/ 2147483647 h 208"/>
                  <a:gd name="T64" fmla="*/ 2147483647 w 448"/>
                  <a:gd name="T65" fmla="*/ 2147483647 h 20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448" h="208">
                    <a:moveTo>
                      <a:pt x="447" y="114"/>
                    </a:moveTo>
                    <a:cubicBezTo>
                      <a:pt x="446" y="110"/>
                      <a:pt x="442" y="107"/>
                      <a:pt x="438" y="108"/>
                    </a:cubicBezTo>
                    <a:cubicBezTo>
                      <a:pt x="433" y="109"/>
                      <a:pt x="431" y="114"/>
                      <a:pt x="432" y="118"/>
                    </a:cubicBezTo>
                    <a:cubicBezTo>
                      <a:pt x="432" y="120"/>
                      <a:pt x="432" y="122"/>
                      <a:pt x="432" y="125"/>
                    </a:cubicBezTo>
                    <a:cubicBezTo>
                      <a:pt x="432" y="142"/>
                      <a:pt x="428" y="154"/>
                      <a:pt x="423" y="161"/>
                    </a:cubicBezTo>
                    <a:cubicBezTo>
                      <a:pt x="420" y="164"/>
                      <a:pt x="418" y="167"/>
                      <a:pt x="417" y="169"/>
                    </a:cubicBezTo>
                    <a:cubicBezTo>
                      <a:pt x="416" y="169"/>
                      <a:pt x="416" y="169"/>
                      <a:pt x="416" y="169"/>
                    </a:cubicBezTo>
                    <a:cubicBezTo>
                      <a:pt x="408" y="169"/>
                      <a:pt x="408" y="169"/>
                      <a:pt x="408" y="169"/>
                    </a:cubicBezTo>
                    <a:cubicBezTo>
                      <a:pt x="408" y="167"/>
                      <a:pt x="408" y="165"/>
                      <a:pt x="408" y="163"/>
                    </a:cubicBezTo>
                    <a:cubicBezTo>
                      <a:pt x="408" y="139"/>
                      <a:pt x="388" y="119"/>
                      <a:pt x="363" y="119"/>
                    </a:cubicBezTo>
                    <a:cubicBezTo>
                      <a:pt x="339" y="119"/>
                      <a:pt x="319" y="139"/>
                      <a:pt x="319" y="163"/>
                    </a:cubicBezTo>
                    <a:cubicBezTo>
                      <a:pt x="319" y="165"/>
                      <a:pt x="319" y="167"/>
                      <a:pt x="319" y="169"/>
                    </a:cubicBezTo>
                    <a:cubicBezTo>
                      <a:pt x="141" y="169"/>
                      <a:pt x="141" y="169"/>
                      <a:pt x="141" y="169"/>
                    </a:cubicBezTo>
                    <a:cubicBezTo>
                      <a:pt x="141" y="167"/>
                      <a:pt x="141" y="165"/>
                      <a:pt x="141" y="163"/>
                    </a:cubicBezTo>
                    <a:cubicBezTo>
                      <a:pt x="141" y="139"/>
                      <a:pt x="121" y="119"/>
                      <a:pt x="96" y="119"/>
                    </a:cubicBezTo>
                    <a:cubicBezTo>
                      <a:pt x="72" y="119"/>
                      <a:pt x="52" y="139"/>
                      <a:pt x="52" y="163"/>
                    </a:cubicBezTo>
                    <a:cubicBezTo>
                      <a:pt x="52" y="165"/>
                      <a:pt x="52" y="167"/>
                      <a:pt x="52" y="169"/>
                    </a:cubicBezTo>
                    <a:cubicBezTo>
                      <a:pt x="29" y="169"/>
                      <a:pt x="29" y="169"/>
                      <a:pt x="29" y="169"/>
                    </a:cubicBezTo>
                    <a:cubicBezTo>
                      <a:pt x="23" y="169"/>
                      <a:pt x="22" y="167"/>
                      <a:pt x="19" y="163"/>
                    </a:cubicBezTo>
                    <a:cubicBezTo>
                      <a:pt x="17" y="159"/>
                      <a:pt x="16" y="152"/>
                      <a:pt x="16" y="147"/>
                    </a:cubicBezTo>
                    <a:cubicBezTo>
                      <a:pt x="16" y="136"/>
                      <a:pt x="21" y="126"/>
                      <a:pt x="31" y="118"/>
                    </a:cubicBezTo>
                    <a:cubicBezTo>
                      <a:pt x="44" y="105"/>
                      <a:pt x="67" y="96"/>
                      <a:pt x="86" y="90"/>
                    </a:cubicBezTo>
                    <a:cubicBezTo>
                      <a:pt x="95" y="87"/>
                      <a:pt x="103" y="85"/>
                      <a:pt x="110" y="84"/>
                    </a:cubicBezTo>
                    <a:cubicBezTo>
                      <a:pt x="114" y="83"/>
                      <a:pt x="117" y="82"/>
                      <a:pt x="119" y="82"/>
                    </a:cubicBezTo>
                    <a:cubicBezTo>
                      <a:pt x="384" y="82"/>
                      <a:pt x="384" y="82"/>
                      <a:pt x="384" y="82"/>
                    </a:cubicBezTo>
                    <a:cubicBezTo>
                      <a:pt x="385" y="82"/>
                      <a:pt x="386" y="82"/>
                      <a:pt x="387" y="83"/>
                    </a:cubicBezTo>
                    <a:cubicBezTo>
                      <a:pt x="392" y="84"/>
                      <a:pt x="406" y="89"/>
                      <a:pt x="417" y="97"/>
                    </a:cubicBezTo>
                    <a:cubicBezTo>
                      <a:pt x="420" y="100"/>
                      <a:pt x="425" y="99"/>
                      <a:pt x="428" y="95"/>
                    </a:cubicBezTo>
                    <a:cubicBezTo>
                      <a:pt x="431" y="92"/>
                      <a:pt x="430" y="87"/>
                      <a:pt x="426" y="84"/>
                    </a:cubicBezTo>
                    <a:cubicBezTo>
                      <a:pt x="412" y="74"/>
                      <a:pt x="397" y="69"/>
                      <a:pt x="390" y="67"/>
                    </a:cubicBezTo>
                    <a:cubicBezTo>
                      <a:pt x="381" y="55"/>
                      <a:pt x="333" y="0"/>
                      <a:pt x="248" y="0"/>
                    </a:cubicBezTo>
                    <a:cubicBezTo>
                      <a:pt x="165" y="0"/>
                      <a:pt x="123" y="53"/>
                      <a:pt x="113" y="67"/>
                    </a:cubicBezTo>
                    <a:cubicBezTo>
                      <a:pt x="105" y="68"/>
                      <a:pt x="83" y="73"/>
                      <a:pt x="60" y="82"/>
                    </a:cubicBezTo>
                    <a:cubicBezTo>
                      <a:pt x="46" y="88"/>
                      <a:pt x="31" y="96"/>
                      <a:pt x="20" y="106"/>
                    </a:cubicBezTo>
                    <a:cubicBezTo>
                      <a:pt x="8" y="116"/>
                      <a:pt x="0" y="130"/>
                      <a:pt x="0" y="147"/>
                    </a:cubicBezTo>
                    <a:cubicBezTo>
                      <a:pt x="0" y="153"/>
                      <a:pt x="1" y="162"/>
                      <a:pt x="5" y="170"/>
                    </a:cubicBezTo>
                    <a:cubicBezTo>
                      <a:pt x="8" y="178"/>
                      <a:pt x="17" y="185"/>
                      <a:pt x="29" y="185"/>
                    </a:cubicBezTo>
                    <a:cubicBezTo>
                      <a:pt x="57" y="185"/>
                      <a:pt x="57" y="185"/>
                      <a:pt x="57" y="185"/>
                    </a:cubicBezTo>
                    <a:cubicBezTo>
                      <a:pt x="65" y="199"/>
                      <a:pt x="80" y="208"/>
                      <a:pt x="96" y="208"/>
                    </a:cubicBezTo>
                    <a:cubicBezTo>
                      <a:pt x="113" y="208"/>
                      <a:pt x="128" y="199"/>
                      <a:pt x="135" y="185"/>
                    </a:cubicBezTo>
                    <a:cubicBezTo>
                      <a:pt x="324" y="185"/>
                      <a:pt x="324" y="185"/>
                      <a:pt x="324" y="185"/>
                    </a:cubicBezTo>
                    <a:cubicBezTo>
                      <a:pt x="332" y="199"/>
                      <a:pt x="347" y="208"/>
                      <a:pt x="363" y="208"/>
                    </a:cubicBezTo>
                    <a:cubicBezTo>
                      <a:pt x="380" y="208"/>
                      <a:pt x="395" y="199"/>
                      <a:pt x="402" y="185"/>
                    </a:cubicBezTo>
                    <a:cubicBezTo>
                      <a:pt x="402" y="185"/>
                      <a:pt x="402" y="185"/>
                      <a:pt x="402" y="185"/>
                    </a:cubicBezTo>
                    <a:cubicBezTo>
                      <a:pt x="419" y="185"/>
                      <a:pt x="419" y="185"/>
                      <a:pt x="419" y="185"/>
                    </a:cubicBezTo>
                    <a:cubicBezTo>
                      <a:pt x="420" y="185"/>
                      <a:pt x="422" y="185"/>
                      <a:pt x="423" y="184"/>
                    </a:cubicBezTo>
                    <a:cubicBezTo>
                      <a:pt x="424" y="183"/>
                      <a:pt x="448" y="166"/>
                      <a:pt x="448" y="125"/>
                    </a:cubicBezTo>
                    <a:cubicBezTo>
                      <a:pt x="448" y="121"/>
                      <a:pt x="448" y="117"/>
                      <a:pt x="447" y="114"/>
                    </a:cubicBezTo>
                    <a:close/>
                    <a:moveTo>
                      <a:pt x="256" y="16"/>
                    </a:moveTo>
                    <a:cubicBezTo>
                      <a:pt x="296" y="18"/>
                      <a:pt x="326" y="32"/>
                      <a:pt x="346" y="47"/>
                    </a:cubicBezTo>
                    <a:cubicBezTo>
                      <a:pt x="356" y="54"/>
                      <a:pt x="363" y="60"/>
                      <a:pt x="368" y="66"/>
                    </a:cubicBezTo>
                    <a:cubicBezTo>
                      <a:pt x="256" y="66"/>
                      <a:pt x="256" y="66"/>
                      <a:pt x="256" y="66"/>
                    </a:cubicBezTo>
                    <a:lnTo>
                      <a:pt x="256" y="16"/>
                    </a:lnTo>
                    <a:close/>
                    <a:moveTo>
                      <a:pt x="240" y="16"/>
                    </a:moveTo>
                    <a:cubicBezTo>
                      <a:pt x="240" y="66"/>
                      <a:pt x="240" y="66"/>
                      <a:pt x="240" y="66"/>
                    </a:cubicBezTo>
                    <a:cubicBezTo>
                      <a:pt x="134" y="66"/>
                      <a:pt x="134" y="66"/>
                      <a:pt x="134" y="66"/>
                    </a:cubicBezTo>
                    <a:cubicBezTo>
                      <a:pt x="149" y="49"/>
                      <a:pt x="183" y="18"/>
                      <a:pt x="240" y="16"/>
                    </a:cubicBezTo>
                    <a:close/>
                    <a:moveTo>
                      <a:pt x="96" y="192"/>
                    </a:moveTo>
                    <a:cubicBezTo>
                      <a:pt x="80" y="192"/>
                      <a:pt x="68" y="179"/>
                      <a:pt x="68" y="163"/>
                    </a:cubicBezTo>
                    <a:cubicBezTo>
                      <a:pt x="68" y="148"/>
                      <a:pt x="80" y="135"/>
                      <a:pt x="96" y="135"/>
                    </a:cubicBezTo>
                    <a:cubicBezTo>
                      <a:pt x="112" y="135"/>
                      <a:pt x="125" y="148"/>
                      <a:pt x="125" y="163"/>
                    </a:cubicBezTo>
                    <a:cubicBezTo>
                      <a:pt x="125" y="179"/>
                      <a:pt x="112" y="192"/>
                      <a:pt x="96" y="192"/>
                    </a:cubicBezTo>
                    <a:close/>
                    <a:moveTo>
                      <a:pt x="363" y="192"/>
                    </a:moveTo>
                    <a:cubicBezTo>
                      <a:pt x="348" y="192"/>
                      <a:pt x="335" y="179"/>
                      <a:pt x="335" y="163"/>
                    </a:cubicBezTo>
                    <a:cubicBezTo>
                      <a:pt x="335" y="148"/>
                      <a:pt x="348" y="135"/>
                      <a:pt x="363" y="135"/>
                    </a:cubicBezTo>
                    <a:cubicBezTo>
                      <a:pt x="379" y="135"/>
                      <a:pt x="392" y="148"/>
                      <a:pt x="392" y="163"/>
                    </a:cubicBezTo>
                    <a:cubicBezTo>
                      <a:pt x="392" y="179"/>
                      <a:pt x="379" y="192"/>
                      <a:pt x="363" y="1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71" name="Freeform 3"/>
              <p:cNvSpPr>
                <a:spLocks noChangeAspect="1" noEditPoints="1"/>
              </p:cNvSpPr>
              <p:nvPr/>
            </p:nvSpPr>
            <p:spPr bwMode="auto">
              <a:xfrm>
                <a:off x="5887661" y="4235104"/>
                <a:ext cx="198561" cy="105776"/>
              </a:xfrm>
              <a:custGeom>
                <a:avLst/>
                <a:gdLst>
                  <a:gd name="T0" fmla="*/ 2147483647 w 502"/>
                  <a:gd name="T1" fmla="*/ 2147483647 h 273"/>
                  <a:gd name="T2" fmla="*/ 2147483647 w 502"/>
                  <a:gd name="T3" fmla="*/ 2147483647 h 273"/>
                  <a:gd name="T4" fmla="*/ 2147483647 w 502"/>
                  <a:gd name="T5" fmla="*/ 2147483647 h 273"/>
                  <a:gd name="T6" fmla="*/ 2147483647 w 502"/>
                  <a:gd name="T7" fmla="*/ 2147483647 h 273"/>
                  <a:gd name="T8" fmla="*/ 2147483647 w 502"/>
                  <a:gd name="T9" fmla="*/ 2147483647 h 273"/>
                  <a:gd name="T10" fmla="*/ 2147483647 w 502"/>
                  <a:gd name="T11" fmla="*/ 2147483647 h 273"/>
                  <a:gd name="T12" fmla="*/ 2147483647 w 502"/>
                  <a:gd name="T13" fmla="*/ 2147483647 h 273"/>
                  <a:gd name="T14" fmla="*/ 2147483647 w 502"/>
                  <a:gd name="T15" fmla="*/ 2147483647 h 273"/>
                  <a:gd name="T16" fmla="*/ 2147483647 w 502"/>
                  <a:gd name="T17" fmla="*/ 2147483647 h 273"/>
                  <a:gd name="T18" fmla="*/ 2147483647 w 502"/>
                  <a:gd name="T19" fmla="*/ 2147483647 h 273"/>
                  <a:gd name="T20" fmla="*/ 2147483647 w 502"/>
                  <a:gd name="T21" fmla="*/ 2147483647 h 273"/>
                  <a:gd name="T22" fmla="*/ 2147483647 w 502"/>
                  <a:gd name="T23" fmla="*/ 0 h 273"/>
                  <a:gd name="T24" fmla="*/ 2147483647 w 502"/>
                  <a:gd name="T25" fmla="*/ 2147483647 h 273"/>
                  <a:gd name="T26" fmla="*/ 2147483647 w 502"/>
                  <a:gd name="T27" fmla="*/ 2147483647 h 273"/>
                  <a:gd name="T28" fmla="*/ 0 w 502"/>
                  <a:gd name="T29" fmla="*/ 2147483647 h 273"/>
                  <a:gd name="T30" fmla="*/ 2147483647 w 502"/>
                  <a:gd name="T31" fmla="*/ 2147483647 h 273"/>
                  <a:gd name="T32" fmla="*/ 2147483647 w 502"/>
                  <a:gd name="T33" fmla="*/ 2147483647 h 273"/>
                  <a:gd name="T34" fmla="*/ 2147483647 w 502"/>
                  <a:gd name="T35" fmla="*/ 2147483647 h 273"/>
                  <a:gd name="T36" fmla="*/ 2147483647 w 502"/>
                  <a:gd name="T37" fmla="*/ 2147483647 h 273"/>
                  <a:gd name="T38" fmla="*/ 2147483647 w 502"/>
                  <a:gd name="T39" fmla="*/ 2147483647 h 273"/>
                  <a:gd name="T40" fmla="*/ 2147483647 w 502"/>
                  <a:gd name="T41" fmla="*/ 2147483647 h 273"/>
                  <a:gd name="T42" fmla="*/ 2147483647 w 502"/>
                  <a:gd name="T43" fmla="*/ 2147483647 h 273"/>
                  <a:gd name="T44" fmla="*/ 2147483647 w 502"/>
                  <a:gd name="T45" fmla="*/ 2147483647 h 273"/>
                  <a:gd name="T46" fmla="*/ 2147483647 w 502"/>
                  <a:gd name="T47" fmla="*/ 2147483647 h 273"/>
                  <a:gd name="T48" fmla="*/ 2147483647 w 502"/>
                  <a:gd name="T49" fmla="*/ 2147483647 h 273"/>
                  <a:gd name="T50" fmla="*/ 2147483647 w 502"/>
                  <a:gd name="T51" fmla="*/ 2147483647 h 273"/>
                  <a:gd name="T52" fmla="*/ 2147483647 w 502"/>
                  <a:gd name="T53" fmla="*/ 2147483647 h 273"/>
                  <a:gd name="T54" fmla="*/ 2147483647 w 502"/>
                  <a:gd name="T55" fmla="*/ 2147483647 h 273"/>
                  <a:gd name="T56" fmla="*/ 2147483647 w 502"/>
                  <a:gd name="T57" fmla="*/ 2147483647 h 273"/>
                  <a:gd name="T58" fmla="*/ 2147483647 w 502"/>
                  <a:gd name="T59" fmla="*/ 2147483647 h 273"/>
                  <a:gd name="T60" fmla="*/ 2147483647 w 502"/>
                  <a:gd name="T61" fmla="*/ 2147483647 h 273"/>
                  <a:gd name="T62" fmla="*/ 2147483647 w 502"/>
                  <a:gd name="T63" fmla="*/ 2147483647 h 273"/>
                  <a:gd name="T64" fmla="*/ 2147483647 w 502"/>
                  <a:gd name="T65" fmla="*/ 2147483647 h 273"/>
                  <a:gd name="T66" fmla="*/ 2147483647 w 502"/>
                  <a:gd name="T67" fmla="*/ 2147483647 h 273"/>
                  <a:gd name="T68" fmla="*/ 2147483647 w 502"/>
                  <a:gd name="T69" fmla="*/ 2147483647 h 273"/>
                  <a:gd name="T70" fmla="*/ 2147483647 w 502"/>
                  <a:gd name="T71" fmla="*/ 2147483647 h 273"/>
                  <a:gd name="T72" fmla="*/ 2147483647 w 502"/>
                  <a:gd name="T73" fmla="*/ 2147483647 h 273"/>
                  <a:gd name="T74" fmla="*/ 2147483647 w 502"/>
                  <a:gd name="T75" fmla="*/ 2147483647 h 273"/>
                  <a:gd name="T76" fmla="*/ 2147483647 w 502"/>
                  <a:gd name="T77" fmla="*/ 2147483647 h 273"/>
                  <a:gd name="T78" fmla="*/ 2147483647 w 502"/>
                  <a:gd name="T79" fmla="*/ 2147483647 h 273"/>
                  <a:gd name="T80" fmla="*/ 2147483647 w 502"/>
                  <a:gd name="T81" fmla="*/ 2147483647 h 273"/>
                  <a:gd name="T82" fmla="*/ 2147483647 w 502"/>
                  <a:gd name="T83" fmla="*/ 2147483647 h 273"/>
                  <a:gd name="T84" fmla="*/ 2147483647 w 502"/>
                  <a:gd name="T85" fmla="*/ 2147483647 h 27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02" h="273">
                    <a:moveTo>
                      <a:pt x="500" y="150"/>
                    </a:moveTo>
                    <a:cubicBezTo>
                      <a:pt x="498" y="148"/>
                      <a:pt x="496" y="147"/>
                      <a:pt x="494" y="147"/>
                    </a:cubicBezTo>
                    <a:cubicBezTo>
                      <a:pt x="480" y="147"/>
                      <a:pt x="480" y="147"/>
                      <a:pt x="480" y="147"/>
                    </a:cubicBezTo>
                    <a:cubicBezTo>
                      <a:pt x="480" y="91"/>
                      <a:pt x="480" y="91"/>
                      <a:pt x="480" y="91"/>
                    </a:cubicBezTo>
                    <a:cubicBezTo>
                      <a:pt x="480" y="87"/>
                      <a:pt x="477" y="83"/>
                      <a:pt x="472" y="83"/>
                    </a:cubicBezTo>
                    <a:cubicBezTo>
                      <a:pt x="468" y="83"/>
                      <a:pt x="464" y="87"/>
                      <a:pt x="464" y="91"/>
                    </a:cubicBezTo>
                    <a:cubicBezTo>
                      <a:pt x="464" y="147"/>
                      <a:pt x="464" y="147"/>
                      <a:pt x="464" y="147"/>
                    </a:cubicBezTo>
                    <a:cubicBezTo>
                      <a:pt x="352" y="147"/>
                      <a:pt x="352" y="147"/>
                      <a:pt x="352" y="147"/>
                    </a:cubicBezTo>
                    <a:cubicBezTo>
                      <a:pt x="352" y="88"/>
                      <a:pt x="352" y="88"/>
                      <a:pt x="352" y="88"/>
                    </a:cubicBezTo>
                    <a:cubicBezTo>
                      <a:pt x="418" y="88"/>
                      <a:pt x="418" y="88"/>
                      <a:pt x="418" y="88"/>
                    </a:cubicBezTo>
                    <a:cubicBezTo>
                      <a:pt x="420" y="88"/>
                      <a:pt x="422" y="87"/>
                      <a:pt x="423" y="86"/>
                    </a:cubicBezTo>
                    <a:cubicBezTo>
                      <a:pt x="425" y="84"/>
                      <a:pt x="426" y="82"/>
                      <a:pt x="426" y="80"/>
                    </a:cubicBezTo>
                    <a:cubicBezTo>
                      <a:pt x="426" y="39"/>
                      <a:pt x="426" y="39"/>
                      <a:pt x="426" y="39"/>
                    </a:cubicBezTo>
                    <a:cubicBezTo>
                      <a:pt x="464" y="39"/>
                      <a:pt x="464" y="39"/>
                      <a:pt x="464" y="39"/>
                    </a:cubicBezTo>
                    <a:cubicBezTo>
                      <a:pt x="464" y="60"/>
                      <a:pt x="464" y="60"/>
                      <a:pt x="464" y="60"/>
                    </a:cubicBezTo>
                    <a:cubicBezTo>
                      <a:pt x="464" y="64"/>
                      <a:pt x="468" y="68"/>
                      <a:pt x="472" y="68"/>
                    </a:cubicBezTo>
                    <a:cubicBezTo>
                      <a:pt x="477" y="68"/>
                      <a:pt x="480" y="64"/>
                      <a:pt x="480" y="60"/>
                    </a:cubicBezTo>
                    <a:cubicBezTo>
                      <a:pt x="480" y="39"/>
                      <a:pt x="480" y="39"/>
                      <a:pt x="480" y="39"/>
                    </a:cubicBezTo>
                    <a:cubicBezTo>
                      <a:pt x="480" y="39"/>
                      <a:pt x="480" y="39"/>
                      <a:pt x="480" y="39"/>
                    </a:cubicBezTo>
                    <a:cubicBezTo>
                      <a:pt x="480" y="37"/>
                      <a:pt x="480" y="37"/>
                      <a:pt x="480" y="37"/>
                    </a:cubicBezTo>
                    <a:cubicBezTo>
                      <a:pt x="480" y="37"/>
                      <a:pt x="480" y="37"/>
                      <a:pt x="480" y="37"/>
                    </a:cubicBezTo>
                    <a:cubicBezTo>
                      <a:pt x="480" y="36"/>
                      <a:pt x="480" y="36"/>
                      <a:pt x="480" y="36"/>
                    </a:cubicBezTo>
                    <a:cubicBezTo>
                      <a:pt x="480" y="35"/>
                      <a:pt x="480" y="33"/>
                      <a:pt x="479" y="32"/>
                    </a:cubicBezTo>
                    <a:cubicBezTo>
                      <a:pt x="477" y="27"/>
                      <a:pt x="472" y="23"/>
                      <a:pt x="466" y="23"/>
                    </a:cubicBezTo>
                    <a:cubicBezTo>
                      <a:pt x="424" y="23"/>
                      <a:pt x="424" y="23"/>
                      <a:pt x="424" y="23"/>
                    </a:cubicBezTo>
                    <a:cubicBezTo>
                      <a:pt x="416" y="23"/>
                      <a:pt x="410" y="29"/>
                      <a:pt x="410" y="37"/>
                    </a:cubicBezTo>
                    <a:cubicBezTo>
                      <a:pt x="410" y="72"/>
                      <a:pt x="410" y="72"/>
                      <a:pt x="410" y="72"/>
                    </a:cubicBezTo>
                    <a:cubicBezTo>
                      <a:pt x="352" y="72"/>
                      <a:pt x="352" y="72"/>
                      <a:pt x="352" y="72"/>
                    </a:cubicBezTo>
                    <a:cubicBezTo>
                      <a:pt x="343" y="72"/>
                      <a:pt x="336" y="79"/>
                      <a:pt x="336" y="88"/>
                    </a:cubicBezTo>
                    <a:cubicBezTo>
                      <a:pt x="336" y="147"/>
                      <a:pt x="336" y="147"/>
                      <a:pt x="336" y="147"/>
                    </a:cubicBezTo>
                    <a:cubicBezTo>
                      <a:pt x="296" y="147"/>
                      <a:pt x="296" y="147"/>
                      <a:pt x="296" y="147"/>
                    </a:cubicBezTo>
                    <a:cubicBezTo>
                      <a:pt x="296" y="65"/>
                      <a:pt x="296" y="65"/>
                      <a:pt x="296" y="65"/>
                    </a:cubicBezTo>
                    <a:cubicBezTo>
                      <a:pt x="296" y="56"/>
                      <a:pt x="289" y="49"/>
                      <a:pt x="280" y="49"/>
                    </a:cubicBezTo>
                    <a:cubicBezTo>
                      <a:pt x="247" y="49"/>
                      <a:pt x="247" y="49"/>
                      <a:pt x="247" y="49"/>
                    </a:cubicBezTo>
                    <a:cubicBezTo>
                      <a:pt x="247" y="16"/>
                      <a:pt x="247" y="16"/>
                      <a:pt x="247" y="16"/>
                    </a:cubicBezTo>
                    <a:cubicBezTo>
                      <a:pt x="247" y="7"/>
                      <a:pt x="240" y="0"/>
                      <a:pt x="231" y="0"/>
                    </a:cubicBezTo>
                    <a:cubicBezTo>
                      <a:pt x="100" y="0"/>
                      <a:pt x="100" y="0"/>
                      <a:pt x="100" y="0"/>
                    </a:cubicBezTo>
                    <a:cubicBezTo>
                      <a:pt x="91" y="0"/>
                      <a:pt x="84" y="7"/>
                      <a:pt x="84" y="16"/>
                    </a:cubicBezTo>
                    <a:cubicBezTo>
                      <a:pt x="84" y="49"/>
                      <a:pt x="84" y="49"/>
                      <a:pt x="84" y="49"/>
                    </a:cubicBezTo>
                    <a:cubicBezTo>
                      <a:pt x="51" y="49"/>
                      <a:pt x="51" y="49"/>
                      <a:pt x="51" y="49"/>
                    </a:cubicBezTo>
                    <a:cubicBezTo>
                      <a:pt x="42" y="49"/>
                      <a:pt x="35" y="56"/>
                      <a:pt x="35" y="65"/>
                    </a:cubicBezTo>
                    <a:cubicBezTo>
                      <a:pt x="35" y="147"/>
                      <a:pt x="35" y="147"/>
                      <a:pt x="35" y="147"/>
                    </a:cubicBezTo>
                    <a:cubicBezTo>
                      <a:pt x="8" y="147"/>
                      <a:pt x="8" y="147"/>
                      <a:pt x="8" y="147"/>
                    </a:cubicBezTo>
                    <a:cubicBezTo>
                      <a:pt x="6" y="147"/>
                      <a:pt x="4" y="148"/>
                      <a:pt x="3" y="150"/>
                    </a:cubicBezTo>
                    <a:cubicBezTo>
                      <a:pt x="1" y="151"/>
                      <a:pt x="0" y="153"/>
                      <a:pt x="0" y="156"/>
                    </a:cubicBezTo>
                    <a:cubicBezTo>
                      <a:pt x="0" y="190"/>
                      <a:pt x="13" y="220"/>
                      <a:pt x="30" y="240"/>
                    </a:cubicBezTo>
                    <a:cubicBezTo>
                      <a:pt x="47" y="261"/>
                      <a:pt x="67" y="273"/>
                      <a:pt x="84" y="273"/>
                    </a:cubicBezTo>
                    <a:cubicBezTo>
                      <a:pt x="424" y="273"/>
                      <a:pt x="424" y="273"/>
                      <a:pt x="424" y="273"/>
                    </a:cubicBezTo>
                    <a:cubicBezTo>
                      <a:pt x="432" y="273"/>
                      <a:pt x="440" y="270"/>
                      <a:pt x="448" y="264"/>
                    </a:cubicBezTo>
                    <a:cubicBezTo>
                      <a:pt x="456" y="258"/>
                      <a:pt x="465" y="250"/>
                      <a:pt x="473" y="239"/>
                    </a:cubicBezTo>
                    <a:cubicBezTo>
                      <a:pt x="489" y="219"/>
                      <a:pt x="502" y="190"/>
                      <a:pt x="502" y="156"/>
                    </a:cubicBezTo>
                    <a:cubicBezTo>
                      <a:pt x="502" y="153"/>
                      <a:pt x="501" y="151"/>
                      <a:pt x="500" y="150"/>
                    </a:cubicBezTo>
                    <a:close/>
                    <a:moveTo>
                      <a:pt x="247" y="65"/>
                    </a:moveTo>
                    <a:cubicBezTo>
                      <a:pt x="280" y="65"/>
                      <a:pt x="280" y="65"/>
                      <a:pt x="280" y="65"/>
                    </a:cubicBezTo>
                    <a:cubicBezTo>
                      <a:pt x="280" y="98"/>
                      <a:pt x="280" y="98"/>
                      <a:pt x="280" y="98"/>
                    </a:cubicBezTo>
                    <a:cubicBezTo>
                      <a:pt x="247" y="98"/>
                      <a:pt x="247" y="98"/>
                      <a:pt x="247" y="98"/>
                    </a:cubicBezTo>
                    <a:cubicBezTo>
                      <a:pt x="247" y="82"/>
                      <a:pt x="247" y="82"/>
                      <a:pt x="247" y="82"/>
                    </a:cubicBezTo>
                    <a:lnTo>
                      <a:pt x="247" y="65"/>
                    </a:lnTo>
                    <a:close/>
                    <a:moveTo>
                      <a:pt x="247" y="114"/>
                    </a:moveTo>
                    <a:cubicBezTo>
                      <a:pt x="280" y="114"/>
                      <a:pt x="280" y="114"/>
                      <a:pt x="280" y="114"/>
                    </a:cubicBezTo>
                    <a:cubicBezTo>
                      <a:pt x="280" y="147"/>
                      <a:pt x="280" y="147"/>
                      <a:pt x="280" y="147"/>
                    </a:cubicBezTo>
                    <a:cubicBezTo>
                      <a:pt x="247" y="147"/>
                      <a:pt x="247" y="147"/>
                      <a:pt x="247" y="147"/>
                    </a:cubicBezTo>
                    <a:cubicBezTo>
                      <a:pt x="247" y="131"/>
                      <a:pt x="247" y="131"/>
                      <a:pt x="247" y="131"/>
                    </a:cubicBezTo>
                    <a:lnTo>
                      <a:pt x="247" y="114"/>
                    </a:lnTo>
                    <a:close/>
                    <a:moveTo>
                      <a:pt x="198" y="16"/>
                    </a:moveTo>
                    <a:cubicBezTo>
                      <a:pt x="231" y="16"/>
                      <a:pt x="231" y="16"/>
                      <a:pt x="231" y="16"/>
                    </a:cubicBezTo>
                    <a:cubicBezTo>
                      <a:pt x="231" y="49"/>
                      <a:pt x="231" y="49"/>
                      <a:pt x="231" y="49"/>
                    </a:cubicBezTo>
                    <a:cubicBezTo>
                      <a:pt x="198" y="49"/>
                      <a:pt x="198" y="49"/>
                      <a:pt x="198" y="49"/>
                    </a:cubicBezTo>
                    <a:lnTo>
                      <a:pt x="198" y="16"/>
                    </a:lnTo>
                    <a:close/>
                    <a:moveTo>
                      <a:pt x="198" y="65"/>
                    </a:moveTo>
                    <a:cubicBezTo>
                      <a:pt x="231" y="65"/>
                      <a:pt x="231" y="65"/>
                      <a:pt x="231" y="65"/>
                    </a:cubicBezTo>
                    <a:cubicBezTo>
                      <a:pt x="231" y="98"/>
                      <a:pt x="231" y="98"/>
                      <a:pt x="231" y="98"/>
                    </a:cubicBezTo>
                    <a:cubicBezTo>
                      <a:pt x="198" y="98"/>
                      <a:pt x="198" y="98"/>
                      <a:pt x="198" y="98"/>
                    </a:cubicBezTo>
                    <a:lnTo>
                      <a:pt x="198" y="65"/>
                    </a:lnTo>
                    <a:close/>
                    <a:moveTo>
                      <a:pt x="198" y="114"/>
                    </a:moveTo>
                    <a:cubicBezTo>
                      <a:pt x="231" y="114"/>
                      <a:pt x="231" y="114"/>
                      <a:pt x="231" y="114"/>
                    </a:cubicBezTo>
                    <a:cubicBezTo>
                      <a:pt x="231" y="147"/>
                      <a:pt x="231" y="147"/>
                      <a:pt x="231" y="147"/>
                    </a:cubicBezTo>
                    <a:cubicBezTo>
                      <a:pt x="198" y="147"/>
                      <a:pt x="198" y="147"/>
                      <a:pt x="198" y="147"/>
                    </a:cubicBezTo>
                    <a:lnTo>
                      <a:pt x="198" y="114"/>
                    </a:lnTo>
                    <a:close/>
                    <a:moveTo>
                      <a:pt x="149" y="16"/>
                    </a:moveTo>
                    <a:cubicBezTo>
                      <a:pt x="182" y="16"/>
                      <a:pt x="182" y="16"/>
                      <a:pt x="182" y="16"/>
                    </a:cubicBezTo>
                    <a:cubicBezTo>
                      <a:pt x="182" y="49"/>
                      <a:pt x="182" y="49"/>
                      <a:pt x="182" y="49"/>
                    </a:cubicBezTo>
                    <a:cubicBezTo>
                      <a:pt x="149" y="49"/>
                      <a:pt x="149" y="49"/>
                      <a:pt x="149" y="49"/>
                    </a:cubicBezTo>
                    <a:lnTo>
                      <a:pt x="149" y="16"/>
                    </a:lnTo>
                    <a:close/>
                    <a:moveTo>
                      <a:pt x="149" y="65"/>
                    </a:moveTo>
                    <a:cubicBezTo>
                      <a:pt x="182" y="65"/>
                      <a:pt x="182" y="65"/>
                      <a:pt x="182" y="65"/>
                    </a:cubicBezTo>
                    <a:cubicBezTo>
                      <a:pt x="182" y="98"/>
                      <a:pt x="182" y="98"/>
                      <a:pt x="182" y="98"/>
                    </a:cubicBezTo>
                    <a:cubicBezTo>
                      <a:pt x="149" y="98"/>
                      <a:pt x="149" y="98"/>
                      <a:pt x="149" y="98"/>
                    </a:cubicBezTo>
                    <a:lnTo>
                      <a:pt x="149" y="65"/>
                    </a:lnTo>
                    <a:close/>
                    <a:moveTo>
                      <a:pt x="149" y="114"/>
                    </a:moveTo>
                    <a:cubicBezTo>
                      <a:pt x="182" y="114"/>
                      <a:pt x="182" y="114"/>
                      <a:pt x="182" y="114"/>
                    </a:cubicBezTo>
                    <a:cubicBezTo>
                      <a:pt x="182" y="147"/>
                      <a:pt x="182" y="147"/>
                      <a:pt x="182" y="147"/>
                    </a:cubicBezTo>
                    <a:cubicBezTo>
                      <a:pt x="149" y="147"/>
                      <a:pt x="149" y="147"/>
                      <a:pt x="149" y="147"/>
                    </a:cubicBezTo>
                    <a:lnTo>
                      <a:pt x="149" y="114"/>
                    </a:lnTo>
                    <a:close/>
                    <a:moveTo>
                      <a:pt x="133" y="16"/>
                    </a:moveTo>
                    <a:cubicBezTo>
                      <a:pt x="133" y="49"/>
                      <a:pt x="133" y="49"/>
                      <a:pt x="133" y="49"/>
                    </a:cubicBezTo>
                    <a:cubicBezTo>
                      <a:pt x="100" y="49"/>
                      <a:pt x="100" y="49"/>
                      <a:pt x="100" y="49"/>
                    </a:cubicBezTo>
                    <a:cubicBezTo>
                      <a:pt x="100" y="16"/>
                      <a:pt x="100" y="16"/>
                      <a:pt x="100" y="16"/>
                    </a:cubicBezTo>
                    <a:lnTo>
                      <a:pt x="133" y="16"/>
                    </a:lnTo>
                    <a:close/>
                    <a:moveTo>
                      <a:pt x="133" y="65"/>
                    </a:moveTo>
                    <a:cubicBezTo>
                      <a:pt x="133" y="98"/>
                      <a:pt x="133" y="98"/>
                      <a:pt x="133" y="98"/>
                    </a:cubicBezTo>
                    <a:cubicBezTo>
                      <a:pt x="100" y="98"/>
                      <a:pt x="100" y="98"/>
                      <a:pt x="100" y="98"/>
                    </a:cubicBezTo>
                    <a:cubicBezTo>
                      <a:pt x="100" y="79"/>
                      <a:pt x="100" y="79"/>
                      <a:pt x="100" y="79"/>
                    </a:cubicBezTo>
                    <a:cubicBezTo>
                      <a:pt x="100" y="65"/>
                      <a:pt x="100" y="65"/>
                      <a:pt x="100" y="65"/>
                    </a:cubicBezTo>
                    <a:lnTo>
                      <a:pt x="133" y="65"/>
                    </a:lnTo>
                    <a:close/>
                    <a:moveTo>
                      <a:pt x="133" y="114"/>
                    </a:moveTo>
                    <a:cubicBezTo>
                      <a:pt x="133" y="147"/>
                      <a:pt x="133" y="147"/>
                      <a:pt x="133" y="147"/>
                    </a:cubicBezTo>
                    <a:cubicBezTo>
                      <a:pt x="100" y="147"/>
                      <a:pt x="100" y="147"/>
                      <a:pt x="100" y="147"/>
                    </a:cubicBezTo>
                    <a:cubicBezTo>
                      <a:pt x="100" y="114"/>
                      <a:pt x="100" y="114"/>
                      <a:pt x="100" y="114"/>
                    </a:cubicBezTo>
                    <a:lnTo>
                      <a:pt x="133" y="114"/>
                    </a:lnTo>
                    <a:close/>
                    <a:moveTo>
                      <a:pt x="84" y="65"/>
                    </a:moveTo>
                    <a:cubicBezTo>
                      <a:pt x="84" y="98"/>
                      <a:pt x="84" y="98"/>
                      <a:pt x="84" y="98"/>
                    </a:cubicBezTo>
                    <a:cubicBezTo>
                      <a:pt x="51" y="98"/>
                      <a:pt x="51" y="98"/>
                      <a:pt x="51" y="98"/>
                    </a:cubicBezTo>
                    <a:cubicBezTo>
                      <a:pt x="51" y="65"/>
                      <a:pt x="51" y="65"/>
                      <a:pt x="51" y="65"/>
                    </a:cubicBezTo>
                    <a:lnTo>
                      <a:pt x="84" y="65"/>
                    </a:lnTo>
                    <a:close/>
                    <a:moveTo>
                      <a:pt x="84" y="114"/>
                    </a:moveTo>
                    <a:cubicBezTo>
                      <a:pt x="84" y="147"/>
                      <a:pt x="84" y="147"/>
                      <a:pt x="84" y="147"/>
                    </a:cubicBezTo>
                    <a:cubicBezTo>
                      <a:pt x="51" y="147"/>
                      <a:pt x="51" y="147"/>
                      <a:pt x="51" y="147"/>
                    </a:cubicBezTo>
                    <a:cubicBezTo>
                      <a:pt x="51" y="114"/>
                      <a:pt x="51" y="114"/>
                      <a:pt x="51" y="114"/>
                    </a:cubicBezTo>
                    <a:lnTo>
                      <a:pt x="84" y="114"/>
                    </a:lnTo>
                    <a:close/>
                    <a:moveTo>
                      <a:pt x="439" y="251"/>
                    </a:moveTo>
                    <a:cubicBezTo>
                      <a:pt x="432" y="255"/>
                      <a:pt x="426" y="258"/>
                      <a:pt x="424" y="257"/>
                    </a:cubicBezTo>
                    <a:cubicBezTo>
                      <a:pt x="84" y="257"/>
                      <a:pt x="84" y="257"/>
                      <a:pt x="84" y="257"/>
                    </a:cubicBezTo>
                    <a:cubicBezTo>
                      <a:pt x="75" y="258"/>
                      <a:pt x="57" y="248"/>
                      <a:pt x="43" y="230"/>
                    </a:cubicBezTo>
                    <a:cubicBezTo>
                      <a:pt x="29" y="214"/>
                      <a:pt x="18" y="191"/>
                      <a:pt x="16" y="164"/>
                    </a:cubicBezTo>
                    <a:cubicBezTo>
                      <a:pt x="198" y="164"/>
                      <a:pt x="198" y="164"/>
                      <a:pt x="198" y="164"/>
                    </a:cubicBezTo>
                    <a:cubicBezTo>
                      <a:pt x="198" y="164"/>
                      <a:pt x="198" y="164"/>
                      <a:pt x="198" y="164"/>
                    </a:cubicBezTo>
                    <a:cubicBezTo>
                      <a:pt x="206" y="164"/>
                      <a:pt x="206" y="164"/>
                      <a:pt x="206" y="164"/>
                    </a:cubicBezTo>
                    <a:cubicBezTo>
                      <a:pt x="486" y="164"/>
                      <a:pt x="486" y="164"/>
                      <a:pt x="486" y="164"/>
                    </a:cubicBezTo>
                    <a:cubicBezTo>
                      <a:pt x="483" y="204"/>
                      <a:pt x="458" y="237"/>
                      <a:pt x="439"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72" name="Freeform 3"/>
              <p:cNvSpPr>
                <a:spLocks noChangeAspect="1" noEditPoints="1"/>
              </p:cNvSpPr>
              <p:nvPr/>
            </p:nvSpPr>
            <p:spPr bwMode="auto">
              <a:xfrm>
                <a:off x="5857751" y="4573365"/>
                <a:ext cx="190015" cy="110859"/>
              </a:xfrm>
              <a:custGeom>
                <a:avLst/>
                <a:gdLst>
                  <a:gd name="T0" fmla="*/ 2147483647 w 480"/>
                  <a:gd name="T1" fmla="*/ 2147483647 h 286"/>
                  <a:gd name="T2" fmla="*/ 2147483647 w 480"/>
                  <a:gd name="T3" fmla="*/ 2147483647 h 286"/>
                  <a:gd name="T4" fmla="*/ 2147483647 w 480"/>
                  <a:gd name="T5" fmla="*/ 2147483647 h 286"/>
                  <a:gd name="T6" fmla="*/ 2147483647 w 480"/>
                  <a:gd name="T7" fmla="*/ 2147483647 h 286"/>
                  <a:gd name="T8" fmla="*/ 2147483647 w 480"/>
                  <a:gd name="T9" fmla="*/ 2147483647 h 286"/>
                  <a:gd name="T10" fmla="*/ 2147483647 w 480"/>
                  <a:gd name="T11" fmla="*/ 2147483647 h 286"/>
                  <a:gd name="T12" fmla="*/ 2147483647 w 480"/>
                  <a:gd name="T13" fmla="*/ 2147483647 h 286"/>
                  <a:gd name="T14" fmla="*/ 2147483647 w 480"/>
                  <a:gd name="T15" fmla="*/ 2147483647 h 286"/>
                  <a:gd name="T16" fmla="*/ 2147483647 w 480"/>
                  <a:gd name="T17" fmla="*/ 2147483647 h 286"/>
                  <a:gd name="T18" fmla="*/ 2147483647 w 480"/>
                  <a:gd name="T19" fmla="*/ 2147483647 h 286"/>
                  <a:gd name="T20" fmla="*/ 2147483647 w 480"/>
                  <a:gd name="T21" fmla="*/ 2147483647 h 286"/>
                  <a:gd name="T22" fmla="*/ 2147483647 w 480"/>
                  <a:gd name="T23" fmla="*/ 2147483647 h 286"/>
                  <a:gd name="T24" fmla="*/ 2147483647 w 480"/>
                  <a:gd name="T25" fmla="*/ 2147483647 h 286"/>
                  <a:gd name="T26" fmla="*/ 2147483647 w 480"/>
                  <a:gd name="T27" fmla="*/ 2147483647 h 286"/>
                  <a:gd name="T28" fmla="*/ 2147483647 w 480"/>
                  <a:gd name="T29" fmla="*/ 2147483647 h 286"/>
                  <a:gd name="T30" fmla="*/ 2147483647 w 480"/>
                  <a:gd name="T31" fmla="*/ 2147483647 h 286"/>
                  <a:gd name="T32" fmla="*/ 2147483647 w 480"/>
                  <a:gd name="T33" fmla="*/ 2147483647 h 286"/>
                  <a:gd name="T34" fmla="*/ 0 w 480"/>
                  <a:gd name="T35" fmla="*/ 2147483647 h 286"/>
                  <a:gd name="T36" fmla="*/ 2147483647 w 480"/>
                  <a:gd name="T37" fmla="*/ 2147483647 h 286"/>
                  <a:gd name="T38" fmla="*/ 2147483647 w 480"/>
                  <a:gd name="T39" fmla="*/ 2147483647 h 286"/>
                  <a:gd name="T40" fmla="*/ 2147483647 w 480"/>
                  <a:gd name="T41" fmla="*/ 2147483647 h 286"/>
                  <a:gd name="T42" fmla="*/ 2147483647 w 480"/>
                  <a:gd name="T43" fmla="*/ 2147483647 h 286"/>
                  <a:gd name="T44" fmla="*/ 2147483647 w 480"/>
                  <a:gd name="T45" fmla="*/ 2147483647 h 286"/>
                  <a:gd name="T46" fmla="*/ 2147483647 w 480"/>
                  <a:gd name="T47" fmla="*/ 2147483647 h 286"/>
                  <a:gd name="T48" fmla="*/ 2147483647 w 480"/>
                  <a:gd name="T49" fmla="*/ 2147483647 h 286"/>
                  <a:gd name="T50" fmla="*/ 2147483647 w 480"/>
                  <a:gd name="T51" fmla="*/ 2147483647 h 286"/>
                  <a:gd name="T52" fmla="*/ 2147483647 w 480"/>
                  <a:gd name="T53" fmla="*/ 2147483647 h 286"/>
                  <a:gd name="T54" fmla="*/ 2147483647 w 480"/>
                  <a:gd name="T55" fmla="*/ 2147483647 h 286"/>
                  <a:gd name="T56" fmla="*/ 2147483647 w 480"/>
                  <a:gd name="T57" fmla="*/ 2147483647 h 286"/>
                  <a:gd name="T58" fmla="*/ 2147483647 w 480"/>
                  <a:gd name="T59" fmla="*/ 2147483647 h 286"/>
                  <a:gd name="T60" fmla="*/ 2147483647 w 480"/>
                  <a:gd name="T61" fmla="*/ 2147483647 h 286"/>
                  <a:gd name="T62" fmla="*/ 2147483647 w 480"/>
                  <a:gd name="T63" fmla="*/ 2147483647 h 286"/>
                  <a:gd name="T64" fmla="*/ 2147483647 w 480"/>
                  <a:gd name="T65" fmla="*/ 2147483647 h 286"/>
                  <a:gd name="T66" fmla="*/ 2147483647 w 480"/>
                  <a:gd name="T67" fmla="*/ 2147483647 h 286"/>
                  <a:gd name="T68" fmla="*/ 2147483647 w 480"/>
                  <a:gd name="T69" fmla="*/ 2147483647 h 286"/>
                  <a:gd name="T70" fmla="*/ 2147483647 w 480"/>
                  <a:gd name="T71" fmla="*/ 2147483647 h 286"/>
                  <a:gd name="T72" fmla="*/ 2147483647 w 480"/>
                  <a:gd name="T73" fmla="*/ 2147483647 h 286"/>
                  <a:gd name="T74" fmla="*/ 2147483647 w 480"/>
                  <a:gd name="T75" fmla="*/ 2147483647 h 286"/>
                  <a:gd name="T76" fmla="*/ 2147483647 w 480"/>
                  <a:gd name="T77" fmla="*/ 2147483647 h 286"/>
                  <a:gd name="T78" fmla="*/ 2147483647 w 480"/>
                  <a:gd name="T79" fmla="*/ 2147483647 h 286"/>
                  <a:gd name="T80" fmla="*/ 2147483647 w 480"/>
                  <a:gd name="T81" fmla="*/ 2147483647 h 286"/>
                  <a:gd name="T82" fmla="*/ 2147483647 w 480"/>
                  <a:gd name="T83" fmla="*/ 2147483647 h 286"/>
                  <a:gd name="T84" fmla="*/ 2147483647 w 480"/>
                  <a:gd name="T85" fmla="*/ 2147483647 h 286"/>
                  <a:gd name="T86" fmla="*/ 2147483647 w 480"/>
                  <a:gd name="T87" fmla="*/ 2147483647 h 286"/>
                  <a:gd name="T88" fmla="*/ 2147483647 w 480"/>
                  <a:gd name="T89" fmla="*/ 2147483647 h 286"/>
                  <a:gd name="T90" fmla="*/ 2147483647 w 480"/>
                  <a:gd name="T91" fmla="*/ 2147483647 h 286"/>
                  <a:gd name="T92" fmla="*/ 2147483647 w 480"/>
                  <a:gd name="T93" fmla="*/ 2147483647 h 286"/>
                  <a:gd name="T94" fmla="*/ 2147483647 w 480"/>
                  <a:gd name="T95" fmla="*/ 2147483647 h 286"/>
                  <a:gd name="T96" fmla="*/ 2147483647 w 480"/>
                  <a:gd name="T97" fmla="*/ 2147483647 h 286"/>
                  <a:gd name="T98" fmla="*/ 2147483647 w 480"/>
                  <a:gd name="T99" fmla="*/ 2147483647 h 286"/>
                  <a:gd name="T100" fmla="*/ 2147483647 w 480"/>
                  <a:gd name="T101" fmla="*/ 2147483647 h 28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480" h="286">
                    <a:moveTo>
                      <a:pt x="396" y="179"/>
                    </a:moveTo>
                    <a:cubicBezTo>
                      <a:pt x="393" y="179"/>
                      <a:pt x="390" y="181"/>
                      <a:pt x="390" y="185"/>
                    </a:cubicBezTo>
                    <a:cubicBezTo>
                      <a:pt x="390" y="214"/>
                      <a:pt x="390" y="214"/>
                      <a:pt x="390" y="214"/>
                    </a:cubicBezTo>
                    <a:cubicBezTo>
                      <a:pt x="390" y="217"/>
                      <a:pt x="393" y="220"/>
                      <a:pt x="396" y="220"/>
                    </a:cubicBezTo>
                    <a:cubicBezTo>
                      <a:pt x="425" y="220"/>
                      <a:pt x="425" y="220"/>
                      <a:pt x="425" y="220"/>
                    </a:cubicBezTo>
                    <a:cubicBezTo>
                      <a:pt x="429" y="220"/>
                      <a:pt x="431" y="217"/>
                      <a:pt x="431" y="214"/>
                    </a:cubicBezTo>
                    <a:cubicBezTo>
                      <a:pt x="431" y="185"/>
                      <a:pt x="431" y="185"/>
                      <a:pt x="431" y="185"/>
                    </a:cubicBezTo>
                    <a:cubicBezTo>
                      <a:pt x="431" y="181"/>
                      <a:pt x="429" y="179"/>
                      <a:pt x="425" y="179"/>
                    </a:cubicBezTo>
                    <a:lnTo>
                      <a:pt x="396" y="179"/>
                    </a:lnTo>
                    <a:close/>
                    <a:moveTo>
                      <a:pt x="339" y="179"/>
                    </a:moveTo>
                    <a:cubicBezTo>
                      <a:pt x="336" y="179"/>
                      <a:pt x="333" y="181"/>
                      <a:pt x="333" y="185"/>
                    </a:cubicBezTo>
                    <a:cubicBezTo>
                      <a:pt x="333" y="214"/>
                      <a:pt x="333" y="214"/>
                      <a:pt x="333" y="214"/>
                    </a:cubicBezTo>
                    <a:cubicBezTo>
                      <a:pt x="333" y="217"/>
                      <a:pt x="336" y="220"/>
                      <a:pt x="339" y="220"/>
                    </a:cubicBezTo>
                    <a:cubicBezTo>
                      <a:pt x="369" y="220"/>
                      <a:pt x="369" y="220"/>
                      <a:pt x="369" y="220"/>
                    </a:cubicBezTo>
                    <a:cubicBezTo>
                      <a:pt x="372" y="220"/>
                      <a:pt x="374" y="217"/>
                      <a:pt x="374" y="214"/>
                    </a:cubicBezTo>
                    <a:cubicBezTo>
                      <a:pt x="374" y="185"/>
                      <a:pt x="374" y="185"/>
                      <a:pt x="374" y="185"/>
                    </a:cubicBezTo>
                    <a:cubicBezTo>
                      <a:pt x="374" y="181"/>
                      <a:pt x="372" y="179"/>
                      <a:pt x="369" y="179"/>
                    </a:cubicBezTo>
                    <a:lnTo>
                      <a:pt x="339" y="179"/>
                    </a:lnTo>
                    <a:close/>
                    <a:moveTo>
                      <a:pt x="472" y="152"/>
                    </a:moveTo>
                    <a:cubicBezTo>
                      <a:pt x="477" y="152"/>
                      <a:pt x="480" y="148"/>
                      <a:pt x="480" y="144"/>
                    </a:cubicBezTo>
                    <a:cubicBezTo>
                      <a:pt x="480" y="95"/>
                      <a:pt x="480" y="95"/>
                      <a:pt x="480" y="95"/>
                    </a:cubicBezTo>
                    <a:cubicBezTo>
                      <a:pt x="480" y="84"/>
                      <a:pt x="472" y="80"/>
                      <a:pt x="471" y="79"/>
                    </a:cubicBezTo>
                    <a:cubicBezTo>
                      <a:pt x="329" y="2"/>
                      <a:pt x="329" y="2"/>
                      <a:pt x="329" y="2"/>
                    </a:cubicBezTo>
                    <a:cubicBezTo>
                      <a:pt x="328" y="2"/>
                      <a:pt x="327" y="1"/>
                      <a:pt x="325" y="1"/>
                    </a:cubicBezTo>
                    <a:cubicBezTo>
                      <a:pt x="324" y="1"/>
                      <a:pt x="319" y="1"/>
                      <a:pt x="315" y="5"/>
                    </a:cubicBezTo>
                    <a:cubicBezTo>
                      <a:pt x="313" y="7"/>
                      <a:pt x="311" y="10"/>
                      <a:pt x="311" y="14"/>
                    </a:cubicBezTo>
                    <a:cubicBezTo>
                      <a:pt x="311" y="74"/>
                      <a:pt x="311" y="74"/>
                      <a:pt x="311" y="74"/>
                    </a:cubicBezTo>
                    <a:cubicBezTo>
                      <a:pt x="173" y="2"/>
                      <a:pt x="173" y="2"/>
                      <a:pt x="173" y="2"/>
                    </a:cubicBezTo>
                    <a:cubicBezTo>
                      <a:pt x="172" y="2"/>
                      <a:pt x="171" y="2"/>
                      <a:pt x="171" y="2"/>
                    </a:cubicBezTo>
                    <a:cubicBezTo>
                      <a:pt x="169" y="1"/>
                      <a:pt x="164" y="0"/>
                      <a:pt x="159" y="4"/>
                    </a:cubicBezTo>
                    <a:cubicBezTo>
                      <a:pt x="157" y="6"/>
                      <a:pt x="155" y="10"/>
                      <a:pt x="155" y="14"/>
                    </a:cubicBezTo>
                    <a:cubicBezTo>
                      <a:pt x="155" y="74"/>
                      <a:pt x="155" y="74"/>
                      <a:pt x="155" y="74"/>
                    </a:cubicBezTo>
                    <a:cubicBezTo>
                      <a:pt x="18" y="2"/>
                      <a:pt x="18" y="2"/>
                      <a:pt x="18" y="2"/>
                    </a:cubicBezTo>
                    <a:cubicBezTo>
                      <a:pt x="17" y="2"/>
                      <a:pt x="17" y="2"/>
                      <a:pt x="16" y="2"/>
                    </a:cubicBezTo>
                    <a:cubicBezTo>
                      <a:pt x="15" y="1"/>
                      <a:pt x="9" y="0"/>
                      <a:pt x="5" y="4"/>
                    </a:cubicBezTo>
                    <a:cubicBezTo>
                      <a:pt x="2" y="6"/>
                      <a:pt x="0" y="10"/>
                      <a:pt x="0" y="14"/>
                    </a:cubicBezTo>
                    <a:cubicBezTo>
                      <a:pt x="0" y="273"/>
                      <a:pt x="0" y="273"/>
                      <a:pt x="0" y="273"/>
                    </a:cubicBezTo>
                    <a:cubicBezTo>
                      <a:pt x="0" y="281"/>
                      <a:pt x="6" y="286"/>
                      <a:pt x="13" y="286"/>
                    </a:cubicBezTo>
                    <a:cubicBezTo>
                      <a:pt x="467" y="286"/>
                      <a:pt x="467" y="286"/>
                      <a:pt x="467" y="286"/>
                    </a:cubicBezTo>
                    <a:cubicBezTo>
                      <a:pt x="474" y="286"/>
                      <a:pt x="480" y="281"/>
                      <a:pt x="480" y="273"/>
                    </a:cubicBezTo>
                    <a:cubicBezTo>
                      <a:pt x="480" y="176"/>
                      <a:pt x="480" y="176"/>
                      <a:pt x="480" y="176"/>
                    </a:cubicBezTo>
                    <a:cubicBezTo>
                      <a:pt x="480" y="171"/>
                      <a:pt x="477" y="168"/>
                      <a:pt x="472" y="168"/>
                    </a:cubicBezTo>
                    <a:cubicBezTo>
                      <a:pt x="468" y="168"/>
                      <a:pt x="464" y="171"/>
                      <a:pt x="464" y="176"/>
                    </a:cubicBezTo>
                    <a:cubicBezTo>
                      <a:pt x="464" y="270"/>
                      <a:pt x="464" y="270"/>
                      <a:pt x="464" y="270"/>
                    </a:cubicBezTo>
                    <a:cubicBezTo>
                      <a:pt x="16" y="270"/>
                      <a:pt x="16" y="270"/>
                      <a:pt x="16" y="270"/>
                    </a:cubicBezTo>
                    <a:cubicBezTo>
                      <a:pt x="16" y="20"/>
                      <a:pt x="16" y="20"/>
                      <a:pt x="16" y="20"/>
                    </a:cubicBezTo>
                    <a:cubicBezTo>
                      <a:pt x="159" y="94"/>
                      <a:pt x="159" y="94"/>
                      <a:pt x="159" y="94"/>
                    </a:cubicBezTo>
                    <a:cubicBezTo>
                      <a:pt x="162" y="95"/>
                      <a:pt x="165" y="95"/>
                      <a:pt x="167" y="94"/>
                    </a:cubicBezTo>
                    <a:cubicBezTo>
                      <a:pt x="170" y="92"/>
                      <a:pt x="171" y="90"/>
                      <a:pt x="171" y="87"/>
                    </a:cubicBezTo>
                    <a:cubicBezTo>
                      <a:pt x="171" y="19"/>
                      <a:pt x="171" y="19"/>
                      <a:pt x="171" y="19"/>
                    </a:cubicBezTo>
                    <a:cubicBezTo>
                      <a:pt x="316" y="94"/>
                      <a:pt x="316" y="94"/>
                      <a:pt x="316" y="94"/>
                    </a:cubicBezTo>
                    <a:cubicBezTo>
                      <a:pt x="318" y="95"/>
                      <a:pt x="321" y="95"/>
                      <a:pt x="323" y="94"/>
                    </a:cubicBezTo>
                    <a:cubicBezTo>
                      <a:pt x="326" y="92"/>
                      <a:pt x="327" y="90"/>
                      <a:pt x="327" y="87"/>
                    </a:cubicBezTo>
                    <a:cubicBezTo>
                      <a:pt x="327" y="20"/>
                      <a:pt x="327" y="20"/>
                      <a:pt x="327" y="20"/>
                    </a:cubicBezTo>
                    <a:cubicBezTo>
                      <a:pt x="463" y="93"/>
                      <a:pt x="463" y="93"/>
                      <a:pt x="463" y="93"/>
                    </a:cubicBezTo>
                    <a:cubicBezTo>
                      <a:pt x="463" y="93"/>
                      <a:pt x="464" y="94"/>
                      <a:pt x="464" y="95"/>
                    </a:cubicBezTo>
                    <a:cubicBezTo>
                      <a:pt x="464" y="144"/>
                      <a:pt x="464" y="144"/>
                      <a:pt x="464" y="144"/>
                    </a:cubicBezTo>
                    <a:cubicBezTo>
                      <a:pt x="464" y="148"/>
                      <a:pt x="468" y="152"/>
                      <a:pt x="472" y="152"/>
                    </a:cubicBezTo>
                    <a:close/>
                    <a:moveTo>
                      <a:pt x="282" y="179"/>
                    </a:moveTo>
                    <a:cubicBezTo>
                      <a:pt x="279" y="179"/>
                      <a:pt x="276" y="181"/>
                      <a:pt x="276" y="185"/>
                    </a:cubicBezTo>
                    <a:cubicBezTo>
                      <a:pt x="276" y="214"/>
                      <a:pt x="276" y="214"/>
                      <a:pt x="276" y="214"/>
                    </a:cubicBezTo>
                    <a:cubicBezTo>
                      <a:pt x="276" y="217"/>
                      <a:pt x="279" y="220"/>
                      <a:pt x="282" y="220"/>
                    </a:cubicBezTo>
                    <a:cubicBezTo>
                      <a:pt x="312" y="220"/>
                      <a:pt x="312" y="220"/>
                      <a:pt x="312" y="220"/>
                    </a:cubicBezTo>
                    <a:cubicBezTo>
                      <a:pt x="315" y="220"/>
                      <a:pt x="318" y="217"/>
                      <a:pt x="318" y="214"/>
                    </a:cubicBezTo>
                    <a:cubicBezTo>
                      <a:pt x="318" y="185"/>
                      <a:pt x="318" y="185"/>
                      <a:pt x="318" y="185"/>
                    </a:cubicBezTo>
                    <a:cubicBezTo>
                      <a:pt x="318" y="181"/>
                      <a:pt x="315" y="179"/>
                      <a:pt x="312" y="179"/>
                    </a:cubicBezTo>
                    <a:lnTo>
                      <a:pt x="282" y="179"/>
                    </a:lnTo>
                    <a:close/>
                    <a:moveTo>
                      <a:pt x="226" y="179"/>
                    </a:moveTo>
                    <a:cubicBezTo>
                      <a:pt x="222" y="179"/>
                      <a:pt x="220" y="181"/>
                      <a:pt x="220" y="185"/>
                    </a:cubicBezTo>
                    <a:cubicBezTo>
                      <a:pt x="220" y="214"/>
                      <a:pt x="220" y="214"/>
                      <a:pt x="220" y="214"/>
                    </a:cubicBezTo>
                    <a:cubicBezTo>
                      <a:pt x="220" y="217"/>
                      <a:pt x="222" y="220"/>
                      <a:pt x="226" y="220"/>
                    </a:cubicBezTo>
                    <a:cubicBezTo>
                      <a:pt x="255" y="220"/>
                      <a:pt x="255" y="220"/>
                      <a:pt x="255" y="220"/>
                    </a:cubicBezTo>
                    <a:cubicBezTo>
                      <a:pt x="258" y="220"/>
                      <a:pt x="261" y="217"/>
                      <a:pt x="261" y="214"/>
                    </a:cubicBezTo>
                    <a:cubicBezTo>
                      <a:pt x="261" y="185"/>
                      <a:pt x="261" y="185"/>
                      <a:pt x="261" y="185"/>
                    </a:cubicBezTo>
                    <a:cubicBezTo>
                      <a:pt x="261" y="181"/>
                      <a:pt x="258" y="179"/>
                      <a:pt x="255" y="179"/>
                    </a:cubicBezTo>
                    <a:lnTo>
                      <a:pt x="226" y="179"/>
                    </a:lnTo>
                    <a:close/>
                    <a:moveTo>
                      <a:pt x="112" y="179"/>
                    </a:moveTo>
                    <a:cubicBezTo>
                      <a:pt x="109" y="179"/>
                      <a:pt x="106" y="181"/>
                      <a:pt x="106" y="185"/>
                    </a:cubicBezTo>
                    <a:cubicBezTo>
                      <a:pt x="106" y="214"/>
                      <a:pt x="106" y="214"/>
                      <a:pt x="106" y="214"/>
                    </a:cubicBezTo>
                    <a:cubicBezTo>
                      <a:pt x="106" y="217"/>
                      <a:pt x="109" y="220"/>
                      <a:pt x="112" y="220"/>
                    </a:cubicBezTo>
                    <a:cubicBezTo>
                      <a:pt x="142" y="220"/>
                      <a:pt x="142" y="220"/>
                      <a:pt x="142" y="220"/>
                    </a:cubicBezTo>
                    <a:cubicBezTo>
                      <a:pt x="145" y="220"/>
                      <a:pt x="147" y="217"/>
                      <a:pt x="147" y="214"/>
                    </a:cubicBezTo>
                    <a:cubicBezTo>
                      <a:pt x="147" y="185"/>
                      <a:pt x="147" y="185"/>
                      <a:pt x="147" y="185"/>
                    </a:cubicBezTo>
                    <a:cubicBezTo>
                      <a:pt x="147" y="181"/>
                      <a:pt x="145" y="179"/>
                      <a:pt x="142" y="179"/>
                    </a:cubicBezTo>
                    <a:lnTo>
                      <a:pt x="112" y="179"/>
                    </a:lnTo>
                    <a:close/>
                    <a:moveTo>
                      <a:pt x="55" y="179"/>
                    </a:moveTo>
                    <a:cubicBezTo>
                      <a:pt x="52" y="179"/>
                      <a:pt x="49" y="181"/>
                      <a:pt x="49" y="185"/>
                    </a:cubicBezTo>
                    <a:cubicBezTo>
                      <a:pt x="49" y="214"/>
                      <a:pt x="49" y="214"/>
                      <a:pt x="49" y="214"/>
                    </a:cubicBezTo>
                    <a:cubicBezTo>
                      <a:pt x="49" y="217"/>
                      <a:pt x="52" y="220"/>
                      <a:pt x="55" y="220"/>
                    </a:cubicBezTo>
                    <a:cubicBezTo>
                      <a:pt x="85" y="220"/>
                      <a:pt x="85" y="220"/>
                      <a:pt x="85" y="220"/>
                    </a:cubicBezTo>
                    <a:cubicBezTo>
                      <a:pt x="88" y="220"/>
                      <a:pt x="91" y="217"/>
                      <a:pt x="91" y="214"/>
                    </a:cubicBezTo>
                    <a:cubicBezTo>
                      <a:pt x="91" y="185"/>
                      <a:pt x="91" y="185"/>
                      <a:pt x="91" y="185"/>
                    </a:cubicBezTo>
                    <a:cubicBezTo>
                      <a:pt x="91" y="181"/>
                      <a:pt x="88" y="179"/>
                      <a:pt x="85" y="179"/>
                    </a:cubicBezTo>
                    <a:lnTo>
                      <a:pt x="55" y="179"/>
                    </a:lnTo>
                    <a:close/>
                    <a:moveTo>
                      <a:pt x="169" y="179"/>
                    </a:moveTo>
                    <a:cubicBezTo>
                      <a:pt x="166" y="179"/>
                      <a:pt x="163" y="181"/>
                      <a:pt x="163" y="185"/>
                    </a:cubicBezTo>
                    <a:cubicBezTo>
                      <a:pt x="163" y="214"/>
                      <a:pt x="163" y="214"/>
                      <a:pt x="163" y="214"/>
                    </a:cubicBezTo>
                    <a:cubicBezTo>
                      <a:pt x="163" y="217"/>
                      <a:pt x="166" y="220"/>
                      <a:pt x="169" y="220"/>
                    </a:cubicBezTo>
                    <a:cubicBezTo>
                      <a:pt x="198" y="220"/>
                      <a:pt x="198" y="220"/>
                      <a:pt x="198" y="220"/>
                    </a:cubicBezTo>
                    <a:cubicBezTo>
                      <a:pt x="202" y="220"/>
                      <a:pt x="204" y="217"/>
                      <a:pt x="204" y="214"/>
                    </a:cubicBezTo>
                    <a:cubicBezTo>
                      <a:pt x="204" y="185"/>
                      <a:pt x="204" y="185"/>
                      <a:pt x="204" y="185"/>
                    </a:cubicBezTo>
                    <a:cubicBezTo>
                      <a:pt x="204" y="181"/>
                      <a:pt x="202" y="179"/>
                      <a:pt x="198" y="179"/>
                    </a:cubicBezTo>
                    <a:lnTo>
                      <a:pt x="169" y="1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73" name="Freeform 3"/>
              <p:cNvSpPr>
                <a:spLocks noChangeAspect="1"/>
              </p:cNvSpPr>
              <p:nvPr/>
            </p:nvSpPr>
            <p:spPr bwMode="auto">
              <a:xfrm>
                <a:off x="5548412" y="4425775"/>
                <a:ext cx="161696" cy="157927"/>
              </a:xfrm>
              <a:custGeom>
                <a:avLst/>
                <a:gdLst>
                  <a:gd name="T0" fmla="*/ 2147483647 w 409"/>
                  <a:gd name="T1" fmla="*/ 2147483647 h 408"/>
                  <a:gd name="T2" fmla="*/ 2147483647 w 409"/>
                  <a:gd name="T3" fmla="*/ 2147483647 h 408"/>
                  <a:gd name="T4" fmla="*/ 2147483647 w 409"/>
                  <a:gd name="T5" fmla="*/ 2147483647 h 408"/>
                  <a:gd name="T6" fmla="*/ 2147483647 w 409"/>
                  <a:gd name="T7" fmla="*/ 2147483647 h 408"/>
                  <a:gd name="T8" fmla="*/ 2147483647 w 409"/>
                  <a:gd name="T9" fmla="*/ 2147483647 h 408"/>
                  <a:gd name="T10" fmla="*/ 2147483647 w 409"/>
                  <a:gd name="T11" fmla="*/ 2147483647 h 408"/>
                  <a:gd name="T12" fmla="*/ 2147483647 w 409"/>
                  <a:gd name="T13" fmla="*/ 2147483647 h 408"/>
                  <a:gd name="T14" fmla="*/ 2147483647 w 409"/>
                  <a:gd name="T15" fmla="*/ 2147483647 h 408"/>
                  <a:gd name="T16" fmla="*/ 2147483647 w 409"/>
                  <a:gd name="T17" fmla="*/ 2147483647 h 408"/>
                  <a:gd name="T18" fmla="*/ 2147483647 w 409"/>
                  <a:gd name="T19" fmla="*/ 2147483647 h 408"/>
                  <a:gd name="T20" fmla="*/ 2147483647 w 409"/>
                  <a:gd name="T21" fmla="*/ 2147483647 h 408"/>
                  <a:gd name="T22" fmla="*/ 2147483647 w 409"/>
                  <a:gd name="T23" fmla="*/ 2147483647 h 408"/>
                  <a:gd name="T24" fmla="*/ 2147483647 w 409"/>
                  <a:gd name="T25" fmla="*/ 2147483647 h 408"/>
                  <a:gd name="T26" fmla="*/ 2147483647 w 409"/>
                  <a:gd name="T27" fmla="*/ 2147483647 h 408"/>
                  <a:gd name="T28" fmla="*/ 2147483647 w 409"/>
                  <a:gd name="T29" fmla="*/ 2147483647 h 408"/>
                  <a:gd name="T30" fmla="*/ 2147483647 w 409"/>
                  <a:gd name="T31" fmla="*/ 2147483647 h 408"/>
                  <a:gd name="T32" fmla="*/ 2147483647 w 409"/>
                  <a:gd name="T33" fmla="*/ 2147483647 h 408"/>
                  <a:gd name="T34" fmla="*/ 2147483647 w 409"/>
                  <a:gd name="T35" fmla="*/ 2147483647 h 408"/>
                  <a:gd name="T36" fmla="*/ 2147483647 w 409"/>
                  <a:gd name="T37" fmla="*/ 2147483647 h 408"/>
                  <a:gd name="T38" fmla="*/ 2147483647 w 409"/>
                  <a:gd name="T39" fmla="*/ 2147483647 h 408"/>
                  <a:gd name="T40" fmla="*/ 2147483647 w 409"/>
                  <a:gd name="T41" fmla="*/ 2147483647 h 408"/>
                  <a:gd name="T42" fmla="*/ 2147483647 w 409"/>
                  <a:gd name="T43" fmla="*/ 2147483647 h 408"/>
                  <a:gd name="T44" fmla="*/ 2147483647 w 409"/>
                  <a:gd name="T45" fmla="*/ 2147483647 h 408"/>
                  <a:gd name="T46" fmla="*/ 2147483647 w 409"/>
                  <a:gd name="T47" fmla="*/ 2147483647 h 408"/>
                  <a:gd name="T48" fmla="*/ 2147483647 w 409"/>
                  <a:gd name="T49" fmla="*/ 2147483647 h 408"/>
                  <a:gd name="T50" fmla="*/ 2147483647 w 409"/>
                  <a:gd name="T51" fmla="*/ 2147483647 h 408"/>
                  <a:gd name="T52" fmla="*/ 2147483647 w 409"/>
                  <a:gd name="T53" fmla="*/ 2147483647 h 408"/>
                  <a:gd name="T54" fmla="*/ 2147483647 w 409"/>
                  <a:gd name="T55" fmla="*/ 2147483647 h 408"/>
                  <a:gd name="T56" fmla="*/ 2147483647 w 409"/>
                  <a:gd name="T57" fmla="*/ 2147483647 h 408"/>
                  <a:gd name="T58" fmla="*/ 2147483647 w 409"/>
                  <a:gd name="T59" fmla="*/ 2147483647 h 408"/>
                  <a:gd name="T60" fmla="*/ 2147483647 w 409"/>
                  <a:gd name="T61" fmla="*/ 2147483647 h 408"/>
                  <a:gd name="T62" fmla="*/ 2147483647 w 409"/>
                  <a:gd name="T63" fmla="*/ 2147483647 h 408"/>
                  <a:gd name="T64" fmla="*/ 2147483647 w 409"/>
                  <a:gd name="T65" fmla="*/ 2147483647 h 408"/>
                  <a:gd name="T66" fmla="*/ 2147483647 w 409"/>
                  <a:gd name="T67" fmla="*/ 2147483647 h 408"/>
                  <a:gd name="T68" fmla="*/ 2147483647 w 409"/>
                  <a:gd name="T69" fmla="*/ 2147483647 h 408"/>
                  <a:gd name="T70" fmla="*/ 2147483647 w 409"/>
                  <a:gd name="T71" fmla="*/ 2147483647 h 408"/>
                  <a:gd name="T72" fmla="*/ 2147483647 w 409"/>
                  <a:gd name="T73" fmla="*/ 2147483647 h 408"/>
                  <a:gd name="T74" fmla="*/ 2147483647 w 409"/>
                  <a:gd name="T75" fmla="*/ 2147483647 h 408"/>
                  <a:gd name="T76" fmla="*/ 2147483647 w 409"/>
                  <a:gd name="T77" fmla="*/ 2147483647 h 408"/>
                  <a:gd name="T78" fmla="*/ 2147483647 w 409"/>
                  <a:gd name="T79" fmla="*/ 2147483647 h 408"/>
                  <a:gd name="T80" fmla="*/ 2147483647 w 409"/>
                  <a:gd name="T81" fmla="*/ 2147483647 h 408"/>
                  <a:gd name="T82" fmla="*/ 2147483647 w 409"/>
                  <a:gd name="T83" fmla="*/ 2147483647 h 408"/>
                  <a:gd name="T84" fmla="*/ 2147483647 w 409"/>
                  <a:gd name="T85" fmla="*/ 2147483647 h 408"/>
                  <a:gd name="T86" fmla="*/ 2147483647 w 409"/>
                  <a:gd name="T87" fmla="*/ 2147483647 h 408"/>
                  <a:gd name="T88" fmla="*/ 2147483647 w 409"/>
                  <a:gd name="T89" fmla="*/ 2147483647 h 408"/>
                  <a:gd name="T90" fmla="*/ 2147483647 w 409"/>
                  <a:gd name="T91" fmla="*/ 2147483647 h 408"/>
                  <a:gd name="T92" fmla="*/ 2147483647 w 409"/>
                  <a:gd name="T93" fmla="*/ 2147483647 h 408"/>
                  <a:gd name="T94" fmla="*/ 2147483647 w 409"/>
                  <a:gd name="T95" fmla="*/ 2147483647 h 408"/>
                  <a:gd name="T96" fmla="*/ 2147483647 w 409"/>
                  <a:gd name="T97" fmla="*/ 2147483647 h 408"/>
                  <a:gd name="T98" fmla="*/ 2147483647 w 409"/>
                  <a:gd name="T99" fmla="*/ 2147483647 h 408"/>
                  <a:gd name="T100" fmla="*/ 2147483647 w 409"/>
                  <a:gd name="T101" fmla="*/ 2147483647 h 408"/>
                  <a:gd name="T102" fmla="*/ 2147483647 w 409"/>
                  <a:gd name="T103" fmla="*/ 2147483647 h 408"/>
                  <a:gd name="T104" fmla="*/ 2147483647 w 409"/>
                  <a:gd name="T105" fmla="*/ 2147483647 h 408"/>
                  <a:gd name="T106" fmla="*/ 2147483647 w 409"/>
                  <a:gd name="T107" fmla="*/ 2147483647 h 408"/>
                  <a:gd name="T108" fmla="*/ 2147483647 w 409"/>
                  <a:gd name="T109" fmla="*/ 2147483647 h 408"/>
                  <a:gd name="T110" fmla="*/ 2147483647 w 409"/>
                  <a:gd name="T111" fmla="*/ 2147483647 h 408"/>
                  <a:gd name="T112" fmla="*/ 2147483647 w 409"/>
                  <a:gd name="T113" fmla="*/ 2147483647 h 408"/>
                  <a:gd name="T114" fmla="*/ 2147483647 w 409"/>
                  <a:gd name="T115" fmla="*/ 2147483647 h 408"/>
                  <a:gd name="T116" fmla="*/ 2147483647 w 409"/>
                  <a:gd name="T117" fmla="*/ 2147483647 h 40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409" h="408">
                    <a:moveTo>
                      <a:pt x="364" y="266"/>
                    </a:moveTo>
                    <a:cubicBezTo>
                      <a:pt x="358" y="260"/>
                      <a:pt x="347" y="260"/>
                      <a:pt x="335" y="266"/>
                    </a:cubicBezTo>
                    <a:cubicBezTo>
                      <a:pt x="329" y="242"/>
                      <a:pt x="329" y="242"/>
                      <a:pt x="329" y="242"/>
                    </a:cubicBezTo>
                    <a:cubicBezTo>
                      <a:pt x="330" y="241"/>
                      <a:pt x="332" y="240"/>
                      <a:pt x="333" y="239"/>
                    </a:cubicBezTo>
                    <a:cubicBezTo>
                      <a:pt x="340" y="232"/>
                      <a:pt x="346" y="223"/>
                      <a:pt x="349" y="216"/>
                    </a:cubicBezTo>
                    <a:cubicBezTo>
                      <a:pt x="354" y="202"/>
                      <a:pt x="350" y="195"/>
                      <a:pt x="346" y="192"/>
                    </a:cubicBezTo>
                    <a:cubicBezTo>
                      <a:pt x="340" y="186"/>
                      <a:pt x="330" y="186"/>
                      <a:pt x="318" y="192"/>
                    </a:cubicBezTo>
                    <a:cubicBezTo>
                      <a:pt x="307" y="146"/>
                      <a:pt x="307" y="146"/>
                      <a:pt x="307" y="146"/>
                    </a:cubicBezTo>
                    <a:cubicBezTo>
                      <a:pt x="364" y="90"/>
                      <a:pt x="364" y="90"/>
                      <a:pt x="364" y="90"/>
                    </a:cubicBezTo>
                    <a:cubicBezTo>
                      <a:pt x="375" y="78"/>
                      <a:pt x="409" y="37"/>
                      <a:pt x="390" y="19"/>
                    </a:cubicBezTo>
                    <a:cubicBezTo>
                      <a:pt x="372" y="0"/>
                      <a:pt x="331" y="34"/>
                      <a:pt x="319" y="46"/>
                    </a:cubicBezTo>
                    <a:cubicBezTo>
                      <a:pt x="263" y="102"/>
                      <a:pt x="263" y="102"/>
                      <a:pt x="263" y="102"/>
                    </a:cubicBezTo>
                    <a:cubicBezTo>
                      <a:pt x="216" y="91"/>
                      <a:pt x="216" y="91"/>
                      <a:pt x="216" y="91"/>
                    </a:cubicBezTo>
                    <a:cubicBezTo>
                      <a:pt x="223" y="79"/>
                      <a:pt x="223" y="68"/>
                      <a:pt x="216" y="62"/>
                    </a:cubicBezTo>
                    <a:cubicBezTo>
                      <a:pt x="213" y="59"/>
                      <a:pt x="206" y="54"/>
                      <a:pt x="193" y="60"/>
                    </a:cubicBezTo>
                    <a:cubicBezTo>
                      <a:pt x="185" y="63"/>
                      <a:pt x="177" y="68"/>
                      <a:pt x="169" y="76"/>
                    </a:cubicBezTo>
                    <a:cubicBezTo>
                      <a:pt x="168" y="77"/>
                      <a:pt x="167" y="78"/>
                      <a:pt x="166" y="79"/>
                    </a:cubicBezTo>
                    <a:cubicBezTo>
                      <a:pt x="144" y="75"/>
                      <a:pt x="144" y="75"/>
                      <a:pt x="144" y="75"/>
                    </a:cubicBezTo>
                    <a:cubicBezTo>
                      <a:pt x="150" y="63"/>
                      <a:pt x="150" y="52"/>
                      <a:pt x="144" y="46"/>
                    </a:cubicBezTo>
                    <a:cubicBezTo>
                      <a:pt x="133" y="35"/>
                      <a:pt x="112" y="45"/>
                      <a:pt x="97" y="60"/>
                    </a:cubicBezTo>
                    <a:cubicBezTo>
                      <a:pt x="96" y="61"/>
                      <a:pt x="95" y="62"/>
                      <a:pt x="94" y="63"/>
                    </a:cubicBezTo>
                    <a:cubicBezTo>
                      <a:pt x="50" y="53"/>
                      <a:pt x="50" y="53"/>
                      <a:pt x="50" y="53"/>
                    </a:cubicBezTo>
                    <a:cubicBezTo>
                      <a:pt x="48" y="53"/>
                      <a:pt x="45" y="54"/>
                      <a:pt x="43" y="55"/>
                    </a:cubicBezTo>
                    <a:cubicBezTo>
                      <a:pt x="13" y="86"/>
                      <a:pt x="13" y="86"/>
                      <a:pt x="13" y="86"/>
                    </a:cubicBezTo>
                    <a:cubicBezTo>
                      <a:pt x="11" y="87"/>
                      <a:pt x="10" y="90"/>
                      <a:pt x="10" y="92"/>
                    </a:cubicBezTo>
                    <a:cubicBezTo>
                      <a:pt x="11" y="95"/>
                      <a:pt x="12" y="97"/>
                      <a:pt x="15" y="98"/>
                    </a:cubicBezTo>
                    <a:cubicBezTo>
                      <a:pt x="31" y="108"/>
                      <a:pt x="31" y="108"/>
                      <a:pt x="31" y="108"/>
                    </a:cubicBezTo>
                    <a:cubicBezTo>
                      <a:pt x="35" y="110"/>
                      <a:pt x="40" y="108"/>
                      <a:pt x="42" y="104"/>
                    </a:cubicBezTo>
                    <a:cubicBezTo>
                      <a:pt x="44" y="100"/>
                      <a:pt x="43" y="96"/>
                      <a:pt x="39" y="94"/>
                    </a:cubicBezTo>
                    <a:cubicBezTo>
                      <a:pt x="32" y="89"/>
                      <a:pt x="32" y="89"/>
                      <a:pt x="32" y="89"/>
                    </a:cubicBezTo>
                    <a:cubicBezTo>
                      <a:pt x="51" y="70"/>
                      <a:pt x="51" y="70"/>
                      <a:pt x="51" y="70"/>
                    </a:cubicBezTo>
                    <a:cubicBezTo>
                      <a:pt x="95" y="80"/>
                      <a:pt x="95" y="80"/>
                      <a:pt x="95" y="80"/>
                    </a:cubicBezTo>
                    <a:cubicBezTo>
                      <a:pt x="98" y="81"/>
                      <a:pt x="101" y="79"/>
                      <a:pt x="103" y="77"/>
                    </a:cubicBezTo>
                    <a:cubicBezTo>
                      <a:pt x="104" y="75"/>
                      <a:pt x="106" y="73"/>
                      <a:pt x="108" y="71"/>
                    </a:cubicBezTo>
                    <a:cubicBezTo>
                      <a:pt x="120" y="59"/>
                      <a:pt x="130" y="57"/>
                      <a:pt x="133" y="57"/>
                    </a:cubicBezTo>
                    <a:cubicBezTo>
                      <a:pt x="133" y="59"/>
                      <a:pt x="132" y="66"/>
                      <a:pt x="125" y="75"/>
                    </a:cubicBezTo>
                    <a:cubicBezTo>
                      <a:pt x="123" y="77"/>
                      <a:pt x="123" y="80"/>
                      <a:pt x="124" y="83"/>
                    </a:cubicBezTo>
                    <a:cubicBezTo>
                      <a:pt x="124" y="85"/>
                      <a:pt x="127" y="87"/>
                      <a:pt x="129" y="88"/>
                    </a:cubicBezTo>
                    <a:cubicBezTo>
                      <a:pt x="167" y="96"/>
                      <a:pt x="167" y="96"/>
                      <a:pt x="167" y="96"/>
                    </a:cubicBezTo>
                    <a:cubicBezTo>
                      <a:pt x="170" y="97"/>
                      <a:pt x="173" y="96"/>
                      <a:pt x="175" y="93"/>
                    </a:cubicBezTo>
                    <a:cubicBezTo>
                      <a:pt x="177" y="91"/>
                      <a:pt x="179" y="89"/>
                      <a:pt x="180" y="87"/>
                    </a:cubicBezTo>
                    <a:cubicBezTo>
                      <a:pt x="192" y="75"/>
                      <a:pt x="202" y="73"/>
                      <a:pt x="205" y="73"/>
                    </a:cubicBezTo>
                    <a:cubicBezTo>
                      <a:pt x="205" y="75"/>
                      <a:pt x="204" y="82"/>
                      <a:pt x="197" y="91"/>
                    </a:cubicBezTo>
                    <a:cubicBezTo>
                      <a:pt x="195" y="93"/>
                      <a:pt x="195" y="96"/>
                      <a:pt x="196" y="99"/>
                    </a:cubicBezTo>
                    <a:cubicBezTo>
                      <a:pt x="197" y="101"/>
                      <a:pt x="199" y="103"/>
                      <a:pt x="201" y="104"/>
                    </a:cubicBezTo>
                    <a:cubicBezTo>
                      <a:pt x="264" y="118"/>
                      <a:pt x="264" y="118"/>
                      <a:pt x="264" y="118"/>
                    </a:cubicBezTo>
                    <a:cubicBezTo>
                      <a:pt x="267" y="119"/>
                      <a:pt x="269" y="118"/>
                      <a:pt x="271" y="116"/>
                    </a:cubicBezTo>
                    <a:cubicBezTo>
                      <a:pt x="330" y="57"/>
                      <a:pt x="330" y="57"/>
                      <a:pt x="330" y="57"/>
                    </a:cubicBezTo>
                    <a:cubicBezTo>
                      <a:pt x="350" y="39"/>
                      <a:pt x="374" y="25"/>
                      <a:pt x="379" y="30"/>
                    </a:cubicBezTo>
                    <a:cubicBezTo>
                      <a:pt x="384" y="35"/>
                      <a:pt x="370" y="59"/>
                      <a:pt x="352" y="79"/>
                    </a:cubicBezTo>
                    <a:cubicBezTo>
                      <a:pt x="293" y="138"/>
                      <a:pt x="293" y="138"/>
                      <a:pt x="293" y="138"/>
                    </a:cubicBezTo>
                    <a:cubicBezTo>
                      <a:pt x="291" y="140"/>
                      <a:pt x="290" y="142"/>
                      <a:pt x="291" y="145"/>
                    </a:cubicBezTo>
                    <a:cubicBezTo>
                      <a:pt x="305" y="207"/>
                      <a:pt x="305" y="207"/>
                      <a:pt x="305" y="207"/>
                    </a:cubicBezTo>
                    <a:cubicBezTo>
                      <a:pt x="305" y="209"/>
                      <a:pt x="307" y="211"/>
                      <a:pt x="310" y="212"/>
                    </a:cubicBezTo>
                    <a:cubicBezTo>
                      <a:pt x="312" y="213"/>
                      <a:pt x="315" y="213"/>
                      <a:pt x="317" y="211"/>
                    </a:cubicBezTo>
                    <a:cubicBezTo>
                      <a:pt x="327" y="204"/>
                      <a:pt x="333" y="203"/>
                      <a:pt x="335" y="203"/>
                    </a:cubicBezTo>
                    <a:cubicBezTo>
                      <a:pt x="336" y="206"/>
                      <a:pt x="333" y="216"/>
                      <a:pt x="321" y="228"/>
                    </a:cubicBezTo>
                    <a:cubicBezTo>
                      <a:pt x="319" y="230"/>
                      <a:pt x="317" y="231"/>
                      <a:pt x="315" y="233"/>
                    </a:cubicBezTo>
                    <a:cubicBezTo>
                      <a:pt x="313" y="235"/>
                      <a:pt x="312" y="238"/>
                      <a:pt x="313" y="241"/>
                    </a:cubicBezTo>
                    <a:cubicBezTo>
                      <a:pt x="322" y="281"/>
                      <a:pt x="322" y="281"/>
                      <a:pt x="322" y="281"/>
                    </a:cubicBezTo>
                    <a:cubicBezTo>
                      <a:pt x="322" y="284"/>
                      <a:pt x="324" y="286"/>
                      <a:pt x="327" y="287"/>
                    </a:cubicBezTo>
                    <a:cubicBezTo>
                      <a:pt x="329" y="288"/>
                      <a:pt x="332" y="287"/>
                      <a:pt x="334" y="286"/>
                    </a:cubicBezTo>
                    <a:cubicBezTo>
                      <a:pt x="344" y="278"/>
                      <a:pt x="351" y="277"/>
                      <a:pt x="353" y="277"/>
                    </a:cubicBezTo>
                    <a:cubicBezTo>
                      <a:pt x="353" y="280"/>
                      <a:pt x="350" y="290"/>
                      <a:pt x="339" y="302"/>
                    </a:cubicBezTo>
                    <a:cubicBezTo>
                      <a:pt x="337" y="304"/>
                      <a:pt x="335" y="306"/>
                      <a:pt x="332" y="307"/>
                    </a:cubicBezTo>
                    <a:cubicBezTo>
                      <a:pt x="330" y="309"/>
                      <a:pt x="329" y="313"/>
                      <a:pt x="330" y="316"/>
                    </a:cubicBezTo>
                    <a:cubicBezTo>
                      <a:pt x="339" y="358"/>
                      <a:pt x="339" y="358"/>
                      <a:pt x="339" y="358"/>
                    </a:cubicBezTo>
                    <a:cubicBezTo>
                      <a:pt x="320" y="377"/>
                      <a:pt x="320" y="377"/>
                      <a:pt x="320" y="377"/>
                    </a:cubicBezTo>
                    <a:cubicBezTo>
                      <a:pt x="233" y="220"/>
                      <a:pt x="233" y="220"/>
                      <a:pt x="233" y="220"/>
                    </a:cubicBezTo>
                    <a:cubicBezTo>
                      <a:pt x="232" y="218"/>
                      <a:pt x="230" y="216"/>
                      <a:pt x="228" y="216"/>
                    </a:cubicBezTo>
                    <a:cubicBezTo>
                      <a:pt x="225" y="215"/>
                      <a:pt x="223" y="216"/>
                      <a:pt x="221" y="218"/>
                    </a:cubicBezTo>
                    <a:cubicBezTo>
                      <a:pt x="132" y="296"/>
                      <a:pt x="132" y="296"/>
                      <a:pt x="132" y="296"/>
                    </a:cubicBezTo>
                    <a:cubicBezTo>
                      <a:pt x="130" y="298"/>
                      <a:pt x="129" y="300"/>
                      <a:pt x="130" y="303"/>
                    </a:cubicBezTo>
                    <a:cubicBezTo>
                      <a:pt x="136" y="384"/>
                      <a:pt x="136" y="384"/>
                      <a:pt x="136" y="384"/>
                    </a:cubicBezTo>
                    <a:cubicBezTo>
                      <a:pt x="130" y="388"/>
                      <a:pt x="130" y="388"/>
                      <a:pt x="130" y="388"/>
                    </a:cubicBezTo>
                    <a:cubicBezTo>
                      <a:pt x="102" y="335"/>
                      <a:pt x="102" y="335"/>
                      <a:pt x="102" y="335"/>
                    </a:cubicBezTo>
                    <a:cubicBezTo>
                      <a:pt x="101" y="333"/>
                      <a:pt x="99" y="332"/>
                      <a:pt x="97" y="331"/>
                    </a:cubicBezTo>
                    <a:cubicBezTo>
                      <a:pt x="94" y="331"/>
                      <a:pt x="92" y="331"/>
                      <a:pt x="90" y="333"/>
                    </a:cubicBezTo>
                    <a:cubicBezTo>
                      <a:pt x="66" y="352"/>
                      <a:pt x="57" y="355"/>
                      <a:pt x="54" y="355"/>
                    </a:cubicBezTo>
                    <a:cubicBezTo>
                      <a:pt x="54" y="352"/>
                      <a:pt x="57" y="343"/>
                      <a:pt x="76" y="319"/>
                    </a:cubicBezTo>
                    <a:cubicBezTo>
                      <a:pt x="78" y="317"/>
                      <a:pt x="78" y="315"/>
                      <a:pt x="78" y="312"/>
                    </a:cubicBezTo>
                    <a:cubicBezTo>
                      <a:pt x="77" y="310"/>
                      <a:pt x="76" y="308"/>
                      <a:pt x="74" y="307"/>
                    </a:cubicBezTo>
                    <a:cubicBezTo>
                      <a:pt x="21" y="279"/>
                      <a:pt x="21" y="279"/>
                      <a:pt x="21" y="279"/>
                    </a:cubicBezTo>
                    <a:cubicBezTo>
                      <a:pt x="25" y="273"/>
                      <a:pt x="25" y="273"/>
                      <a:pt x="25" y="273"/>
                    </a:cubicBezTo>
                    <a:cubicBezTo>
                      <a:pt x="106" y="279"/>
                      <a:pt x="106" y="279"/>
                      <a:pt x="106" y="279"/>
                    </a:cubicBezTo>
                    <a:cubicBezTo>
                      <a:pt x="109" y="280"/>
                      <a:pt x="111" y="279"/>
                      <a:pt x="113" y="277"/>
                    </a:cubicBezTo>
                    <a:cubicBezTo>
                      <a:pt x="191" y="188"/>
                      <a:pt x="191" y="188"/>
                      <a:pt x="191" y="188"/>
                    </a:cubicBezTo>
                    <a:cubicBezTo>
                      <a:pt x="193" y="186"/>
                      <a:pt x="193" y="184"/>
                      <a:pt x="193" y="181"/>
                    </a:cubicBezTo>
                    <a:cubicBezTo>
                      <a:pt x="192" y="179"/>
                      <a:pt x="191" y="177"/>
                      <a:pt x="189" y="176"/>
                    </a:cubicBezTo>
                    <a:cubicBezTo>
                      <a:pt x="67" y="109"/>
                      <a:pt x="67" y="109"/>
                      <a:pt x="67" y="109"/>
                    </a:cubicBezTo>
                    <a:cubicBezTo>
                      <a:pt x="63" y="107"/>
                      <a:pt x="58" y="108"/>
                      <a:pt x="56" y="112"/>
                    </a:cubicBezTo>
                    <a:cubicBezTo>
                      <a:pt x="54" y="116"/>
                      <a:pt x="55" y="121"/>
                      <a:pt x="59" y="123"/>
                    </a:cubicBezTo>
                    <a:cubicBezTo>
                      <a:pt x="172" y="185"/>
                      <a:pt x="172" y="185"/>
                      <a:pt x="172" y="185"/>
                    </a:cubicBezTo>
                    <a:cubicBezTo>
                      <a:pt x="103" y="263"/>
                      <a:pt x="103" y="263"/>
                      <a:pt x="103" y="263"/>
                    </a:cubicBezTo>
                    <a:cubicBezTo>
                      <a:pt x="22" y="257"/>
                      <a:pt x="22" y="257"/>
                      <a:pt x="22" y="257"/>
                    </a:cubicBezTo>
                    <a:cubicBezTo>
                      <a:pt x="19" y="257"/>
                      <a:pt x="17" y="258"/>
                      <a:pt x="15" y="260"/>
                    </a:cubicBezTo>
                    <a:cubicBezTo>
                      <a:pt x="2" y="277"/>
                      <a:pt x="2" y="277"/>
                      <a:pt x="2" y="277"/>
                    </a:cubicBezTo>
                    <a:cubicBezTo>
                      <a:pt x="1" y="279"/>
                      <a:pt x="0" y="282"/>
                      <a:pt x="1" y="284"/>
                    </a:cubicBezTo>
                    <a:cubicBezTo>
                      <a:pt x="1" y="286"/>
                      <a:pt x="3" y="288"/>
                      <a:pt x="5" y="289"/>
                    </a:cubicBezTo>
                    <a:cubicBezTo>
                      <a:pt x="58" y="316"/>
                      <a:pt x="58" y="316"/>
                      <a:pt x="58" y="316"/>
                    </a:cubicBezTo>
                    <a:cubicBezTo>
                      <a:pt x="38" y="343"/>
                      <a:pt x="33" y="358"/>
                      <a:pt x="42" y="367"/>
                    </a:cubicBezTo>
                    <a:cubicBezTo>
                      <a:pt x="51" y="376"/>
                      <a:pt x="66" y="371"/>
                      <a:pt x="93" y="351"/>
                    </a:cubicBezTo>
                    <a:cubicBezTo>
                      <a:pt x="120" y="404"/>
                      <a:pt x="120" y="404"/>
                      <a:pt x="120" y="404"/>
                    </a:cubicBezTo>
                    <a:cubicBezTo>
                      <a:pt x="121" y="406"/>
                      <a:pt x="123" y="408"/>
                      <a:pt x="125" y="408"/>
                    </a:cubicBezTo>
                    <a:cubicBezTo>
                      <a:pt x="126" y="408"/>
                      <a:pt x="126" y="408"/>
                      <a:pt x="127" y="408"/>
                    </a:cubicBezTo>
                    <a:cubicBezTo>
                      <a:pt x="129" y="408"/>
                      <a:pt x="130" y="408"/>
                      <a:pt x="132" y="407"/>
                    </a:cubicBezTo>
                    <a:cubicBezTo>
                      <a:pt x="149" y="394"/>
                      <a:pt x="149" y="394"/>
                      <a:pt x="149" y="394"/>
                    </a:cubicBezTo>
                    <a:cubicBezTo>
                      <a:pt x="151" y="392"/>
                      <a:pt x="152" y="390"/>
                      <a:pt x="152" y="387"/>
                    </a:cubicBezTo>
                    <a:cubicBezTo>
                      <a:pt x="146" y="306"/>
                      <a:pt x="146" y="306"/>
                      <a:pt x="146" y="306"/>
                    </a:cubicBezTo>
                    <a:cubicBezTo>
                      <a:pt x="224" y="236"/>
                      <a:pt x="224" y="236"/>
                      <a:pt x="224" y="236"/>
                    </a:cubicBezTo>
                    <a:cubicBezTo>
                      <a:pt x="311" y="394"/>
                      <a:pt x="311" y="394"/>
                      <a:pt x="311" y="394"/>
                    </a:cubicBezTo>
                    <a:cubicBezTo>
                      <a:pt x="312" y="397"/>
                      <a:pt x="314" y="398"/>
                      <a:pt x="317" y="399"/>
                    </a:cubicBezTo>
                    <a:cubicBezTo>
                      <a:pt x="319" y="399"/>
                      <a:pt x="322" y="398"/>
                      <a:pt x="323" y="396"/>
                    </a:cubicBezTo>
                    <a:cubicBezTo>
                      <a:pt x="354" y="366"/>
                      <a:pt x="354" y="366"/>
                      <a:pt x="354" y="366"/>
                    </a:cubicBezTo>
                    <a:cubicBezTo>
                      <a:pt x="355" y="364"/>
                      <a:pt x="356" y="361"/>
                      <a:pt x="356" y="359"/>
                    </a:cubicBezTo>
                    <a:cubicBezTo>
                      <a:pt x="346" y="317"/>
                      <a:pt x="346" y="317"/>
                      <a:pt x="346" y="317"/>
                    </a:cubicBezTo>
                    <a:cubicBezTo>
                      <a:pt x="348" y="316"/>
                      <a:pt x="349" y="314"/>
                      <a:pt x="350" y="313"/>
                    </a:cubicBezTo>
                    <a:cubicBezTo>
                      <a:pt x="365" y="298"/>
                      <a:pt x="375" y="277"/>
                      <a:pt x="364" y="2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74" name="Freeform 3"/>
              <p:cNvSpPr>
                <a:spLocks noChangeAspect="1" noEditPoints="1"/>
              </p:cNvSpPr>
              <p:nvPr/>
            </p:nvSpPr>
            <p:spPr bwMode="auto">
              <a:xfrm>
                <a:off x="5077107" y="4402602"/>
                <a:ext cx="136227" cy="110369"/>
              </a:xfrm>
              <a:custGeom>
                <a:avLst/>
                <a:gdLst>
                  <a:gd name="T0" fmla="*/ 2147483647 w 344"/>
                  <a:gd name="T1" fmla="*/ 2147483647 h 285"/>
                  <a:gd name="T2" fmla="*/ 2147483647 w 344"/>
                  <a:gd name="T3" fmla="*/ 2147483647 h 285"/>
                  <a:gd name="T4" fmla="*/ 2147483647 w 344"/>
                  <a:gd name="T5" fmla="*/ 2147483647 h 285"/>
                  <a:gd name="T6" fmla="*/ 2147483647 w 344"/>
                  <a:gd name="T7" fmla="*/ 2147483647 h 285"/>
                  <a:gd name="T8" fmla="*/ 2147483647 w 344"/>
                  <a:gd name="T9" fmla="*/ 2147483647 h 285"/>
                  <a:gd name="T10" fmla="*/ 2147483647 w 344"/>
                  <a:gd name="T11" fmla="*/ 2147483647 h 285"/>
                  <a:gd name="T12" fmla="*/ 2147483647 w 344"/>
                  <a:gd name="T13" fmla="*/ 2147483647 h 285"/>
                  <a:gd name="T14" fmla="*/ 2147483647 w 344"/>
                  <a:gd name="T15" fmla="*/ 2147483647 h 285"/>
                  <a:gd name="T16" fmla="*/ 2147483647 w 344"/>
                  <a:gd name="T17" fmla="*/ 2147483647 h 285"/>
                  <a:gd name="T18" fmla="*/ 2147483647 w 344"/>
                  <a:gd name="T19" fmla="*/ 2147483647 h 285"/>
                  <a:gd name="T20" fmla="*/ 2147483647 w 344"/>
                  <a:gd name="T21" fmla="*/ 2147483647 h 285"/>
                  <a:gd name="T22" fmla="*/ 2147483647 w 344"/>
                  <a:gd name="T23" fmla="*/ 2147483647 h 285"/>
                  <a:gd name="T24" fmla="*/ 2147483647 w 344"/>
                  <a:gd name="T25" fmla="*/ 2147483647 h 285"/>
                  <a:gd name="T26" fmla="*/ 2147483647 w 344"/>
                  <a:gd name="T27" fmla="*/ 2147483647 h 285"/>
                  <a:gd name="T28" fmla="*/ 2147483647 w 344"/>
                  <a:gd name="T29" fmla="*/ 2147483647 h 285"/>
                  <a:gd name="T30" fmla="*/ 2147483647 w 344"/>
                  <a:gd name="T31" fmla="*/ 2147483647 h 285"/>
                  <a:gd name="T32" fmla="*/ 2147483647 w 344"/>
                  <a:gd name="T33" fmla="*/ 2147483647 h 285"/>
                  <a:gd name="T34" fmla="*/ 2147483647 w 344"/>
                  <a:gd name="T35" fmla="*/ 2147483647 h 285"/>
                  <a:gd name="T36" fmla="*/ 2147483647 w 344"/>
                  <a:gd name="T37" fmla="*/ 2147483647 h 285"/>
                  <a:gd name="T38" fmla="*/ 2147483647 w 344"/>
                  <a:gd name="T39" fmla="*/ 2147483647 h 285"/>
                  <a:gd name="T40" fmla="*/ 2147483647 w 344"/>
                  <a:gd name="T41" fmla="*/ 2147483647 h 285"/>
                  <a:gd name="T42" fmla="*/ 2147483647 w 344"/>
                  <a:gd name="T43" fmla="*/ 2147483647 h 285"/>
                  <a:gd name="T44" fmla="*/ 2147483647 w 344"/>
                  <a:gd name="T45" fmla="*/ 2147483647 h 285"/>
                  <a:gd name="T46" fmla="*/ 2147483647 w 344"/>
                  <a:gd name="T47" fmla="*/ 2147483647 h 285"/>
                  <a:gd name="T48" fmla="*/ 2147483647 w 344"/>
                  <a:gd name="T49" fmla="*/ 2147483647 h 285"/>
                  <a:gd name="T50" fmla="*/ 2147483647 w 344"/>
                  <a:gd name="T51" fmla="*/ 2147483647 h 285"/>
                  <a:gd name="T52" fmla="*/ 2147483647 w 344"/>
                  <a:gd name="T53" fmla="*/ 2147483647 h 285"/>
                  <a:gd name="T54" fmla="*/ 2147483647 w 344"/>
                  <a:gd name="T55" fmla="*/ 2147483647 h 285"/>
                  <a:gd name="T56" fmla="*/ 2147483647 w 344"/>
                  <a:gd name="T57" fmla="*/ 2147483647 h 285"/>
                  <a:gd name="T58" fmla="*/ 2147483647 w 344"/>
                  <a:gd name="T59" fmla="*/ 2147483647 h 285"/>
                  <a:gd name="T60" fmla="*/ 2147483647 w 344"/>
                  <a:gd name="T61" fmla="*/ 2147483647 h 285"/>
                  <a:gd name="T62" fmla="*/ 2147483647 w 344"/>
                  <a:gd name="T63" fmla="*/ 2147483647 h 285"/>
                  <a:gd name="T64" fmla="*/ 2147483647 w 344"/>
                  <a:gd name="T65" fmla="*/ 2147483647 h 285"/>
                  <a:gd name="T66" fmla="*/ 2147483647 w 344"/>
                  <a:gd name="T67" fmla="*/ 2147483647 h 285"/>
                  <a:gd name="T68" fmla="*/ 2147483647 w 344"/>
                  <a:gd name="T69" fmla="*/ 2147483647 h 285"/>
                  <a:gd name="T70" fmla="*/ 2147483647 w 344"/>
                  <a:gd name="T71" fmla="*/ 2147483647 h 285"/>
                  <a:gd name="T72" fmla="*/ 2147483647 w 344"/>
                  <a:gd name="T73" fmla="*/ 2147483647 h 285"/>
                  <a:gd name="T74" fmla="*/ 2147483647 w 344"/>
                  <a:gd name="T75" fmla="*/ 2147483647 h 285"/>
                  <a:gd name="T76" fmla="*/ 2147483647 w 344"/>
                  <a:gd name="T77" fmla="*/ 2147483647 h 285"/>
                  <a:gd name="T78" fmla="*/ 2147483647 w 344"/>
                  <a:gd name="T79" fmla="*/ 2147483647 h 285"/>
                  <a:gd name="T80" fmla="*/ 2147483647 w 344"/>
                  <a:gd name="T81" fmla="*/ 2147483647 h 285"/>
                  <a:gd name="T82" fmla="*/ 2147483647 w 344"/>
                  <a:gd name="T83" fmla="*/ 2147483647 h 285"/>
                  <a:gd name="T84" fmla="*/ 2147483647 w 344"/>
                  <a:gd name="T85" fmla="*/ 2147483647 h 285"/>
                  <a:gd name="T86" fmla="*/ 2147483647 w 344"/>
                  <a:gd name="T87" fmla="*/ 2147483647 h 285"/>
                  <a:gd name="T88" fmla="*/ 2147483647 w 344"/>
                  <a:gd name="T89" fmla="*/ 2147483647 h 285"/>
                  <a:gd name="T90" fmla="*/ 2147483647 w 344"/>
                  <a:gd name="T91" fmla="*/ 2147483647 h 285"/>
                  <a:gd name="T92" fmla="*/ 2147483647 w 344"/>
                  <a:gd name="T93" fmla="*/ 2147483647 h 285"/>
                  <a:gd name="T94" fmla="*/ 2147483647 w 344"/>
                  <a:gd name="T95" fmla="*/ 2147483647 h 285"/>
                  <a:gd name="T96" fmla="*/ 2147483647 w 344"/>
                  <a:gd name="T97" fmla="*/ 2147483647 h 285"/>
                  <a:gd name="T98" fmla="*/ 2147483647 w 344"/>
                  <a:gd name="T99" fmla="*/ 2147483647 h 285"/>
                  <a:gd name="T100" fmla="*/ 2147483647 w 344"/>
                  <a:gd name="T101" fmla="*/ 2147483647 h 285"/>
                  <a:gd name="T102" fmla="*/ 2147483647 w 344"/>
                  <a:gd name="T103" fmla="*/ 2147483647 h 285"/>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344" h="285">
                    <a:moveTo>
                      <a:pt x="131" y="2"/>
                    </a:moveTo>
                    <a:cubicBezTo>
                      <a:pt x="127" y="0"/>
                      <a:pt x="122" y="2"/>
                      <a:pt x="120" y="6"/>
                    </a:cubicBezTo>
                    <a:cubicBezTo>
                      <a:pt x="2" y="273"/>
                      <a:pt x="2" y="273"/>
                      <a:pt x="2" y="273"/>
                    </a:cubicBezTo>
                    <a:cubicBezTo>
                      <a:pt x="0" y="278"/>
                      <a:pt x="2" y="282"/>
                      <a:pt x="6" y="284"/>
                    </a:cubicBezTo>
                    <a:cubicBezTo>
                      <a:pt x="7" y="285"/>
                      <a:pt x="8" y="285"/>
                      <a:pt x="9" y="285"/>
                    </a:cubicBezTo>
                    <a:cubicBezTo>
                      <a:pt x="12" y="285"/>
                      <a:pt x="15" y="283"/>
                      <a:pt x="16" y="280"/>
                    </a:cubicBezTo>
                    <a:cubicBezTo>
                      <a:pt x="135" y="12"/>
                      <a:pt x="135" y="12"/>
                      <a:pt x="135" y="12"/>
                    </a:cubicBezTo>
                    <a:cubicBezTo>
                      <a:pt x="137" y="8"/>
                      <a:pt x="135" y="3"/>
                      <a:pt x="131" y="2"/>
                    </a:cubicBezTo>
                    <a:close/>
                    <a:moveTo>
                      <a:pt x="172" y="1"/>
                    </a:moveTo>
                    <a:cubicBezTo>
                      <a:pt x="168" y="1"/>
                      <a:pt x="164" y="4"/>
                      <a:pt x="164" y="9"/>
                    </a:cubicBezTo>
                    <a:cubicBezTo>
                      <a:pt x="164" y="25"/>
                      <a:pt x="164" y="25"/>
                      <a:pt x="164" y="25"/>
                    </a:cubicBezTo>
                    <a:cubicBezTo>
                      <a:pt x="164" y="29"/>
                      <a:pt x="168" y="33"/>
                      <a:pt x="172" y="33"/>
                    </a:cubicBezTo>
                    <a:cubicBezTo>
                      <a:pt x="177" y="33"/>
                      <a:pt x="180" y="29"/>
                      <a:pt x="180" y="25"/>
                    </a:cubicBezTo>
                    <a:cubicBezTo>
                      <a:pt x="180" y="9"/>
                      <a:pt x="180" y="9"/>
                      <a:pt x="180" y="9"/>
                    </a:cubicBezTo>
                    <a:cubicBezTo>
                      <a:pt x="180" y="4"/>
                      <a:pt x="177" y="1"/>
                      <a:pt x="172" y="1"/>
                    </a:cubicBezTo>
                    <a:close/>
                    <a:moveTo>
                      <a:pt x="172" y="159"/>
                    </a:moveTo>
                    <a:cubicBezTo>
                      <a:pt x="168" y="159"/>
                      <a:pt x="164" y="162"/>
                      <a:pt x="164" y="167"/>
                    </a:cubicBezTo>
                    <a:cubicBezTo>
                      <a:pt x="164" y="202"/>
                      <a:pt x="164" y="202"/>
                      <a:pt x="164" y="202"/>
                    </a:cubicBezTo>
                    <a:cubicBezTo>
                      <a:pt x="164" y="207"/>
                      <a:pt x="168" y="210"/>
                      <a:pt x="172" y="210"/>
                    </a:cubicBezTo>
                    <a:cubicBezTo>
                      <a:pt x="177" y="210"/>
                      <a:pt x="180" y="207"/>
                      <a:pt x="180" y="202"/>
                    </a:cubicBezTo>
                    <a:cubicBezTo>
                      <a:pt x="180" y="167"/>
                      <a:pt x="180" y="167"/>
                      <a:pt x="180" y="167"/>
                    </a:cubicBezTo>
                    <a:cubicBezTo>
                      <a:pt x="180" y="162"/>
                      <a:pt x="177" y="159"/>
                      <a:pt x="172" y="159"/>
                    </a:cubicBezTo>
                    <a:close/>
                    <a:moveTo>
                      <a:pt x="172" y="70"/>
                    </a:moveTo>
                    <a:cubicBezTo>
                      <a:pt x="168" y="70"/>
                      <a:pt x="164" y="74"/>
                      <a:pt x="164" y="78"/>
                    </a:cubicBezTo>
                    <a:cubicBezTo>
                      <a:pt x="164" y="114"/>
                      <a:pt x="164" y="114"/>
                      <a:pt x="164" y="114"/>
                    </a:cubicBezTo>
                    <a:cubicBezTo>
                      <a:pt x="164" y="118"/>
                      <a:pt x="168" y="122"/>
                      <a:pt x="172" y="122"/>
                    </a:cubicBezTo>
                    <a:cubicBezTo>
                      <a:pt x="177" y="122"/>
                      <a:pt x="180" y="118"/>
                      <a:pt x="180" y="114"/>
                    </a:cubicBezTo>
                    <a:cubicBezTo>
                      <a:pt x="180" y="78"/>
                      <a:pt x="180" y="78"/>
                      <a:pt x="180" y="78"/>
                    </a:cubicBezTo>
                    <a:cubicBezTo>
                      <a:pt x="180" y="74"/>
                      <a:pt x="177" y="70"/>
                      <a:pt x="172" y="70"/>
                    </a:cubicBezTo>
                    <a:close/>
                    <a:moveTo>
                      <a:pt x="172" y="247"/>
                    </a:moveTo>
                    <a:cubicBezTo>
                      <a:pt x="168" y="247"/>
                      <a:pt x="164" y="251"/>
                      <a:pt x="164" y="255"/>
                    </a:cubicBezTo>
                    <a:cubicBezTo>
                      <a:pt x="164" y="271"/>
                      <a:pt x="164" y="271"/>
                      <a:pt x="164" y="271"/>
                    </a:cubicBezTo>
                    <a:cubicBezTo>
                      <a:pt x="164" y="276"/>
                      <a:pt x="168" y="279"/>
                      <a:pt x="172" y="279"/>
                    </a:cubicBezTo>
                    <a:cubicBezTo>
                      <a:pt x="177" y="279"/>
                      <a:pt x="180" y="276"/>
                      <a:pt x="180" y="271"/>
                    </a:cubicBezTo>
                    <a:cubicBezTo>
                      <a:pt x="180" y="255"/>
                      <a:pt x="180" y="255"/>
                      <a:pt x="180" y="255"/>
                    </a:cubicBezTo>
                    <a:cubicBezTo>
                      <a:pt x="180" y="251"/>
                      <a:pt x="177" y="247"/>
                      <a:pt x="172" y="247"/>
                    </a:cubicBezTo>
                    <a:close/>
                    <a:moveTo>
                      <a:pt x="235" y="30"/>
                    </a:moveTo>
                    <a:cubicBezTo>
                      <a:pt x="224" y="6"/>
                      <a:pt x="224" y="6"/>
                      <a:pt x="224" y="6"/>
                    </a:cubicBezTo>
                    <a:cubicBezTo>
                      <a:pt x="222" y="2"/>
                      <a:pt x="218" y="0"/>
                      <a:pt x="213" y="2"/>
                    </a:cubicBezTo>
                    <a:cubicBezTo>
                      <a:pt x="209" y="3"/>
                      <a:pt x="208" y="8"/>
                      <a:pt x="209" y="12"/>
                    </a:cubicBezTo>
                    <a:cubicBezTo>
                      <a:pt x="220" y="36"/>
                      <a:pt x="220" y="36"/>
                      <a:pt x="220" y="36"/>
                    </a:cubicBezTo>
                    <a:cubicBezTo>
                      <a:pt x="222" y="39"/>
                      <a:pt x="224" y="41"/>
                      <a:pt x="227" y="41"/>
                    </a:cubicBezTo>
                    <a:cubicBezTo>
                      <a:pt x="229" y="41"/>
                      <a:pt x="230" y="41"/>
                      <a:pt x="231" y="41"/>
                    </a:cubicBezTo>
                    <a:cubicBezTo>
                      <a:pt x="235" y="39"/>
                      <a:pt x="237" y="34"/>
                      <a:pt x="235" y="30"/>
                    </a:cubicBezTo>
                    <a:close/>
                    <a:moveTo>
                      <a:pt x="343" y="273"/>
                    </a:moveTo>
                    <a:cubicBezTo>
                      <a:pt x="248" y="60"/>
                      <a:pt x="248" y="60"/>
                      <a:pt x="248" y="60"/>
                    </a:cubicBezTo>
                    <a:cubicBezTo>
                      <a:pt x="246" y="56"/>
                      <a:pt x="241" y="54"/>
                      <a:pt x="237" y="56"/>
                    </a:cubicBezTo>
                    <a:cubicBezTo>
                      <a:pt x="233" y="58"/>
                      <a:pt x="232" y="62"/>
                      <a:pt x="233" y="66"/>
                    </a:cubicBezTo>
                    <a:cubicBezTo>
                      <a:pt x="328" y="280"/>
                      <a:pt x="328" y="280"/>
                      <a:pt x="328" y="280"/>
                    </a:cubicBezTo>
                    <a:cubicBezTo>
                      <a:pt x="329" y="283"/>
                      <a:pt x="332" y="285"/>
                      <a:pt x="335" y="285"/>
                    </a:cubicBezTo>
                    <a:cubicBezTo>
                      <a:pt x="336" y="285"/>
                      <a:pt x="337" y="285"/>
                      <a:pt x="339" y="284"/>
                    </a:cubicBezTo>
                    <a:cubicBezTo>
                      <a:pt x="343" y="282"/>
                      <a:pt x="344" y="278"/>
                      <a:pt x="343" y="2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75" name="Freeform 3"/>
              <p:cNvSpPr>
                <a:spLocks noChangeAspect="1" noEditPoints="1"/>
              </p:cNvSpPr>
              <p:nvPr/>
            </p:nvSpPr>
            <p:spPr bwMode="auto">
              <a:xfrm>
                <a:off x="5063270" y="4022629"/>
                <a:ext cx="95345" cy="148743"/>
              </a:xfrm>
              <a:custGeom>
                <a:avLst/>
                <a:gdLst>
                  <a:gd name="T0" fmla="*/ 2147483647 w 241"/>
                  <a:gd name="T1" fmla="*/ 2147483647 h 384"/>
                  <a:gd name="T2" fmla="*/ 2147483647 w 241"/>
                  <a:gd name="T3" fmla="*/ 2147483647 h 384"/>
                  <a:gd name="T4" fmla="*/ 2147483647 w 241"/>
                  <a:gd name="T5" fmla="*/ 2147483647 h 384"/>
                  <a:gd name="T6" fmla="*/ 2147483647 w 241"/>
                  <a:gd name="T7" fmla="*/ 2147483647 h 384"/>
                  <a:gd name="T8" fmla="*/ 2147483647 w 241"/>
                  <a:gd name="T9" fmla="*/ 2147483647 h 384"/>
                  <a:gd name="T10" fmla="*/ 2147483647 w 241"/>
                  <a:gd name="T11" fmla="*/ 2147483647 h 384"/>
                  <a:gd name="T12" fmla="*/ 2147483647 w 241"/>
                  <a:gd name="T13" fmla="*/ 2147483647 h 384"/>
                  <a:gd name="T14" fmla="*/ 2147483647 w 241"/>
                  <a:gd name="T15" fmla="*/ 0 h 384"/>
                  <a:gd name="T16" fmla="*/ 0 w 241"/>
                  <a:gd name="T17" fmla="*/ 2147483647 h 384"/>
                  <a:gd name="T18" fmla="*/ 2147483647 w 241"/>
                  <a:gd name="T19" fmla="*/ 2147483647 h 384"/>
                  <a:gd name="T20" fmla="*/ 2147483647 w 241"/>
                  <a:gd name="T21" fmla="*/ 2147483647 h 384"/>
                  <a:gd name="T22" fmla="*/ 2147483647 w 241"/>
                  <a:gd name="T23" fmla="*/ 2147483647 h 384"/>
                  <a:gd name="T24" fmla="*/ 2147483647 w 241"/>
                  <a:gd name="T25" fmla="*/ 2147483647 h 384"/>
                  <a:gd name="T26" fmla="*/ 2147483647 w 241"/>
                  <a:gd name="T27" fmla="*/ 2147483647 h 384"/>
                  <a:gd name="T28" fmla="*/ 2147483647 w 241"/>
                  <a:gd name="T29" fmla="*/ 2147483647 h 384"/>
                  <a:gd name="T30" fmla="*/ 2147483647 w 241"/>
                  <a:gd name="T31" fmla="*/ 2147483647 h 384"/>
                  <a:gd name="T32" fmla="*/ 2147483647 w 241"/>
                  <a:gd name="T33" fmla="*/ 2147483647 h 384"/>
                  <a:gd name="T34" fmla="*/ 2147483647 w 241"/>
                  <a:gd name="T35" fmla="*/ 2147483647 h 384"/>
                  <a:gd name="T36" fmla="*/ 2147483647 w 241"/>
                  <a:gd name="T37" fmla="*/ 2147483647 h 384"/>
                  <a:gd name="T38" fmla="*/ 2147483647 w 241"/>
                  <a:gd name="T39" fmla="*/ 2147483647 h 384"/>
                  <a:gd name="T40" fmla="*/ 2147483647 w 241"/>
                  <a:gd name="T41" fmla="*/ 2147483647 h 384"/>
                  <a:gd name="T42" fmla="*/ 2147483647 w 241"/>
                  <a:gd name="T43" fmla="*/ 2147483647 h 384"/>
                  <a:gd name="T44" fmla="*/ 2147483647 w 241"/>
                  <a:gd name="T45" fmla="*/ 2147483647 h 384"/>
                  <a:gd name="T46" fmla="*/ 2147483647 w 241"/>
                  <a:gd name="T47" fmla="*/ 2147483647 h 384"/>
                  <a:gd name="T48" fmla="*/ 2147483647 w 241"/>
                  <a:gd name="T49" fmla="*/ 2147483647 h 384"/>
                  <a:gd name="T50" fmla="*/ 2147483647 w 241"/>
                  <a:gd name="T51" fmla="*/ 2147483647 h 384"/>
                  <a:gd name="T52" fmla="*/ 2147483647 w 241"/>
                  <a:gd name="T53" fmla="*/ 2147483647 h 384"/>
                  <a:gd name="T54" fmla="*/ 2147483647 w 241"/>
                  <a:gd name="T55" fmla="*/ 2147483647 h 384"/>
                  <a:gd name="T56" fmla="*/ 2147483647 w 241"/>
                  <a:gd name="T57" fmla="*/ 2147483647 h 384"/>
                  <a:gd name="T58" fmla="*/ 2147483647 w 241"/>
                  <a:gd name="T59" fmla="*/ 2147483647 h 384"/>
                  <a:gd name="T60" fmla="*/ 2147483647 w 241"/>
                  <a:gd name="T61" fmla="*/ 2147483647 h 384"/>
                  <a:gd name="T62" fmla="*/ 2147483647 w 241"/>
                  <a:gd name="T63" fmla="*/ 2147483647 h 384"/>
                  <a:gd name="T64" fmla="*/ 2147483647 w 241"/>
                  <a:gd name="T65" fmla="*/ 2147483647 h 384"/>
                  <a:gd name="T66" fmla="*/ 2147483647 w 241"/>
                  <a:gd name="T67" fmla="*/ 2147483647 h 384"/>
                  <a:gd name="T68" fmla="*/ 2147483647 w 241"/>
                  <a:gd name="T69" fmla="*/ 2147483647 h 384"/>
                  <a:gd name="T70" fmla="*/ 2147483647 w 241"/>
                  <a:gd name="T71" fmla="*/ 2147483647 h 384"/>
                  <a:gd name="T72" fmla="*/ 2147483647 w 241"/>
                  <a:gd name="T73" fmla="*/ 2147483647 h 384"/>
                  <a:gd name="T74" fmla="*/ 2147483647 w 241"/>
                  <a:gd name="T75" fmla="*/ 2147483647 h 384"/>
                  <a:gd name="T76" fmla="*/ 2147483647 w 241"/>
                  <a:gd name="T77" fmla="*/ 2147483647 h 384"/>
                  <a:gd name="T78" fmla="*/ 2147483647 w 241"/>
                  <a:gd name="T79" fmla="*/ 2147483647 h 384"/>
                  <a:gd name="T80" fmla="*/ 2147483647 w 241"/>
                  <a:gd name="T81" fmla="*/ 2147483647 h 384"/>
                  <a:gd name="T82" fmla="*/ 2147483647 w 241"/>
                  <a:gd name="T83" fmla="*/ 2147483647 h 384"/>
                  <a:gd name="T84" fmla="*/ 2147483647 w 241"/>
                  <a:gd name="T85" fmla="*/ 2147483647 h 384"/>
                  <a:gd name="T86" fmla="*/ 2147483647 w 241"/>
                  <a:gd name="T87" fmla="*/ 2147483647 h 384"/>
                  <a:gd name="T88" fmla="*/ 2147483647 w 241"/>
                  <a:gd name="T89" fmla="*/ 2147483647 h 384"/>
                  <a:gd name="T90" fmla="*/ 2147483647 w 241"/>
                  <a:gd name="T91" fmla="*/ 2147483647 h 384"/>
                  <a:gd name="T92" fmla="*/ 2147483647 w 241"/>
                  <a:gd name="T93" fmla="*/ 2147483647 h 384"/>
                  <a:gd name="T94" fmla="*/ 2147483647 w 241"/>
                  <a:gd name="T95" fmla="*/ 2147483647 h 384"/>
                  <a:gd name="T96" fmla="*/ 2147483647 w 241"/>
                  <a:gd name="T97" fmla="*/ 2147483647 h 384"/>
                  <a:gd name="T98" fmla="*/ 2147483647 w 241"/>
                  <a:gd name="T99" fmla="*/ 2147483647 h 384"/>
                  <a:gd name="T100" fmla="*/ 2147483647 w 241"/>
                  <a:gd name="T101" fmla="*/ 2147483647 h 384"/>
                  <a:gd name="T102" fmla="*/ 2147483647 w 241"/>
                  <a:gd name="T103" fmla="*/ 2147483647 h 38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241" h="384">
                    <a:moveTo>
                      <a:pt x="117" y="356"/>
                    </a:moveTo>
                    <a:cubicBezTo>
                      <a:pt x="127" y="356"/>
                      <a:pt x="135" y="348"/>
                      <a:pt x="135" y="339"/>
                    </a:cubicBezTo>
                    <a:cubicBezTo>
                      <a:pt x="135" y="329"/>
                      <a:pt x="127" y="321"/>
                      <a:pt x="117" y="321"/>
                    </a:cubicBezTo>
                    <a:cubicBezTo>
                      <a:pt x="107" y="321"/>
                      <a:pt x="99" y="329"/>
                      <a:pt x="99" y="339"/>
                    </a:cubicBezTo>
                    <a:cubicBezTo>
                      <a:pt x="99" y="348"/>
                      <a:pt x="107" y="356"/>
                      <a:pt x="117" y="356"/>
                    </a:cubicBezTo>
                    <a:close/>
                    <a:moveTo>
                      <a:pt x="135" y="26"/>
                    </a:moveTo>
                    <a:cubicBezTo>
                      <a:pt x="99" y="26"/>
                      <a:pt x="99" y="26"/>
                      <a:pt x="99" y="26"/>
                    </a:cubicBezTo>
                    <a:cubicBezTo>
                      <a:pt x="95" y="26"/>
                      <a:pt x="91" y="30"/>
                      <a:pt x="91" y="34"/>
                    </a:cubicBezTo>
                    <a:cubicBezTo>
                      <a:pt x="91" y="39"/>
                      <a:pt x="95" y="42"/>
                      <a:pt x="99" y="42"/>
                    </a:cubicBezTo>
                    <a:cubicBezTo>
                      <a:pt x="135" y="42"/>
                      <a:pt x="135" y="42"/>
                      <a:pt x="135" y="42"/>
                    </a:cubicBezTo>
                    <a:cubicBezTo>
                      <a:pt x="139" y="42"/>
                      <a:pt x="143" y="39"/>
                      <a:pt x="143" y="34"/>
                    </a:cubicBezTo>
                    <a:cubicBezTo>
                      <a:pt x="143" y="30"/>
                      <a:pt x="139" y="26"/>
                      <a:pt x="135" y="26"/>
                    </a:cubicBezTo>
                    <a:close/>
                    <a:moveTo>
                      <a:pt x="233" y="91"/>
                    </a:moveTo>
                    <a:cubicBezTo>
                      <a:pt x="237" y="91"/>
                      <a:pt x="241" y="87"/>
                      <a:pt x="241" y="83"/>
                    </a:cubicBezTo>
                    <a:cubicBezTo>
                      <a:pt x="241" y="19"/>
                      <a:pt x="241" y="19"/>
                      <a:pt x="241" y="19"/>
                    </a:cubicBezTo>
                    <a:cubicBezTo>
                      <a:pt x="241" y="9"/>
                      <a:pt x="232" y="0"/>
                      <a:pt x="221" y="0"/>
                    </a:cubicBezTo>
                    <a:cubicBezTo>
                      <a:pt x="19" y="0"/>
                      <a:pt x="19" y="0"/>
                      <a:pt x="19" y="0"/>
                    </a:cubicBezTo>
                    <a:cubicBezTo>
                      <a:pt x="8" y="0"/>
                      <a:pt x="0" y="9"/>
                      <a:pt x="0" y="19"/>
                    </a:cubicBezTo>
                    <a:cubicBezTo>
                      <a:pt x="0" y="364"/>
                      <a:pt x="0" y="364"/>
                      <a:pt x="0" y="364"/>
                    </a:cubicBezTo>
                    <a:cubicBezTo>
                      <a:pt x="0" y="375"/>
                      <a:pt x="8" y="384"/>
                      <a:pt x="19" y="384"/>
                    </a:cubicBezTo>
                    <a:cubicBezTo>
                      <a:pt x="221" y="384"/>
                      <a:pt x="221" y="384"/>
                      <a:pt x="221" y="384"/>
                    </a:cubicBezTo>
                    <a:cubicBezTo>
                      <a:pt x="232" y="384"/>
                      <a:pt x="241" y="375"/>
                      <a:pt x="241" y="364"/>
                    </a:cubicBezTo>
                    <a:cubicBezTo>
                      <a:pt x="241" y="114"/>
                      <a:pt x="241" y="114"/>
                      <a:pt x="241" y="114"/>
                    </a:cubicBezTo>
                    <a:cubicBezTo>
                      <a:pt x="241" y="110"/>
                      <a:pt x="237" y="106"/>
                      <a:pt x="233" y="106"/>
                    </a:cubicBezTo>
                    <a:cubicBezTo>
                      <a:pt x="228" y="106"/>
                      <a:pt x="225" y="110"/>
                      <a:pt x="225" y="114"/>
                    </a:cubicBezTo>
                    <a:cubicBezTo>
                      <a:pt x="225" y="296"/>
                      <a:pt x="225" y="296"/>
                      <a:pt x="225" y="296"/>
                    </a:cubicBezTo>
                    <a:cubicBezTo>
                      <a:pt x="16" y="296"/>
                      <a:pt x="16" y="296"/>
                      <a:pt x="16" y="296"/>
                    </a:cubicBezTo>
                    <a:cubicBezTo>
                      <a:pt x="16" y="69"/>
                      <a:pt x="16" y="69"/>
                      <a:pt x="16" y="69"/>
                    </a:cubicBezTo>
                    <a:cubicBezTo>
                      <a:pt x="225" y="69"/>
                      <a:pt x="225" y="69"/>
                      <a:pt x="225" y="69"/>
                    </a:cubicBezTo>
                    <a:cubicBezTo>
                      <a:pt x="225" y="83"/>
                      <a:pt x="225" y="83"/>
                      <a:pt x="225" y="83"/>
                    </a:cubicBezTo>
                    <a:cubicBezTo>
                      <a:pt x="225" y="87"/>
                      <a:pt x="228" y="91"/>
                      <a:pt x="233" y="91"/>
                    </a:cubicBezTo>
                    <a:close/>
                    <a:moveTo>
                      <a:pt x="225" y="312"/>
                    </a:moveTo>
                    <a:cubicBezTo>
                      <a:pt x="225" y="364"/>
                      <a:pt x="225" y="364"/>
                      <a:pt x="225" y="364"/>
                    </a:cubicBezTo>
                    <a:cubicBezTo>
                      <a:pt x="225" y="366"/>
                      <a:pt x="223" y="368"/>
                      <a:pt x="221" y="368"/>
                    </a:cubicBezTo>
                    <a:cubicBezTo>
                      <a:pt x="19" y="368"/>
                      <a:pt x="19" y="368"/>
                      <a:pt x="19" y="368"/>
                    </a:cubicBezTo>
                    <a:cubicBezTo>
                      <a:pt x="17" y="368"/>
                      <a:pt x="16" y="366"/>
                      <a:pt x="16" y="364"/>
                    </a:cubicBezTo>
                    <a:cubicBezTo>
                      <a:pt x="16" y="312"/>
                      <a:pt x="16" y="312"/>
                      <a:pt x="16" y="312"/>
                    </a:cubicBezTo>
                    <a:lnTo>
                      <a:pt x="225" y="312"/>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14" y="137"/>
                    </a:moveTo>
                    <a:cubicBezTo>
                      <a:pt x="114" y="142"/>
                      <a:pt x="114" y="142"/>
                      <a:pt x="114" y="142"/>
                    </a:cubicBezTo>
                    <a:cubicBezTo>
                      <a:pt x="111" y="143"/>
                      <a:pt x="109" y="143"/>
                      <a:pt x="106" y="144"/>
                    </a:cubicBezTo>
                    <a:cubicBezTo>
                      <a:pt x="103" y="146"/>
                      <a:pt x="99" y="148"/>
                      <a:pt x="96" y="151"/>
                    </a:cubicBezTo>
                    <a:cubicBezTo>
                      <a:pt x="93" y="154"/>
                      <a:pt x="91" y="159"/>
                      <a:pt x="91" y="165"/>
                    </a:cubicBezTo>
                    <a:cubicBezTo>
                      <a:pt x="91" y="170"/>
                      <a:pt x="92" y="174"/>
                      <a:pt x="94" y="178"/>
                    </a:cubicBezTo>
                    <a:cubicBezTo>
                      <a:pt x="98" y="183"/>
                      <a:pt x="103" y="186"/>
                      <a:pt x="108" y="188"/>
                    </a:cubicBezTo>
                    <a:cubicBezTo>
                      <a:pt x="113" y="189"/>
                      <a:pt x="117" y="190"/>
                      <a:pt x="120" y="190"/>
                    </a:cubicBezTo>
                    <a:cubicBezTo>
                      <a:pt x="123" y="191"/>
                      <a:pt x="127" y="192"/>
                      <a:pt x="131" y="194"/>
                    </a:cubicBezTo>
                    <a:cubicBezTo>
                      <a:pt x="134" y="195"/>
                      <a:pt x="137" y="197"/>
                      <a:pt x="138" y="200"/>
                    </a:cubicBezTo>
                    <a:cubicBezTo>
                      <a:pt x="138" y="201"/>
                      <a:pt x="138" y="202"/>
                      <a:pt x="138" y="204"/>
                    </a:cubicBezTo>
                    <a:cubicBezTo>
                      <a:pt x="138" y="206"/>
                      <a:pt x="138" y="207"/>
                      <a:pt x="137" y="209"/>
                    </a:cubicBezTo>
                    <a:cubicBezTo>
                      <a:pt x="135" y="210"/>
                      <a:pt x="132" y="212"/>
                      <a:pt x="128" y="213"/>
                    </a:cubicBezTo>
                    <a:cubicBezTo>
                      <a:pt x="125" y="214"/>
                      <a:pt x="121" y="214"/>
                      <a:pt x="121" y="214"/>
                    </a:cubicBezTo>
                    <a:cubicBezTo>
                      <a:pt x="121" y="214"/>
                      <a:pt x="121" y="214"/>
                      <a:pt x="121" y="214"/>
                    </a:cubicBezTo>
                    <a:cubicBezTo>
                      <a:pt x="116" y="214"/>
                      <a:pt x="111" y="212"/>
                      <a:pt x="107" y="210"/>
                    </a:cubicBezTo>
                    <a:cubicBezTo>
                      <a:pt x="105" y="209"/>
                      <a:pt x="103" y="208"/>
                      <a:pt x="102" y="207"/>
                    </a:cubicBezTo>
                    <a:cubicBezTo>
                      <a:pt x="102" y="207"/>
                      <a:pt x="101" y="206"/>
                      <a:pt x="101" y="206"/>
                    </a:cubicBezTo>
                    <a:cubicBezTo>
                      <a:pt x="101" y="206"/>
                      <a:pt x="101" y="206"/>
                      <a:pt x="101" y="206"/>
                    </a:cubicBezTo>
                    <a:cubicBezTo>
                      <a:pt x="98" y="203"/>
                      <a:pt x="93" y="204"/>
                      <a:pt x="91" y="207"/>
                    </a:cubicBezTo>
                    <a:cubicBezTo>
                      <a:pt x="89" y="210"/>
                      <a:pt x="89" y="214"/>
                      <a:pt x="92" y="217"/>
                    </a:cubicBezTo>
                    <a:cubicBezTo>
                      <a:pt x="92" y="217"/>
                      <a:pt x="101" y="224"/>
                      <a:pt x="114" y="227"/>
                    </a:cubicBezTo>
                    <a:cubicBezTo>
                      <a:pt x="114" y="233"/>
                      <a:pt x="114" y="233"/>
                      <a:pt x="114" y="233"/>
                    </a:cubicBezTo>
                    <a:cubicBezTo>
                      <a:pt x="114" y="236"/>
                      <a:pt x="117" y="240"/>
                      <a:pt x="121" y="240"/>
                    </a:cubicBezTo>
                    <a:cubicBezTo>
                      <a:pt x="125" y="240"/>
                      <a:pt x="128" y="236"/>
                      <a:pt x="128" y="233"/>
                    </a:cubicBezTo>
                    <a:cubicBezTo>
                      <a:pt x="128" y="227"/>
                      <a:pt x="128" y="227"/>
                      <a:pt x="128" y="227"/>
                    </a:cubicBezTo>
                    <a:cubicBezTo>
                      <a:pt x="130" y="227"/>
                      <a:pt x="133" y="226"/>
                      <a:pt x="136" y="225"/>
                    </a:cubicBezTo>
                    <a:cubicBezTo>
                      <a:pt x="140" y="223"/>
                      <a:pt x="144" y="221"/>
                      <a:pt x="147" y="218"/>
                    </a:cubicBezTo>
                    <a:cubicBezTo>
                      <a:pt x="150" y="214"/>
                      <a:pt x="152" y="209"/>
                      <a:pt x="152" y="203"/>
                    </a:cubicBezTo>
                    <a:cubicBezTo>
                      <a:pt x="152" y="200"/>
                      <a:pt x="152" y="197"/>
                      <a:pt x="150" y="194"/>
                    </a:cubicBezTo>
                    <a:cubicBezTo>
                      <a:pt x="148" y="187"/>
                      <a:pt x="142" y="183"/>
                      <a:pt x="136" y="181"/>
                    </a:cubicBezTo>
                    <a:cubicBezTo>
                      <a:pt x="131" y="179"/>
                      <a:pt x="126" y="178"/>
                      <a:pt x="123" y="177"/>
                    </a:cubicBezTo>
                    <a:cubicBezTo>
                      <a:pt x="118" y="176"/>
                      <a:pt x="113" y="175"/>
                      <a:pt x="110" y="173"/>
                    </a:cubicBezTo>
                    <a:cubicBezTo>
                      <a:pt x="108" y="172"/>
                      <a:pt x="107" y="172"/>
                      <a:pt x="106" y="170"/>
                    </a:cubicBezTo>
                    <a:cubicBezTo>
                      <a:pt x="105" y="169"/>
                      <a:pt x="105" y="168"/>
                      <a:pt x="105" y="165"/>
                    </a:cubicBezTo>
                    <a:cubicBezTo>
                      <a:pt x="105" y="163"/>
                      <a:pt x="105" y="162"/>
                      <a:pt x="106" y="160"/>
                    </a:cubicBezTo>
                    <a:cubicBezTo>
                      <a:pt x="108" y="159"/>
                      <a:pt x="111" y="157"/>
                      <a:pt x="114" y="156"/>
                    </a:cubicBezTo>
                    <a:cubicBezTo>
                      <a:pt x="116" y="156"/>
                      <a:pt x="118" y="156"/>
                      <a:pt x="119" y="156"/>
                    </a:cubicBezTo>
                    <a:cubicBezTo>
                      <a:pt x="119" y="156"/>
                      <a:pt x="120" y="156"/>
                      <a:pt x="120" y="156"/>
                    </a:cubicBezTo>
                    <a:cubicBezTo>
                      <a:pt x="120" y="156"/>
                      <a:pt x="120" y="156"/>
                      <a:pt x="120" y="156"/>
                    </a:cubicBezTo>
                    <a:cubicBezTo>
                      <a:pt x="126" y="156"/>
                      <a:pt x="130" y="157"/>
                      <a:pt x="132" y="158"/>
                    </a:cubicBezTo>
                    <a:cubicBezTo>
                      <a:pt x="133" y="158"/>
                      <a:pt x="134" y="159"/>
                      <a:pt x="134" y="159"/>
                    </a:cubicBezTo>
                    <a:cubicBezTo>
                      <a:pt x="135" y="159"/>
                      <a:pt x="135" y="159"/>
                      <a:pt x="135" y="159"/>
                    </a:cubicBezTo>
                    <a:cubicBezTo>
                      <a:pt x="135" y="159"/>
                      <a:pt x="135" y="159"/>
                      <a:pt x="135" y="159"/>
                    </a:cubicBezTo>
                    <a:cubicBezTo>
                      <a:pt x="138" y="162"/>
                      <a:pt x="142" y="162"/>
                      <a:pt x="145" y="159"/>
                    </a:cubicBezTo>
                    <a:cubicBezTo>
                      <a:pt x="147" y="156"/>
                      <a:pt x="147" y="152"/>
                      <a:pt x="144" y="149"/>
                    </a:cubicBezTo>
                    <a:cubicBezTo>
                      <a:pt x="143" y="148"/>
                      <a:pt x="138" y="144"/>
                      <a:pt x="127" y="142"/>
                    </a:cubicBezTo>
                    <a:cubicBezTo>
                      <a:pt x="127" y="137"/>
                      <a:pt x="127" y="137"/>
                      <a:pt x="127" y="137"/>
                    </a:cubicBezTo>
                    <a:cubicBezTo>
                      <a:pt x="127" y="133"/>
                      <a:pt x="124" y="130"/>
                      <a:pt x="121" y="130"/>
                    </a:cubicBezTo>
                    <a:cubicBezTo>
                      <a:pt x="117" y="130"/>
                      <a:pt x="114" y="133"/>
                      <a:pt x="114" y="137"/>
                    </a:cubicBezTo>
                    <a:close/>
                    <a:moveTo>
                      <a:pt x="34" y="185"/>
                    </a:moveTo>
                    <a:cubicBezTo>
                      <a:pt x="34" y="233"/>
                      <a:pt x="73" y="272"/>
                      <a:pt x="121" y="272"/>
                    </a:cubicBezTo>
                    <a:cubicBezTo>
                      <a:pt x="169" y="272"/>
                      <a:pt x="208" y="233"/>
                      <a:pt x="208" y="185"/>
                    </a:cubicBezTo>
                    <a:cubicBezTo>
                      <a:pt x="208" y="137"/>
                      <a:pt x="169" y="98"/>
                      <a:pt x="121" y="98"/>
                    </a:cubicBezTo>
                    <a:cubicBezTo>
                      <a:pt x="73" y="98"/>
                      <a:pt x="34" y="137"/>
                      <a:pt x="34" y="185"/>
                    </a:cubicBezTo>
                    <a:close/>
                    <a:moveTo>
                      <a:pt x="192" y="185"/>
                    </a:moveTo>
                    <a:cubicBezTo>
                      <a:pt x="192" y="224"/>
                      <a:pt x="160" y="256"/>
                      <a:pt x="121" y="256"/>
                    </a:cubicBezTo>
                    <a:cubicBezTo>
                      <a:pt x="82" y="256"/>
                      <a:pt x="50" y="224"/>
                      <a:pt x="50" y="185"/>
                    </a:cubicBezTo>
                    <a:cubicBezTo>
                      <a:pt x="50" y="146"/>
                      <a:pt x="82" y="114"/>
                      <a:pt x="121" y="114"/>
                    </a:cubicBezTo>
                    <a:cubicBezTo>
                      <a:pt x="160" y="114"/>
                      <a:pt x="192" y="146"/>
                      <a:pt x="192" y="1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76" name="Freeform 6"/>
              <p:cNvSpPr>
                <a:spLocks noEditPoints="1"/>
              </p:cNvSpPr>
              <p:nvPr/>
            </p:nvSpPr>
            <p:spPr bwMode="auto">
              <a:xfrm>
                <a:off x="4830159" y="4021316"/>
                <a:ext cx="115785" cy="151367"/>
              </a:xfrm>
              <a:custGeom>
                <a:avLst/>
                <a:gdLst>
                  <a:gd name="T0" fmla="*/ 2147483647 w 292"/>
                  <a:gd name="T1" fmla="*/ 2147483647 h 391"/>
                  <a:gd name="T2" fmla="*/ 2147483647 w 292"/>
                  <a:gd name="T3" fmla="*/ 0 h 391"/>
                  <a:gd name="T4" fmla="*/ 0 w 292"/>
                  <a:gd name="T5" fmla="*/ 2147483647 h 391"/>
                  <a:gd name="T6" fmla="*/ 2147483647 w 292"/>
                  <a:gd name="T7" fmla="*/ 2147483647 h 391"/>
                  <a:gd name="T8" fmla="*/ 2147483647 w 292"/>
                  <a:gd name="T9" fmla="*/ 2147483647 h 391"/>
                  <a:gd name="T10" fmla="*/ 2147483647 w 292"/>
                  <a:gd name="T11" fmla="*/ 2147483647 h 391"/>
                  <a:gd name="T12" fmla="*/ 2147483647 w 292"/>
                  <a:gd name="T13" fmla="*/ 2147483647 h 391"/>
                  <a:gd name="T14" fmla="*/ 2147483647 w 292"/>
                  <a:gd name="T15" fmla="*/ 2147483647 h 391"/>
                  <a:gd name="T16" fmla="*/ 2147483647 w 292"/>
                  <a:gd name="T17" fmla="*/ 2147483647 h 391"/>
                  <a:gd name="T18" fmla="*/ 2147483647 w 292"/>
                  <a:gd name="T19" fmla="*/ 2147483647 h 391"/>
                  <a:gd name="T20" fmla="*/ 2147483647 w 292"/>
                  <a:gd name="T21" fmla="*/ 2147483647 h 391"/>
                  <a:gd name="T22" fmla="*/ 2147483647 w 292"/>
                  <a:gd name="T23" fmla="*/ 2147483647 h 391"/>
                  <a:gd name="T24" fmla="*/ 2147483647 w 292"/>
                  <a:gd name="T25" fmla="*/ 2147483647 h 391"/>
                  <a:gd name="T26" fmla="*/ 2147483647 w 292"/>
                  <a:gd name="T27" fmla="*/ 2147483647 h 391"/>
                  <a:gd name="T28" fmla="*/ 2147483647 w 292"/>
                  <a:gd name="T29" fmla="*/ 2147483647 h 391"/>
                  <a:gd name="T30" fmla="*/ 2147483647 w 292"/>
                  <a:gd name="T31" fmla="*/ 2147483647 h 391"/>
                  <a:gd name="T32" fmla="*/ 2147483647 w 292"/>
                  <a:gd name="T33" fmla="*/ 2147483647 h 391"/>
                  <a:gd name="T34" fmla="*/ 2147483647 w 292"/>
                  <a:gd name="T35" fmla="*/ 2147483647 h 391"/>
                  <a:gd name="T36" fmla="*/ 2147483647 w 292"/>
                  <a:gd name="T37" fmla="*/ 2147483647 h 391"/>
                  <a:gd name="T38" fmla="*/ 2147483647 w 292"/>
                  <a:gd name="T39" fmla="*/ 2147483647 h 391"/>
                  <a:gd name="T40" fmla="*/ 2147483647 w 292"/>
                  <a:gd name="T41" fmla="*/ 2147483647 h 391"/>
                  <a:gd name="T42" fmla="*/ 2147483647 w 292"/>
                  <a:gd name="T43" fmla="*/ 2147483647 h 391"/>
                  <a:gd name="T44" fmla="*/ 2147483647 w 292"/>
                  <a:gd name="T45" fmla="*/ 2147483647 h 391"/>
                  <a:gd name="T46" fmla="*/ 2147483647 w 292"/>
                  <a:gd name="T47" fmla="*/ 2147483647 h 391"/>
                  <a:gd name="T48" fmla="*/ 2147483647 w 292"/>
                  <a:gd name="T49" fmla="*/ 2147483647 h 391"/>
                  <a:gd name="T50" fmla="*/ 2147483647 w 292"/>
                  <a:gd name="T51" fmla="*/ 2147483647 h 391"/>
                  <a:gd name="T52" fmla="*/ 2147483647 w 292"/>
                  <a:gd name="T53" fmla="*/ 2147483647 h 391"/>
                  <a:gd name="T54" fmla="*/ 2147483647 w 292"/>
                  <a:gd name="T55" fmla="*/ 2147483647 h 391"/>
                  <a:gd name="T56" fmla="*/ 2147483647 w 292"/>
                  <a:gd name="T57" fmla="*/ 2147483647 h 391"/>
                  <a:gd name="T58" fmla="*/ 2147483647 w 292"/>
                  <a:gd name="T59" fmla="*/ 2147483647 h 391"/>
                  <a:gd name="T60" fmla="*/ 2147483647 w 292"/>
                  <a:gd name="T61" fmla="*/ 2147483647 h 391"/>
                  <a:gd name="T62" fmla="*/ 2147483647 w 292"/>
                  <a:gd name="T63" fmla="*/ 2147483647 h 391"/>
                  <a:gd name="T64" fmla="*/ 2147483647 w 292"/>
                  <a:gd name="T65" fmla="*/ 2147483647 h 391"/>
                  <a:gd name="T66" fmla="*/ 2147483647 w 292"/>
                  <a:gd name="T67" fmla="*/ 2147483647 h 391"/>
                  <a:gd name="T68" fmla="*/ 2147483647 w 292"/>
                  <a:gd name="T69" fmla="*/ 2147483647 h 391"/>
                  <a:gd name="T70" fmla="*/ 2147483647 w 292"/>
                  <a:gd name="T71" fmla="*/ 2147483647 h 391"/>
                  <a:gd name="T72" fmla="*/ 2147483647 w 292"/>
                  <a:gd name="T73" fmla="*/ 2147483647 h 391"/>
                  <a:gd name="T74" fmla="*/ 2147483647 w 292"/>
                  <a:gd name="T75" fmla="*/ 2147483647 h 391"/>
                  <a:gd name="T76" fmla="*/ 2147483647 w 292"/>
                  <a:gd name="T77" fmla="*/ 2147483647 h 391"/>
                  <a:gd name="T78" fmla="*/ 2147483647 w 292"/>
                  <a:gd name="T79" fmla="*/ 2147483647 h 391"/>
                  <a:gd name="T80" fmla="*/ 2147483647 w 292"/>
                  <a:gd name="T81" fmla="*/ 2147483647 h 391"/>
                  <a:gd name="T82" fmla="*/ 2147483647 w 292"/>
                  <a:gd name="T83" fmla="*/ 2147483647 h 391"/>
                  <a:gd name="T84" fmla="*/ 2147483647 w 292"/>
                  <a:gd name="T85" fmla="*/ 2147483647 h 391"/>
                  <a:gd name="T86" fmla="*/ 2147483647 w 292"/>
                  <a:gd name="T87" fmla="*/ 2147483647 h 391"/>
                  <a:gd name="T88" fmla="*/ 2147483647 w 292"/>
                  <a:gd name="T89" fmla="*/ 2147483647 h 391"/>
                  <a:gd name="T90" fmla="*/ 2147483647 w 292"/>
                  <a:gd name="T91" fmla="*/ 2147483647 h 391"/>
                  <a:gd name="T92" fmla="*/ 2147483647 w 292"/>
                  <a:gd name="T93" fmla="*/ 2147483647 h 391"/>
                  <a:gd name="T94" fmla="*/ 2147483647 w 292"/>
                  <a:gd name="T95" fmla="*/ 2147483647 h 39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292" h="391">
                    <a:moveTo>
                      <a:pt x="284" y="84"/>
                    </a:moveTo>
                    <a:cubicBezTo>
                      <a:pt x="288" y="84"/>
                      <a:pt x="292" y="80"/>
                      <a:pt x="292" y="76"/>
                    </a:cubicBezTo>
                    <a:cubicBezTo>
                      <a:pt x="292" y="49"/>
                      <a:pt x="292" y="49"/>
                      <a:pt x="292" y="49"/>
                    </a:cubicBezTo>
                    <a:cubicBezTo>
                      <a:pt x="292" y="22"/>
                      <a:pt x="270" y="0"/>
                      <a:pt x="244" y="0"/>
                    </a:cubicBezTo>
                    <a:cubicBezTo>
                      <a:pt x="48" y="0"/>
                      <a:pt x="48" y="0"/>
                      <a:pt x="48" y="0"/>
                    </a:cubicBezTo>
                    <a:cubicBezTo>
                      <a:pt x="22" y="0"/>
                      <a:pt x="0" y="22"/>
                      <a:pt x="0" y="49"/>
                    </a:cubicBezTo>
                    <a:cubicBezTo>
                      <a:pt x="0" y="343"/>
                      <a:pt x="0" y="343"/>
                      <a:pt x="0" y="343"/>
                    </a:cubicBezTo>
                    <a:cubicBezTo>
                      <a:pt x="0" y="370"/>
                      <a:pt x="22" y="391"/>
                      <a:pt x="48" y="391"/>
                    </a:cubicBezTo>
                    <a:cubicBezTo>
                      <a:pt x="244" y="391"/>
                      <a:pt x="244" y="391"/>
                      <a:pt x="244" y="391"/>
                    </a:cubicBezTo>
                    <a:cubicBezTo>
                      <a:pt x="270" y="391"/>
                      <a:pt x="292" y="370"/>
                      <a:pt x="292" y="343"/>
                    </a:cubicBezTo>
                    <a:cubicBezTo>
                      <a:pt x="292" y="108"/>
                      <a:pt x="292" y="108"/>
                      <a:pt x="292" y="108"/>
                    </a:cubicBezTo>
                    <a:cubicBezTo>
                      <a:pt x="292" y="103"/>
                      <a:pt x="288" y="100"/>
                      <a:pt x="284" y="100"/>
                    </a:cubicBezTo>
                    <a:cubicBezTo>
                      <a:pt x="280" y="100"/>
                      <a:pt x="276" y="103"/>
                      <a:pt x="276" y="108"/>
                    </a:cubicBezTo>
                    <a:cubicBezTo>
                      <a:pt x="276" y="343"/>
                      <a:pt x="276" y="343"/>
                      <a:pt x="276" y="343"/>
                    </a:cubicBezTo>
                    <a:cubicBezTo>
                      <a:pt x="276" y="361"/>
                      <a:pt x="262" y="375"/>
                      <a:pt x="244" y="375"/>
                    </a:cubicBezTo>
                    <a:cubicBezTo>
                      <a:pt x="48" y="375"/>
                      <a:pt x="48" y="375"/>
                      <a:pt x="48" y="375"/>
                    </a:cubicBezTo>
                    <a:cubicBezTo>
                      <a:pt x="30" y="375"/>
                      <a:pt x="16" y="361"/>
                      <a:pt x="16" y="343"/>
                    </a:cubicBezTo>
                    <a:cubicBezTo>
                      <a:pt x="16" y="49"/>
                      <a:pt x="16" y="49"/>
                      <a:pt x="16" y="49"/>
                    </a:cubicBezTo>
                    <a:cubicBezTo>
                      <a:pt x="16" y="31"/>
                      <a:pt x="30" y="16"/>
                      <a:pt x="48" y="16"/>
                    </a:cubicBezTo>
                    <a:cubicBezTo>
                      <a:pt x="244" y="16"/>
                      <a:pt x="244" y="16"/>
                      <a:pt x="244" y="16"/>
                    </a:cubicBezTo>
                    <a:cubicBezTo>
                      <a:pt x="262" y="16"/>
                      <a:pt x="276" y="31"/>
                      <a:pt x="276" y="49"/>
                    </a:cubicBezTo>
                    <a:cubicBezTo>
                      <a:pt x="276" y="76"/>
                      <a:pt x="276" y="76"/>
                      <a:pt x="276" y="76"/>
                    </a:cubicBezTo>
                    <a:cubicBezTo>
                      <a:pt x="276" y="80"/>
                      <a:pt x="280" y="84"/>
                      <a:pt x="284" y="84"/>
                    </a:cubicBezTo>
                    <a:close/>
                    <a:moveTo>
                      <a:pt x="216" y="70"/>
                    </a:moveTo>
                    <a:cubicBezTo>
                      <a:pt x="214" y="68"/>
                      <a:pt x="211" y="67"/>
                      <a:pt x="209" y="68"/>
                    </a:cubicBezTo>
                    <a:cubicBezTo>
                      <a:pt x="120" y="89"/>
                      <a:pt x="120" y="89"/>
                      <a:pt x="120" y="89"/>
                    </a:cubicBezTo>
                    <a:cubicBezTo>
                      <a:pt x="117" y="89"/>
                      <a:pt x="114" y="93"/>
                      <a:pt x="114" y="96"/>
                    </a:cubicBezTo>
                    <a:cubicBezTo>
                      <a:pt x="114" y="165"/>
                      <a:pt x="114" y="165"/>
                      <a:pt x="114" y="165"/>
                    </a:cubicBezTo>
                    <a:cubicBezTo>
                      <a:pt x="110" y="164"/>
                      <a:pt x="106" y="163"/>
                      <a:pt x="102" y="163"/>
                    </a:cubicBezTo>
                    <a:cubicBezTo>
                      <a:pt x="86" y="163"/>
                      <a:pt x="73" y="175"/>
                      <a:pt x="73" y="191"/>
                    </a:cubicBezTo>
                    <a:cubicBezTo>
                      <a:pt x="73" y="207"/>
                      <a:pt x="86" y="219"/>
                      <a:pt x="102" y="219"/>
                    </a:cubicBezTo>
                    <a:cubicBezTo>
                      <a:pt x="117" y="219"/>
                      <a:pt x="130" y="207"/>
                      <a:pt x="130" y="191"/>
                    </a:cubicBezTo>
                    <a:cubicBezTo>
                      <a:pt x="130" y="191"/>
                      <a:pt x="130" y="191"/>
                      <a:pt x="130" y="191"/>
                    </a:cubicBezTo>
                    <a:cubicBezTo>
                      <a:pt x="130" y="103"/>
                      <a:pt x="130" y="103"/>
                      <a:pt x="130" y="103"/>
                    </a:cubicBezTo>
                    <a:cubicBezTo>
                      <a:pt x="203" y="86"/>
                      <a:pt x="203" y="86"/>
                      <a:pt x="203" y="86"/>
                    </a:cubicBezTo>
                    <a:cubicBezTo>
                      <a:pt x="203" y="143"/>
                      <a:pt x="203" y="143"/>
                      <a:pt x="203" y="143"/>
                    </a:cubicBezTo>
                    <a:cubicBezTo>
                      <a:pt x="199" y="141"/>
                      <a:pt x="195" y="140"/>
                      <a:pt x="190" y="140"/>
                    </a:cubicBezTo>
                    <a:cubicBezTo>
                      <a:pt x="175" y="140"/>
                      <a:pt x="162" y="153"/>
                      <a:pt x="162" y="169"/>
                    </a:cubicBezTo>
                    <a:cubicBezTo>
                      <a:pt x="162" y="184"/>
                      <a:pt x="175" y="197"/>
                      <a:pt x="190" y="197"/>
                    </a:cubicBezTo>
                    <a:cubicBezTo>
                      <a:pt x="206" y="197"/>
                      <a:pt x="219" y="184"/>
                      <a:pt x="219" y="169"/>
                    </a:cubicBezTo>
                    <a:cubicBezTo>
                      <a:pt x="219" y="76"/>
                      <a:pt x="219" y="76"/>
                      <a:pt x="219" y="76"/>
                    </a:cubicBezTo>
                    <a:cubicBezTo>
                      <a:pt x="219" y="73"/>
                      <a:pt x="218" y="71"/>
                      <a:pt x="216" y="70"/>
                    </a:cubicBezTo>
                    <a:close/>
                    <a:moveTo>
                      <a:pt x="56" y="295"/>
                    </a:moveTo>
                    <a:cubicBezTo>
                      <a:pt x="49" y="295"/>
                      <a:pt x="44" y="300"/>
                      <a:pt x="44" y="307"/>
                    </a:cubicBezTo>
                    <a:cubicBezTo>
                      <a:pt x="44" y="333"/>
                      <a:pt x="44" y="333"/>
                      <a:pt x="44" y="333"/>
                    </a:cubicBezTo>
                    <a:cubicBezTo>
                      <a:pt x="44" y="340"/>
                      <a:pt x="49" y="345"/>
                      <a:pt x="56" y="345"/>
                    </a:cubicBezTo>
                    <a:cubicBezTo>
                      <a:pt x="82" y="345"/>
                      <a:pt x="82" y="345"/>
                      <a:pt x="82" y="345"/>
                    </a:cubicBezTo>
                    <a:cubicBezTo>
                      <a:pt x="88" y="345"/>
                      <a:pt x="93" y="340"/>
                      <a:pt x="93" y="333"/>
                    </a:cubicBezTo>
                    <a:cubicBezTo>
                      <a:pt x="93" y="307"/>
                      <a:pt x="93" y="307"/>
                      <a:pt x="93" y="307"/>
                    </a:cubicBezTo>
                    <a:cubicBezTo>
                      <a:pt x="93" y="300"/>
                      <a:pt x="88" y="295"/>
                      <a:pt x="82" y="295"/>
                    </a:cubicBezTo>
                    <a:lnTo>
                      <a:pt x="56" y="295"/>
                    </a:lnTo>
                    <a:close/>
                    <a:moveTo>
                      <a:pt x="120" y="285"/>
                    </a:moveTo>
                    <a:cubicBezTo>
                      <a:pt x="114" y="285"/>
                      <a:pt x="109" y="290"/>
                      <a:pt x="109" y="296"/>
                    </a:cubicBezTo>
                    <a:cubicBezTo>
                      <a:pt x="109" y="343"/>
                      <a:pt x="109" y="343"/>
                      <a:pt x="109" y="343"/>
                    </a:cubicBezTo>
                    <a:cubicBezTo>
                      <a:pt x="109" y="350"/>
                      <a:pt x="114" y="355"/>
                      <a:pt x="120" y="355"/>
                    </a:cubicBezTo>
                    <a:cubicBezTo>
                      <a:pt x="172" y="355"/>
                      <a:pt x="172" y="355"/>
                      <a:pt x="172" y="355"/>
                    </a:cubicBezTo>
                    <a:cubicBezTo>
                      <a:pt x="178" y="355"/>
                      <a:pt x="183" y="350"/>
                      <a:pt x="183" y="343"/>
                    </a:cubicBezTo>
                    <a:cubicBezTo>
                      <a:pt x="183" y="296"/>
                      <a:pt x="183" y="296"/>
                      <a:pt x="183" y="296"/>
                    </a:cubicBezTo>
                    <a:cubicBezTo>
                      <a:pt x="183" y="290"/>
                      <a:pt x="178" y="285"/>
                      <a:pt x="172" y="285"/>
                    </a:cubicBezTo>
                    <a:lnTo>
                      <a:pt x="120" y="285"/>
                    </a:lnTo>
                    <a:close/>
                    <a:moveTo>
                      <a:pt x="161" y="321"/>
                    </a:moveTo>
                    <a:cubicBezTo>
                      <a:pt x="134" y="336"/>
                      <a:pt x="134" y="336"/>
                      <a:pt x="134" y="336"/>
                    </a:cubicBezTo>
                    <a:cubicBezTo>
                      <a:pt x="134" y="336"/>
                      <a:pt x="133" y="336"/>
                      <a:pt x="133" y="336"/>
                    </a:cubicBezTo>
                    <a:cubicBezTo>
                      <a:pt x="133" y="336"/>
                      <a:pt x="132" y="335"/>
                      <a:pt x="132" y="335"/>
                    </a:cubicBezTo>
                    <a:cubicBezTo>
                      <a:pt x="132" y="305"/>
                      <a:pt x="132" y="305"/>
                      <a:pt x="132" y="305"/>
                    </a:cubicBezTo>
                    <a:cubicBezTo>
                      <a:pt x="132" y="304"/>
                      <a:pt x="133" y="304"/>
                      <a:pt x="133" y="304"/>
                    </a:cubicBezTo>
                    <a:cubicBezTo>
                      <a:pt x="133" y="303"/>
                      <a:pt x="134" y="303"/>
                      <a:pt x="134" y="304"/>
                    </a:cubicBezTo>
                    <a:cubicBezTo>
                      <a:pt x="161" y="319"/>
                      <a:pt x="161" y="319"/>
                      <a:pt x="161" y="319"/>
                    </a:cubicBezTo>
                    <a:cubicBezTo>
                      <a:pt x="161" y="319"/>
                      <a:pt x="161" y="319"/>
                      <a:pt x="161" y="320"/>
                    </a:cubicBezTo>
                    <a:cubicBezTo>
                      <a:pt x="161" y="320"/>
                      <a:pt x="161" y="321"/>
                      <a:pt x="161" y="321"/>
                    </a:cubicBezTo>
                    <a:close/>
                    <a:moveTo>
                      <a:pt x="262" y="233"/>
                    </a:moveTo>
                    <a:cubicBezTo>
                      <a:pt x="262" y="62"/>
                      <a:pt x="262" y="62"/>
                      <a:pt x="262" y="62"/>
                    </a:cubicBezTo>
                    <a:cubicBezTo>
                      <a:pt x="262" y="45"/>
                      <a:pt x="248" y="32"/>
                      <a:pt x="231" y="32"/>
                    </a:cubicBezTo>
                    <a:cubicBezTo>
                      <a:pt x="61" y="32"/>
                      <a:pt x="61" y="32"/>
                      <a:pt x="61" y="32"/>
                    </a:cubicBezTo>
                    <a:cubicBezTo>
                      <a:pt x="44" y="32"/>
                      <a:pt x="30" y="45"/>
                      <a:pt x="30" y="62"/>
                    </a:cubicBezTo>
                    <a:cubicBezTo>
                      <a:pt x="30" y="233"/>
                      <a:pt x="30" y="233"/>
                      <a:pt x="30" y="233"/>
                    </a:cubicBezTo>
                    <a:cubicBezTo>
                      <a:pt x="30" y="250"/>
                      <a:pt x="44" y="264"/>
                      <a:pt x="61" y="264"/>
                    </a:cubicBezTo>
                    <a:cubicBezTo>
                      <a:pt x="231" y="264"/>
                      <a:pt x="231" y="264"/>
                      <a:pt x="231" y="264"/>
                    </a:cubicBezTo>
                    <a:cubicBezTo>
                      <a:pt x="248" y="264"/>
                      <a:pt x="262" y="250"/>
                      <a:pt x="262" y="233"/>
                    </a:cubicBezTo>
                    <a:close/>
                    <a:moveTo>
                      <a:pt x="246" y="233"/>
                    </a:moveTo>
                    <a:cubicBezTo>
                      <a:pt x="246" y="241"/>
                      <a:pt x="239" y="248"/>
                      <a:pt x="231" y="248"/>
                    </a:cubicBezTo>
                    <a:cubicBezTo>
                      <a:pt x="61" y="248"/>
                      <a:pt x="61" y="248"/>
                      <a:pt x="61" y="248"/>
                    </a:cubicBezTo>
                    <a:cubicBezTo>
                      <a:pt x="53" y="248"/>
                      <a:pt x="46" y="241"/>
                      <a:pt x="46" y="233"/>
                    </a:cubicBezTo>
                    <a:cubicBezTo>
                      <a:pt x="46" y="62"/>
                      <a:pt x="46" y="62"/>
                      <a:pt x="46" y="62"/>
                    </a:cubicBezTo>
                    <a:cubicBezTo>
                      <a:pt x="46" y="54"/>
                      <a:pt x="53" y="48"/>
                      <a:pt x="61" y="48"/>
                    </a:cubicBezTo>
                    <a:cubicBezTo>
                      <a:pt x="231" y="48"/>
                      <a:pt x="231" y="48"/>
                      <a:pt x="231" y="48"/>
                    </a:cubicBezTo>
                    <a:cubicBezTo>
                      <a:pt x="239" y="48"/>
                      <a:pt x="246" y="54"/>
                      <a:pt x="246" y="62"/>
                    </a:cubicBezTo>
                    <a:lnTo>
                      <a:pt x="246" y="233"/>
                    </a:lnTo>
                    <a:close/>
                    <a:moveTo>
                      <a:pt x="210" y="295"/>
                    </a:moveTo>
                    <a:cubicBezTo>
                      <a:pt x="203" y="295"/>
                      <a:pt x="198" y="300"/>
                      <a:pt x="198" y="307"/>
                    </a:cubicBezTo>
                    <a:cubicBezTo>
                      <a:pt x="198" y="333"/>
                      <a:pt x="198" y="333"/>
                      <a:pt x="198" y="333"/>
                    </a:cubicBezTo>
                    <a:cubicBezTo>
                      <a:pt x="198" y="340"/>
                      <a:pt x="203" y="345"/>
                      <a:pt x="210" y="345"/>
                    </a:cubicBezTo>
                    <a:cubicBezTo>
                      <a:pt x="235" y="345"/>
                      <a:pt x="235" y="345"/>
                      <a:pt x="235" y="345"/>
                    </a:cubicBezTo>
                    <a:cubicBezTo>
                      <a:pt x="242" y="345"/>
                      <a:pt x="247" y="340"/>
                      <a:pt x="247" y="333"/>
                    </a:cubicBezTo>
                    <a:cubicBezTo>
                      <a:pt x="247" y="307"/>
                      <a:pt x="247" y="307"/>
                      <a:pt x="247" y="307"/>
                    </a:cubicBezTo>
                    <a:cubicBezTo>
                      <a:pt x="247" y="300"/>
                      <a:pt x="242" y="295"/>
                      <a:pt x="235" y="295"/>
                    </a:cubicBezTo>
                    <a:lnTo>
                      <a:pt x="210" y="2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77" name="Freeform 3"/>
              <p:cNvSpPr>
                <a:spLocks noChangeAspect="1" noEditPoints="1"/>
              </p:cNvSpPr>
              <p:nvPr/>
            </p:nvSpPr>
            <p:spPr bwMode="auto">
              <a:xfrm>
                <a:off x="5251984" y="3818031"/>
                <a:ext cx="136896" cy="150218"/>
              </a:xfrm>
              <a:custGeom>
                <a:avLst/>
                <a:gdLst>
                  <a:gd name="T0" fmla="*/ 2147483647 w 346"/>
                  <a:gd name="T1" fmla="*/ 2147483647 h 388"/>
                  <a:gd name="T2" fmla="*/ 2147483647 w 346"/>
                  <a:gd name="T3" fmla="*/ 2147483647 h 388"/>
                  <a:gd name="T4" fmla="*/ 2147483647 w 346"/>
                  <a:gd name="T5" fmla="*/ 2147483647 h 388"/>
                  <a:gd name="T6" fmla="*/ 2147483647 w 346"/>
                  <a:gd name="T7" fmla="*/ 2147483647 h 388"/>
                  <a:gd name="T8" fmla="*/ 2147483647 w 346"/>
                  <a:gd name="T9" fmla="*/ 2147483647 h 388"/>
                  <a:gd name="T10" fmla="*/ 2147483647 w 346"/>
                  <a:gd name="T11" fmla="*/ 2147483647 h 388"/>
                  <a:gd name="T12" fmla="*/ 2147483647 w 346"/>
                  <a:gd name="T13" fmla="*/ 2147483647 h 388"/>
                  <a:gd name="T14" fmla="*/ 2147483647 w 346"/>
                  <a:gd name="T15" fmla="*/ 2147483647 h 388"/>
                  <a:gd name="T16" fmla="*/ 2147483647 w 346"/>
                  <a:gd name="T17" fmla="*/ 2147483647 h 388"/>
                  <a:gd name="T18" fmla="*/ 2147483647 w 346"/>
                  <a:gd name="T19" fmla="*/ 2147483647 h 388"/>
                  <a:gd name="T20" fmla="*/ 2147483647 w 346"/>
                  <a:gd name="T21" fmla="*/ 2147483647 h 388"/>
                  <a:gd name="T22" fmla="*/ 2147483647 w 346"/>
                  <a:gd name="T23" fmla="*/ 2147483647 h 388"/>
                  <a:gd name="T24" fmla="*/ 2147483647 w 346"/>
                  <a:gd name="T25" fmla="*/ 2147483647 h 388"/>
                  <a:gd name="T26" fmla="*/ 2147483647 w 346"/>
                  <a:gd name="T27" fmla="*/ 2147483647 h 388"/>
                  <a:gd name="T28" fmla="*/ 2147483647 w 346"/>
                  <a:gd name="T29" fmla="*/ 2147483647 h 388"/>
                  <a:gd name="T30" fmla="*/ 2147483647 w 346"/>
                  <a:gd name="T31" fmla="*/ 2147483647 h 388"/>
                  <a:gd name="T32" fmla="*/ 2147483647 w 346"/>
                  <a:gd name="T33" fmla="*/ 2147483647 h 388"/>
                  <a:gd name="T34" fmla="*/ 2147483647 w 346"/>
                  <a:gd name="T35" fmla="*/ 2147483647 h 388"/>
                  <a:gd name="T36" fmla="*/ 2147483647 w 346"/>
                  <a:gd name="T37" fmla="*/ 2147483647 h 388"/>
                  <a:gd name="T38" fmla="*/ 2147483647 w 346"/>
                  <a:gd name="T39" fmla="*/ 2147483647 h 388"/>
                  <a:gd name="T40" fmla="*/ 2147483647 w 346"/>
                  <a:gd name="T41" fmla="*/ 2147483647 h 388"/>
                  <a:gd name="T42" fmla="*/ 2147483647 w 346"/>
                  <a:gd name="T43" fmla="*/ 2147483647 h 388"/>
                  <a:gd name="T44" fmla="*/ 2147483647 w 346"/>
                  <a:gd name="T45" fmla="*/ 2147483647 h 388"/>
                  <a:gd name="T46" fmla="*/ 2147483647 w 346"/>
                  <a:gd name="T47" fmla="*/ 2147483647 h 388"/>
                  <a:gd name="T48" fmla="*/ 2147483647 w 346"/>
                  <a:gd name="T49" fmla="*/ 2147483647 h 388"/>
                  <a:gd name="T50" fmla="*/ 2147483647 w 346"/>
                  <a:gd name="T51" fmla="*/ 2147483647 h 388"/>
                  <a:gd name="T52" fmla="*/ 2147483647 w 346"/>
                  <a:gd name="T53" fmla="*/ 2147483647 h 388"/>
                  <a:gd name="T54" fmla="*/ 2147483647 w 346"/>
                  <a:gd name="T55" fmla="*/ 2147483647 h 388"/>
                  <a:gd name="T56" fmla="*/ 2147483647 w 346"/>
                  <a:gd name="T57" fmla="*/ 2147483647 h 388"/>
                  <a:gd name="T58" fmla="*/ 2147483647 w 346"/>
                  <a:gd name="T59" fmla="*/ 2147483647 h 388"/>
                  <a:gd name="T60" fmla="*/ 2147483647 w 346"/>
                  <a:gd name="T61" fmla="*/ 2147483647 h 388"/>
                  <a:gd name="T62" fmla="*/ 2147483647 w 346"/>
                  <a:gd name="T63" fmla="*/ 2147483647 h 388"/>
                  <a:gd name="T64" fmla="*/ 2147483647 w 346"/>
                  <a:gd name="T65" fmla="*/ 2147483647 h 388"/>
                  <a:gd name="T66" fmla="*/ 2147483647 w 346"/>
                  <a:gd name="T67" fmla="*/ 2147483647 h 388"/>
                  <a:gd name="T68" fmla="*/ 2147483647 w 346"/>
                  <a:gd name="T69" fmla="*/ 2147483647 h 388"/>
                  <a:gd name="T70" fmla="*/ 2147483647 w 346"/>
                  <a:gd name="T71" fmla="*/ 2147483647 h 388"/>
                  <a:gd name="T72" fmla="*/ 2147483647 w 346"/>
                  <a:gd name="T73" fmla="*/ 2147483647 h 388"/>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346" h="388">
                    <a:moveTo>
                      <a:pt x="99" y="274"/>
                    </a:moveTo>
                    <a:cubicBezTo>
                      <a:pt x="124" y="274"/>
                      <a:pt x="145" y="253"/>
                      <a:pt x="145" y="228"/>
                    </a:cubicBezTo>
                    <a:cubicBezTo>
                      <a:pt x="145" y="228"/>
                      <a:pt x="145" y="228"/>
                      <a:pt x="145" y="228"/>
                    </a:cubicBezTo>
                    <a:cubicBezTo>
                      <a:pt x="145" y="48"/>
                      <a:pt x="145" y="48"/>
                      <a:pt x="145" y="48"/>
                    </a:cubicBezTo>
                    <a:cubicBezTo>
                      <a:pt x="277" y="18"/>
                      <a:pt x="277" y="18"/>
                      <a:pt x="277" y="18"/>
                    </a:cubicBezTo>
                    <a:cubicBezTo>
                      <a:pt x="277" y="41"/>
                      <a:pt x="277" y="41"/>
                      <a:pt x="277" y="41"/>
                    </a:cubicBezTo>
                    <a:cubicBezTo>
                      <a:pt x="277" y="45"/>
                      <a:pt x="281" y="49"/>
                      <a:pt x="285" y="49"/>
                    </a:cubicBezTo>
                    <a:cubicBezTo>
                      <a:pt x="289" y="49"/>
                      <a:pt x="293" y="45"/>
                      <a:pt x="293" y="41"/>
                    </a:cubicBezTo>
                    <a:cubicBezTo>
                      <a:pt x="293" y="8"/>
                      <a:pt x="293" y="8"/>
                      <a:pt x="293" y="8"/>
                    </a:cubicBezTo>
                    <a:cubicBezTo>
                      <a:pt x="293" y="6"/>
                      <a:pt x="292" y="3"/>
                      <a:pt x="290" y="2"/>
                    </a:cubicBezTo>
                    <a:cubicBezTo>
                      <a:pt x="288" y="0"/>
                      <a:pt x="286" y="0"/>
                      <a:pt x="283" y="0"/>
                    </a:cubicBezTo>
                    <a:cubicBezTo>
                      <a:pt x="135" y="34"/>
                      <a:pt x="135" y="34"/>
                      <a:pt x="135" y="34"/>
                    </a:cubicBezTo>
                    <a:cubicBezTo>
                      <a:pt x="131" y="35"/>
                      <a:pt x="129" y="38"/>
                      <a:pt x="129" y="42"/>
                    </a:cubicBezTo>
                    <a:cubicBezTo>
                      <a:pt x="129" y="194"/>
                      <a:pt x="129" y="194"/>
                      <a:pt x="129" y="194"/>
                    </a:cubicBezTo>
                    <a:cubicBezTo>
                      <a:pt x="121" y="187"/>
                      <a:pt x="110" y="183"/>
                      <a:pt x="99" y="183"/>
                    </a:cubicBezTo>
                    <a:cubicBezTo>
                      <a:pt x="74" y="183"/>
                      <a:pt x="53" y="203"/>
                      <a:pt x="53" y="228"/>
                    </a:cubicBezTo>
                    <a:cubicBezTo>
                      <a:pt x="53" y="253"/>
                      <a:pt x="74" y="274"/>
                      <a:pt x="99" y="274"/>
                    </a:cubicBezTo>
                    <a:close/>
                    <a:moveTo>
                      <a:pt x="285" y="65"/>
                    </a:moveTo>
                    <a:cubicBezTo>
                      <a:pt x="281" y="65"/>
                      <a:pt x="277" y="69"/>
                      <a:pt x="277" y="73"/>
                    </a:cubicBezTo>
                    <a:cubicBezTo>
                      <a:pt x="277" y="160"/>
                      <a:pt x="277" y="160"/>
                      <a:pt x="277" y="160"/>
                    </a:cubicBezTo>
                    <a:cubicBezTo>
                      <a:pt x="269" y="153"/>
                      <a:pt x="259" y="149"/>
                      <a:pt x="247" y="149"/>
                    </a:cubicBezTo>
                    <a:cubicBezTo>
                      <a:pt x="222" y="149"/>
                      <a:pt x="202" y="169"/>
                      <a:pt x="202" y="195"/>
                    </a:cubicBezTo>
                    <a:cubicBezTo>
                      <a:pt x="202" y="220"/>
                      <a:pt x="222" y="240"/>
                      <a:pt x="247" y="240"/>
                    </a:cubicBezTo>
                    <a:cubicBezTo>
                      <a:pt x="272" y="240"/>
                      <a:pt x="293" y="220"/>
                      <a:pt x="293" y="195"/>
                    </a:cubicBezTo>
                    <a:cubicBezTo>
                      <a:pt x="293" y="195"/>
                      <a:pt x="293" y="195"/>
                      <a:pt x="293" y="195"/>
                    </a:cubicBezTo>
                    <a:cubicBezTo>
                      <a:pt x="293" y="73"/>
                      <a:pt x="293" y="73"/>
                      <a:pt x="293" y="73"/>
                    </a:cubicBezTo>
                    <a:cubicBezTo>
                      <a:pt x="293" y="69"/>
                      <a:pt x="289" y="65"/>
                      <a:pt x="285" y="65"/>
                    </a:cubicBezTo>
                    <a:close/>
                    <a:moveTo>
                      <a:pt x="2" y="309"/>
                    </a:moveTo>
                    <a:cubicBezTo>
                      <a:pt x="2" y="310"/>
                      <a:pt x="6" y="319"/>
                      <a:pt x="17" y="328"/>
                    </a:cubicBezTo>
                    <a:cubicBezTo>
                      <a:pt x="28" y="337"/>
                      <a:pt x="45" y="346"/>
                      <a:pt x="71" y="346"/>
                    </a:cubicBezTo>
                    <a:cubicBezTo>
                      <a:pt x="72" y="346"/>
                      <a:pt x="72" y="346"/>
                      <a:pt x="72" y="346"/>
                    </a:cubicBezTo>
                    <a:cubicBezTo>
                      <a:pt x="98" y="346"/>
                      <a:pt x="132" y="337"/>
                      <a:pt x="177" y="313"/>
                    </a:cubicBezTo>
                    <a:cubicBezTo>
                      <a:pt x="221" y="290"/>
                      <a:pt x="252" y="282"/>
                      <a:pt x="275" y="282"/>
                    </a:cubicBezTo>
                    <a:cubicBezTo>
                      <a:pt x="297" y="282"/>
                      <a:pt x="311" y="289"/>
                      <a:pt x="319" y="296"/>
                    </a:cubicBezTo>
                    <a:cubicBezTo>
                      <a:pt x="323" y="300"/>
                      <a:pt x="326" y="303"/>
                      <a:pt x="327" y="305"/>
                    </a:cubicBezTo>
                    <a:cubicBezTo>
                      <a:pt x="328" y="307"/>
                      <a:pt x="329" y="308"/>
                      <a:pt x="329" y="308"/>
                    </a:cubicBezTo>
                    <a:cubicBezTo>
                      <a:pt x="329" y="309"/>
                      <a:pt x="329" y="309"/>
                      <a:pt x="330" y="309"/>
                    </a:cubicBezTo>
                    <a:cubicBezTo>
                      <a:pt x="330" y="309"/>
                      <a:pt x="330" y="309"/>
                      <a:pt x="330" y="309"/>
                    </a:cubicBezTo>
                    <a:cubicBezTo>
                      <a:pt x="331" y="313"/>
                      <a:pt x="336" y="315"/>
                      <a:pt x="340" y="313"/>
                    </a:cubicBezTo>
                    <a:cubicBezTo>
                      <a:pt x="344" y="312"/>
                      <a:pt x="346" y="307"/>
                      <a:pt x="344" y="303"/>
                    </a:cubicBezTo>
                    <a:cubicBezTo>
                      <a:pt x="344" y="302"/>
                      <a:pt x="340" y="293"/>
                      <a:pt x="329" y="284"/>
                    </a:cubicBezTo>
                    <a:cubicBezTo>
                      <a:pt x="319" y="275"/>
                      <a:pt x="301" y="266"/>
                      <a:pt x="275" y="266"/>
                    </a:cubicBezTo>
                    <a:cubicBezTo>
                      <a:pt x="249" y="266"/>
                      <a:pt x="215" y="275"/>
                      <a:pt x="169" y="299"/>
                    </a:cubicBezTo>
                    <a:cubicBezTo>
                      <a:pt x="126" y="322"/>
                      <a:pt x="94" y="330"/>
                      <a:pt x="72" y="330"/>
                    </a:cubicBezTo>
                    <a:cubicBezTo>
                      <a:pt x="49" y="330"/>
                      <a:pt x="36" y="323"/>
                      <a:pt x="27" y="316"/>
                    </a:cubicBezTo>
                    <a:cubicBezTo>
                      <a:pt x="23" y="312"/>
                      <a:pt x="21" y="309"/>
                      <a:pt x="19" y="306"/>
                    </a:cubicBezTo>
                    <a:cubicBezTo>
                      <a:pt x="18" y="305"/>
                      <a:pt x="18" y="304"/>
                      <a:pt x="17" y="304"/>
                    </a:cubicBezTo>
                    <a:cubicBezTo>
                      <a:pt x="17" y="303"/>
                      <a:pt x="17" y="303"/>
                      <a:pt x="17" y="303"/>
                    </a:cubicBezTo>
                    <a:cubicBezTo>
                      <a:pt x="17" y="303"/>
                      <a:pt x="17" y="303"/>
                      <a:pt x="17" y="303"/>
                    </a:cubicBezTo>
                    <a:cubicBezTo>
                      <a:pt x="15" y="299"/>
                      <a:pt x="10" y="297"/>
                      <a:pt x="6" y="299"/>
                    </a:cubicBezTo>
                    <a:cubicBezTo>
                      <a:pt x="2" y="300"/>
                      <a:pt x="0" y="305"/>
                      <a:pt x="2" y="309"/>
                    </a:cubicBezTo>
                    <a:close/>
                    <a:moveTo>
                      <a:pt x="329" y="326"/>
                    </a:moveTo>
                    <a:cubicBezTo>
                      <a:pt x="319" y="317"/>
                      <a:pt x="301" y="308"/>
                      <a:pt x="275" y="308"/>
                    </a:cubicBezTo>
                    <a:cubicBezTo>
                      <a:pt x="249" y="308"/>
                      <a:pt x="215" y="316"/>
                      <a:pt x="169" y="341"/>
                    </a:cubicBezTo>
                    <a:cubicBezTo>
                      <a:pt x="126" y="364"/>
                      <a:pt x="94" y="372"/>
                      <a:pt x="72" y="372"/>
                    </a:cubicBezTo>
                    <a:cubicBezTo>
                      <a:pt x="49" y="372"/>
                      <a:pt x="36" y="364"/>
                      <a:pt x="27" y="358"/>
                    </a:cubicBezTo>
                    <a:cubicBezTo>
                      <a:pt x="23" y="354"/>
                      <a:pt x="21" y="351"/>
                      <a:pt x="19" y="348"/>
                    </a:cubicBezTo>
                    <a:cubicBezTo>
                      <a:pt x="18" y="347"/>
                      <a:pt x="18" y="346"/>
                      <a:pt x="17" y="345"/>
                    </a:cubicBezTo>
                    <a:cubicBezTo>
                      <a:pt x="17" y="345"/>
                      <a:pt x="17" y="345"/>
                      <a:pt x="17" y="345"/>
                    </a:cubicBezTo>
                    <a:cubicBezTo>
                      <a:pt x="17" y="345"/>
                      <a:pt x="17" y="345"/>
                      <a:pt x="17" y="345"/>
                    </a:cubicBezTo>
                    <a:cubicBezTo>
                      <a:pt x="15" y="341"/>
                      <a:pt x="10" y="339"/>
                      <a:pt x="6" y="340"/>
                    </a:cubicBezTo>
                    <a:cubicBezTo>
                      <a:pt x="2" y="342"/>
                      <a:pt x="0" y="347"/>
                      <a:pt x="2" y="351"/>
                    </a:cubicBezTo>
                    <a:cubicBezTo>
                      <a:pt x="2" y="352"/>
                      <a:pt x="6" y="361"/>
                      <a:pt x="17" y="370"/>
                    </a:cubicBezTo>
                    <a:cubicBezTo>
                      <a:pt x="28" y="379"/>
                      <a:pt x="45" y="388"/>
                      <a:pt x="71" y="388"/>
                    </a:cubicBezTo>
                    <a:cubicBezTo>
                      <a:pt x="72" y="388"/>
                      <a:pt x="72" y="388"/>
                      <a:pt x="72" y="388"/>
                    </a:cubicBezTo>
                    <a:cubicBezTo>
                      <a:pt x="98" y="388"/>
                      <a:pt x="132" y="379"/>
                      <a:pt x="177" y="355"/>
                    </a:cubicBezTo>
                    <a:cubicBezTo>
                      <a:pt x="221" y="331"/>
                      <a:pt x="252" y="324"/>
                      <a:pt x="275" y="324"/>
                    </a:cubicBezTo>
                    <a:cubicBezTo>
                      <a:pt x="297" y="324"/>
                      <a:pt x="311" y="331"/>
                      <a:pt x="319" y="338"/>
                    </a:cubicBezTo>
                    <a:cubicBezTo>
                      <a:pt x="323" y="341"/>
                      <a:pt x="326" y="345"/>
                      <a:pt x="327" y="347"/>
                    </a:cubicBezTo>
                    <a:cubicBezTo>
                      <a:pt x="328" y="348"/>
                      <a:pt x="329" y="349"/>
                      <a:pt x="329" y="350"/>
                    </a:cubicBezTo>
                    <a:cubicBezTo>
                      <a:pt x="329" y="350"/>
                      <a:pt x="329" y="351"/>
                      <a:pt x="330" y="351"/>
                    </a:cubicBezTo>
                    <a:cubicBezTo>
                      <a:pt x="330" y="351"/>
                      <a:pt x="330" y="351"/>
                      <a:pt x="330" y="351"/>
                    </a:cubicBezTo>
                    <a:cubicBezTo>
                      <a:pt x="331" y="355"/>
                      <a:pt x="336" y="357"/>
                      <a:pt x="340" y="355"/>
                    </a:cubicBezTo>
                    <a:cubicBezTo>
                      <a:pt x="344" y="353"/>
                      <a:pt x="346" y="349"/>
                      <a:pt x="344" y="345"/>
                    </a:cubicBezTo>
                    <a:cubicBezTo>
                      <a:pt x="344" y="344"/>
                      <a:pt x="340" y="335"/>
                      <a:pt x="329" y="3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78" name="Freeform 3"/>
              <p:cNvSpPr>
                <a:spLocks noChangeAspect="1" noEditPoints="1"/>
              </p:cNvSpPr>
              <p:nvPr/>
            </p:nvSpPr>
            <p:spPr bwMode="auto">
              <a:xfrm>
                <a:off x="5171519" y="4588430"/>
                <a:ext cx="118334" cy="86358"/>
              </a:xfrm>
              <a:custGeom>
                <a:avLst/>
                <a:gdLst>
                  <a:gd name="T0" fmla="*/ 2147483647 w 366"/>
                  <a:gd name="T1" fmla="*/ 2147483647 h 273"/>
                  <a:gd name="T2" fmla="*/ 2147483647 w 366"/>
                  <a:gd name="T3" fmla="*/ 2147483647 h 273"/>
                  <a:gd name="T4" fmla="*/ 2147483647 w 366"/>
                  <a:gd name="T5" fmla="*/ 2147483647 h 273"/>
                  <a:gd name="T6" fmla="*/ 2147483647 w 366"/>
                  <a:gd name="T7" fmla="*/ 0 h 273"/>
                  <a:gd name="T8" fmla="*/ 2147483647 w 366"/>
                  <a:gd name="T9" fmla="*/ 0 h 273"/>
                  <a:gd name="T10" fmla="*/ 0 w 366"/>
                  <a:gd name="T11" fmla="*/ 2147483647 h 273"/>
                  <a:gd name="T12" fmla="*/ 0 w 366"/>
                  <a:gd name="T13" fmla="*/ 2147483647 h 273"/>
                  <a:gd name="T14" fmla="*/ 2147483647 w 366"/>
                  <a:gd name="T15" fmla="*/ 2147483647 h 273"/>
                  <a:gd name="T16" fmla="*/ 2147483647 w 366"/>
                  <a:gd name="T17" fmla="*/ 2147483647 h 273"/>
                  <a:gd name="T18" fmla="*/ 2147483647 w 366"/>
                  <a:gd name="T19" fmla="*/ 2147483647 h 273"/>
                  <a:gd name="T20" fmla="*/ 2147483647 w 366"/>
                  <a:gd name="T21" fmla="*/ 2147483647 h 273"/>
                  <a:gd name="T22" fmla="*/ 2147483647 w 366"/>
                  <a:gd name="T23" fmla="*/ 2147483647 h 273"/>
                  <a:gd name="T24" fmla="*/ 2147483647 w 366"/>
                  <a:gd name="T25" fmla="*/ 2147483647 h 273"/>
                  <a:gd name="T26" fmla="*/ 2147483647 w 366"/>
                  <a:gd name="T27" fmla="*/ 2147483647 h 273"/>
                  <a:gd name="T28" fmla="*/ 2147483647 w 366"/>
                  <a:gd name="T29" fmla="*/ 2147483647 h 273"/>
                  <a:gd name="T30" fmla="*/ 2147483647 w 366"/>
                  <a:gd name="T31" fmla="*/ 2147483647 h 273"/>
                  <a:gd name="T32" fmla="*/ 2147483647 w 366"/>
                  <a:gd name="T33" fmla="*/ 2147483647 h 273"/>
                  <a:gd name="T34" fmla="*/ 2147483647 w 366"/>
                  <a:gd name="T35" fmla="*/ 2147483647 h 273"/>
                  <a:gd name="T36" fmla="*/ 2147483647 w 366"/>
                  <a:gd name="T37" fmla="*/ 2147483647 h 273"/>
                  <a:gd name="T38" fmla="*/ 2147483647 w 366"/>
                  <a:gd name="T39" fmla="*/ 2147483647 h 273"/>
                  <a:gd name="T40" fmla="*/ 2147483647 w 366"/>
                  <a:gd name="T41" fmla="*/ 2147483647 h 273"/>
                  <a:gd name="T42" fmla="*/ 2147483647 w 366"/>
                  <a:gd name="T43" fmla="*/ 2147483647 h 273"/>
                  <a:gd name="T44" fmla="*/ 2147483647 w 366"/>
                  <a:gd name="T45" fmla="*/ 2147483647 h 273"/>
                  <a:gd name="T46" fmla="*/ 2147483647 w 366"/>
                  <a:gd name="T47" fmla="*/ 2147483647 h 273"/>
                  <a:gd name="T48" fmla="*/ 2147483647 w 366"/>
                  <a:gd name="T49" fmla="*/ 2147483647 h 273"/>
                  <a:gd name="T50" fmla="*/ 2147483647 w 366"/>
                  <a:gd name="T51" fmla="*/ 2147483647 h 273"/>
                  <a:gd name="T52" fmla="*/ 2147483647 w 366"/>
                  <a:gd name="T53" fmla="*/ 2147483647 h 273"/>
                  <a:gd name="T54" fmla="*/ 2147483647 w 366"/>
                  <a:gd name="T55" fmla="*/ 2147483647 h 273"/>
                  <a:gd name="T56" fmla="*/ 2147483647 w 366"/>
                  <a:gd name="T57" fmla="*/ 2147483647 h 273"/>
                  <a:gd name="T58" fmla="*/ 2147483647 w 366"/>
                  <a:gd name="T59" fmla="*/ 2147483647 h 273"/>
                  <a:gd name="T60" fmla="*/ 2147483647 w 366"/>
                  <a:gd name="T61" fmla="*/ 2147483647 h 273"/>
                  <a:gd name="T62" fmla="*/ 2147483647 w 366"/>
                  <a:gd name="T63" fmla="*/ 2147483647 h 273"/>
                  <a:gd name="T64" fmla="*/ 2147483647 w 366"/>
                  <a:gd name="T65" fmla="*/ 2147483647 h 273"/>
                  <a:gd name="T66" fmla="*/ 2147483647 w 366"/>
                  <a:gd name="T67" fmla="*/ 2147483647 h 2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366" h="273">
                    <a:moveTo>
                      <a:pt x="358" y="57"/>
                    </a:moveTo>
                    <a:cubicBezTo>
                      <a:pt x="362" y="57"/>
                      <a:pt x="366" y="53"/>
                      <a:pt x="366" y="49"/>
                    </a:cubicBezTo>
                    <a:cubicBezTo>
                      <a:pt x="366" y="26"/>
                      <a:pt x="366" y="26"/>
                      <a:pt x="366" y="26"/>
                    </a:cubicBezTo>
                    <a:cubicBezTo>
                      <a:pt x="366" y="15"/>
                      <a:pt x="359" y="0"/>
                      <a:pt x="340" y="0"/>
                    </a:cubicBezTo>
                    <a:cubicBezTo>
                      <a:pt x="26" y="0"/>
                      <a:pt x="26" y="0"/>
                      <a:pt x="26" y="0"/>
                    </a:cubicBezTo>
                    <a:cubicBezTo>
                      <a:pt x="16" y="0"/>
                      <a:pt x="0" y="7"/>
                      <a:pt x="0" y="26"/>
                    </a:cubicBezTo>
                    <a:cubicBezTo>
                      <a:pt x="0" y="247"/>
                      <a:pt x="0" y="247"/>
                      <a:pt x="0" y="247"/>
                    </a:cubicBezTo>
                    <a:cubicBezTo>
                      <a:pt x="0" y="258"/>
                      <a:pt x="7" y="273"/>
                      <a:pt x="26" y="273"/>
                    </a:cubicBezTo>
                    <a:cubicBezTo>
                      <a:pt x="340" y="273"/>
                      <a:pt x="340" y="273"/>
                      <a:pt x="340" y="273"/>
                    </a:cubicBezTo>
                    <a:cubicBezTo>
                      <a:pt x="350" y="273"/>
                      <a:pt x="366" y="266"/>
                      <a:pt x="366" y="247"/>
                    </a:cubicBezTo>
                    <a:cubicBezTo>
                      <a:pt x="366" y="81"/>
                      <a:pt x="366" y="81"/>
                      <a:pt x="366" y="81"/>
                    </a:cubicBezTo>
                    <a:cubicBezTo>
                      <a:pt x="366" y="76"/>
                      <a:pt x="362" y="73"/>
                      <a:pt x="358" y="73"/>
                    </a:cubicBezTo>
                    <a:cubicBezTo>
                      <a:pt x="354" y="73"/>
                      <a:pt x="350" y="76"/>
                      <a:pt x="350" y="81"/>
                    </a:cubicBezTo>
                    <a:cubicBezTo>
                      <a:pt x="350" y="247"/>
                      <a:pt x="350" y="247"/>
                      <a:pt x="350" y="247"/>
                    </a:cubicBezTo>
                    <a:cubicBezTo>
                      <a:pt x="221" y="137"/>
                      <a:pt x="221" y="137"/>
                      <a:pt x="221" y="137"/>
                    </a:cubicBezTo>
                    <a:cubicBezTo>
                      <a:pt x="350" y="28"/>
                      <a:pt x="350" y="28"/>
                      <a:pt x="350" y="28"/>
                    </a:cubicBezTo>
                    <a:cubicBezTo>
                      <a:pt x="350" y="49"/>
                      <a:pt x="350" y="49"/>
                      <a:pt x="350" y="49"/>
                    </a:cubicBezTo>
                    <a:cubicBezTo>
                      <a:pt x="350" y="53"/>
                      <a:pt x="354" y="57"/>
                      <a:pt x="358" y="57"/>
                    </a:cubicBezTo>
                    <a:close/>
                    <a:moveTo>
                      <a:pt x="16" y="246"/>
                    </a:moveTo>
                    <a:cubicBezTo>
                      <a:pt x="16" y="28"/>
                      <a:pt x="16" y="28"/>
                      <a:pt x="16" y="28"/>
                    </a:cubicBezTo>
                    <a:cubicBezTo>
                      <a:pt x="146" y="137"/>
                      <a:pt x="146" y="137"/>
                      <a:pt x="146" y="137"/>
                    </a:cubicBezTo>
                    <a:lnTo>
                      <a:pt x="16" y="246"/>
                    </a:lnTo>
                    <a:close/>
                    <a:moveTo>
                      <a:pt x="338" y="257"/>
                    </a:moveTo>
                    <a:cubicBezTo>
                      <a:pt x="28" y="257"/>
                      <a:pt x="28" y="257"/>
                      <a:pt x="28" y="257"/>
                    </a:cubicBezTo>
                    <a:cubicBezTo>
                      <a:pt x="158" y="148"/>
                      <a:pt x="158" y="148"/>
                      <a:pt x="158" y="148"/>
                    </a:cubicBezTo>
                    <a:cubicBezTo>
                      <a:pt x="178" y="165"/>
                      <a:pt x="178" y="165"/>
                      <a:pt x="178" y="165"/>
                    </a:cubicBezTo>
                    <a:cubicBezTo>
                      <a:pt x="179" y="166"/>
                      <a:pt x="181" y="166"/>
                      <a:pt x="183" y="166"/>
                    </a:cubicBezTo>
                    <a:cubicBezTo>
                      <a:pt x="185" y="166"/>
                      <a:pt x="187" y="166"/>
                      <a:pt x="188" y="165"/>
                    </a:cubicBezTo>
                    <a:cubicBezTo>
                      <a:pt x="208" y="148"/>
                      <a:pt x="208" y="148"/>
                      <a:pt x="208" y="148"/>
                    </a:cubicBezTo>
                    <a:lnTo>
                      <a:pt x="338" y="257"/>
                    </a:lnTo>
                    <a:close/>
                    <a:moveTo>
                      <a:pt x="183" y="148"/>
                    </a:moveTo>
                    <a:cubicBezTo>
                      <a:pt x="26" y="16"/>
                      <a:pt x="26" y="16"/>
                      <a:pt x="26" y="16"/>
                    </a:cubicBezTo>
                    <a:cubicBezTo>
                      <a:pt x="340" y="16"/>
                      <a:pt x="340" y="16"/>
                      <a:pt x="340" y="16"/>
                    </a:cubicBezTo>
                    <a:lnTo>
                      <a:pt x="183" y="1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79" name="Freeform 3"/>
              <p:cNvSpPr>
                <a:spLocks noChangeAspect="1" noEditPoints="1"/>
              </p:cNvSpPr>
              <p:nvPr/>
            </p:nvSpPr>
            <p:spPr bwMode="auto">
              <a:xfrm>
                <a:off x="6162515" y="3369580"/>
                <a:ext cx="138992" cy="134693"/>
              </a:xfrm>
              <a:custGeom>
                <a:avLst/>
                <a:gdLst>
                  <a:gd name="T0" fmla="*/ 2147483647 w 430"/>
                  <a:gd name="T1" fmla="*/ 2147483647 h 426"/>
                  <a:gd name="T2" fmla="*/ 2147483647 w 430"/>
                  <a:gd name="T3" fmla="*/ 2147483647 h 426"/>
                  <a:gd name="T4" fmla="*/ 2147483647 w 430"/>
                  <a:gd name="T5" fmla="*/ 2147483647 h 426"/>
                  <a:gd name="T6" fmla="*/ 2147483647 w 430"/>
                  <a:gd name="T7" fmla="*/ 2147483647 h 426"/>
                  <a:gd name="T8" fmla="*/ 2147483647 w 430"/>
                  <a:gd name="T9" fmla="*/ 2147483647 h 426"/>
                  <a:gd name="T10" fmla="*/ 2147483647 w 430"/>
                  <a:gd name="T11" fmla="*/ 2147483647 h 426"/>
                  <a:gd name="T12" fmla="*/ 2147483647 w 430"/>
                  <a:gd name="T13" fmla="*/ 2147483647 h 426"/>
                  <a:gd name="T14" fmla="*/ 2147483647 w 430"/>
                  <a:gd name="T15" fmla="*/ 2147483647 h 426"/>
                  <a:gd name="T16" fmla="*/ 2147483647 w 430"/>
                  <a:gd name="T17" fmla="*/ 2147483647 h 426"/>
                  <a:gd name="T18" fmla="*/ 2147483647 w 430"/>
                  <a:gd name="T19" fmla="*/ 2147483647 h 426"/>
                  <a:gd name="T20" fmla="*/ 2147483647 w 430"/>
                  <a:gd name="T21" fmla="*/ 2147483647 h 426"/>
                  <a:gd name="T22" fmla="*/ 2147483647 w 430"/>
                  <a:gd name="T23" fmla="*/ 2147483647 h 426"/>
                  <a:gd name="T24" fmla="*/ 2147483647 w 430"/>
                  <a:gd name="T25" fmla="*/ 2147483647 h 426"/>
                  <a:gd name="T26" fmla="*/ 2147483647 w 430"/>
                  <a:gd name="T27" fmla="*/ 2147483647 h 426"/>
                  <a:gd name="T28" fmla="*/ 2147483647 w 430"/>
                  <a:gd name="T29" fmla="*/ 2147483647 h 426"/>
                  <a:gd name="T30" fmla="*/ 2147483647 w 430"/>
                  <a:gd name="T31" fmla="*/ 2147483647 h 426"/>
                  <a:gd name="T32" fmla="*/ 2147483647 w 430"/>
                  <a:gd name="T33" fmla="*/ 2147483647 h 426"/>
                  <a:gd name="T34" fmla="*/ 2147483647 w 430"/>
                  <a:gd name="T35" fmla="*/ 2147483647 h 426"/>
                  <a:gd name="T36" fmla="*/ 2147483647 w 430"/>
                  <a:gd name="T37" fmla="*/ 2147483647 h 426"/>
                  <a:gd name="T38" fmla="*/ 2147483647 w 430"/>
                  <a:gd name="T39" fmla="*/ 2147483647 h 426"/>
                  <a:gd name="T40" fmla="*/ 2147483647 w 430"/>
                  <a:gd name="T41" fmla="*/ 2147483647 h 426"/>
                  <a:gd name="T42" fmla="*/ 2147483647 w 430"/>
                  <a:gd name="T43" fmla="*/ 2147483647 h 426"/>
                  <a:gd name="T44" fmla="*/ 2147483647 w 430"/>
                  <a:gd name="T45" fmla="*/ 2147483647 h 426"/>
                  <a:gd name="T46" fmla="*/ 2147483647 w 430"/>
                  <a:gd name="T47" fmla="*/ 2147483647 h 426"/>
                  <a:gd name="T48" fmla="*/ 2147483647 w 430"/>
                  <a:gd name="T49" fmla="*/ 2147483647 h 426"/>
                  <a:gd name="T50" fmla="*/ 2147483647 w 430"/>
                  <a:gd name="T51" fmla="*/ 2147483647 h 426"/>
                  <a:gd name="T52" fmla="*/ 2147483647 w 430"/>
                  <a:gd name="T53" fmla="*/ 2147483647 h 426"/>
                  <a:gd name="T54" fmla="*/ 2147483647 w 430"/>
                  <a:gd name="T55" fmla="*/ 2147483647 h 426"/>
                  <a:gd name="T56" fmla="*/ 2147483647 w 430"/>
                  <a:gd name="T57" fmla="*/ 2147483647 h 426"/>
                  <a:gd name="T58" fmla="*/ 2147483647 w 430"/>
                  <a:gd name="T59" fmla="*/ 2147483647 h 426"/>
                  <a:gd name="T60" fmla="*/ 2147483647 w 430"/>
                  <a:gd name="T61" fmla="*/ 2147483647 h 426"/>
                  <a:gd name="T62" fmla="*/ 2147483647 w 430"/>
                  <a:gd name="T63" fmla="*/ 2147483647 h 426"/>
                  <a:gd name="T64" fmla="*/ 2147483647 w 430"/>
                  <a:gd name="T65" fmla="*/ 2147483647 h 426"/>
                  <a:gd name="T66" fmla="*/ 2147483647 w 430"/>
                  <a:gd name="T67" fmla="*/ 2147483647 h 426"/>
                  <a:gd name="T68" fmla="*/ 2147483647 w 430"/>
                  <a:gd name="T69" fmla="*/ 2147483647 h 426"/>
                  <a:gd name="T70" fmla="*/ 2147483647 w 430"/>
                  <a:gd name="T71" fmla="*/ 2147483647 h 426"/>
                  <a:gd name="T72" fmla="*/ 2147483647 w 430"/>
                  <a:gd name="T73" fmla="*/ 2147483647 h 426"/>
                  <a:gd name="T74" fmla="*/ 2147483647 w 430"/>
                  <a:gd name="T75" fmla="*/ 2147483647 h 426"/>
                  <a:gd name="T76" fmla="*/ 2147483647 w 430"/>
                  <a:gd name="T77" fmla="*/ 2147483647 h 426"/>
                  <a:gd name="T78" fmla="*/ 2147483647 w 430"/>
                  <a:gd name="T79" fmla="*/ 2147483647 h 426"/>
                  <a:gd name="T80" fmla="*/ 2147483647 w 430"/>
                  <a:gd name="T81" fmla="*/ 2147483647 h 426"/>
                  <a:gd name="T82" fmla="*/ 2147483647 w 430"/>
                  <a:gd name="T83" fmla="*/ 2147483647 h 426"/>
                  <a:gd name="T84" fmla="*/ 2147483647 w 430"/>
                  <a:gd name="T85" fmla="*/ 2147483647 h 426"/>
                  <a:gd name="T86" fmla="*/ 2147483647 w 430"/>
                  <a:gd name="T87" fmla="*/ 2147483647 h 426"/>
                  <a:gd name="T88" fmla="*/ 2147483647 w 430"/>
                  <a:gd name="T89" fmla="*/ 2147483647 h 426"/>
                  <a:gd name="T90" fmla="*/ 2147483647 w 430"/>
                  <a:gd name="T91" fmla="*/ 2147483647 h 426"/>
                  <a:gd name="T92" fmla="*/ 2147483647 w 430"/>
                  <a:gd name="T93" fmla="*/ 2147483647 h 426"/>
                  <a:gd name="T94" fmla="*/ 2147483647 w 430"/>
                  <a:gd name="T95" fmla="*/ 2147483647 h 426"/>
                  <a:gd name="T96" fmla="*/ 2147483647 w 430"/>
                  <a:gd name="T97" fmla="*/ 2147483647 h 426"/>
                  <a:gd name="T98" fmla="*/ 2147483647 w 430"/>
                  <a:gd name="T99" fmla="*/ 2147483647 h 426"/>
                  <a:gd name="T100" fmla="*/ 2147483647 w 430"/>
                  <a:gd name="T101" fmla="*/ 2147483647 h 426"/>
                  <a:gd name="T102" fmla="*/ 2147483647 w 430"/>
                  <a:gd name="T103" fmla="*/ 2147483647 h 426"/>
                  <a:gd name="T104" fmla="*/ 2147483647 w 430"/>
                  <a:gd name="T105" fmla="*/ 2147483647 h 426"/>
                  <a:gd name="T106" fmla="*/ 2147483647 w 430"/>
                  <a:gd name="T107" fmla="*/ 2147483647 h 426"/>
                  <a:gd name="T108" fmla="*/ 2147483647 w 430"/>
                  <a:gd name="T109" fmla="*/ 2147483647 h 426"/>
                  <a:gd name="T110" fmla="*/ 2147483647 w 430"/>
                  <a:gd name="T111" fmla="*/ 2147483647 h 426"/>
                  <a:gd name="T112" fmla="*/ 2147483647 w 430"/>
                  <a:gd name="T113" fmla="*/ 2147483647 h 426"/>
                  <a:gd name="T114" fmla="*/ 2147483647 w 430"/>
                  <a:gd name="T115" fmla="*/ 2147483647 h 426"/>
                  <a:gd name="T116" fmla="*/ 2147483647 w 430"/>
                  <a:gd name="T117" fmla="*/ 2147483647 h 426"/>
                  <a:gd name="T118" fmla="*/ 2147483647 w 430"/>
                  <a:gd name="T119" fmla="*/ 2147483647 h 426"/>
                  <a:gd name="T120" fmla="*/ 2147483647 w 430"/>
                  <a:gd name="T121" fmla="*/ 2147483647 h 4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430" h="426">
                    <a:moveTo>
                      <a:pt x="366" y="169"/>
                    </a:moveTo>
                    <a:cubicBezTo>
                      <a:pt x="366" y="165"/>
                      <a:pt x="366" y="160"/>
                      <a:pt x="366" y="155"/>
                    </a:cubicBezTo>
                    <a:cubicBezTo>
                      <a:pt x="363" y="133"/>
                      <a:pt x="353" y="113"/>
                      <a:pt x="339" y="97"/>
                    </a:cubicBezTo>
                    <a:cubicBezTo>
                      <a:pt x="336" y="94"/>
                      <a:pt x="331" y="94"/>
                      <a:pt x="328" y="97"/>
                    </a:cubicBezTo>
                    <a:cubicBezTo>
                      <a:pt x="325" y="100"/>
                      <a:pt x="324" y="105"/>
                      <a:pt x="327" y="108"/>
                    </a:cubicBezTo>
                    <a:cubicBezTo>
                      <a:pt x="339" y="121"/>
                      <a:pt x="347" y="138"/>
                      <a:pt x="350" y="157"/>
                    </a:cubicBezTo>
                    <a:cubicBezTo>
                      <a:pt x="350" y="161"/>
                      <a:pt x="350" y="165"/>
                      <a:pt x="350" y="169"/>
                    </a:cubicBezTo>
                    <a:cubicBezTo>
                      <a:pt x="350" y="195"/>
                      <a:pt x="340" y="218"/>
                      <a:pt x="323" y="235"/>
                    </a:cubicBezTo>
                    <a:cubicBezTo>
                      <a:pt x="321" y="234"/>
                      <a:pt x="320" y="233"/>
                      <a:pt x="318" y="232"/>
                    </a:cubicBezTo>
                    <a:cubicBezTo>
                      <a:pt x="321" y="226"/>
                      <a:pt x="322" y="219"/>
                      <a:pt x="322" y="211"/>
                    </a:cubicBezTo>
                    <a:cubicBezTo>
                      <a:pt x="322" y="183"/>
                      <a:pt x="300" y="161"/>
                      <a:pt x="272" y="161"/>
                    </a:cubicBezTo>
                    <a:cubicBezTo>
                      <a:pt x="263" y="161"/>
                      <a:pt x="254" y="163"/>
                      <a:pt x="247" y="168"/>
                    </a:cubicBezTo>
                    <a:cubicBezTo>
                      <a:pt x="233" y="143"/>
                      <a:pt x="210" y="124"/>
                      <a:pt x="183" y="116"/>
                    </a:cubicBezTo>
                    <a:cubicBezTo>
                      <a:pt x="197" y="96"/>
                      <a:pt x="220" y="81"/>
                      <a:pt x="246" y="78"/>
                    </a:cubicBezTo>
                    <a:cubicBezTo>
                      <a:pt x="252" y="77"/>
                      <a:pt x="257" y="77"/>
                      <a:pt x="261" y="77"/>
                    </a:cubicBezTo>
                    <a:cubicBezTo>
                      <a:pt x="277" y="77"/>
                      <a:pt x="290" y="80"/>
                      <a:pt x="303" y="88"/>
                    </a:cubicBezTo>
                    <a:cubicBezTo>
                      <a:pt x="307" y="90"/>
                      <a:pt x="312" y="89"/>
                      <a:pt x="314" y="85"/>
                    </a:cubicBezTo>
                    <a:cubicBezTo>
                      <a:pt x="317" y="81"/>
                      <a:pt x="315" y="76"/>
                      <a:pt x="312" y="74"/>
                    </a:cubicBezTo>
                    <a:cubicBezTo>
                      <a:pt x="312" y="74"/>
                      <a:pt x="312" y="74"/>
                      <a:pt x="312" y="74"/>
                    </a:cubicBezTo>
                    <a:cubicBezTo>
                      <a:pt x="296" y="65"/>
                      <a:pt x="279" y="61"/>
                      <a:pt x="261" y="61"/>
                    </a:cubicBezTo>
                    <a:cubicBezTo>
                      <a:pt x="256" y="61"/>
                      <a:pt x="250" y="61"/>
                      <a:pt x="244" y="62"/>
                    </a:cubicBezTo>
                    <a:cubicBezTo>
                      <a:pt x="210" y="66"/>
                      <a:pt x="182" y="86"/>
                      <a:pt x="166" y="113"/>
                    </a:cubicBezTo>
                    <a:cubicBezTo>
                      <a:pt x="162" y="113"/>
                      <a:pt x="158" y="112"/>
                      <a:pt x="154" y="112"/>
                    </a:cubicBezTo>
                    <a:cubicBezTo>
                      <a:pt x="102" y="112"/>
                      <a:pt x="59" y="151"/>
                      <a:pt x="51" y="201"/>
                    </a:cubicBezTo>
                    <a:cubicBezTo>
                      <a:pt x="22" y="209"/>
                      <a:pt x="0" y="236"/>
                      <a:pt x="0" y="268"/>
                    </a:cubicBezTo>
                    <a:cubicBezTo>
                      <a:pt x="0" y="298"/>
                      <a:pt x="18" y="323"/>
                      <a:pt x="44" y="333"/>
                    </a:cubicBezTo>
                    <a:cubicBezTo>
                      <a:pt x="45" y="334"/>
                      <a:pt x="46" y="334"/>
                      <a:pt x="47" y="334"/>
                    </a:cubicBezTo>
                    <a:cubicBezTo>
                      <a:pt x="50" y="334"/>
                      <a:pt x="53" y="332"/>
                      <a:pt x="54" y="329"/>
                    </a:cubicBezTo>
                    <a:cubicBezTo>
                      <a:pt x="56" y="325"/>
                      <a:pt x="54" y="320"/>
                      <a:pt x="50" y="318"/>
                    </a:cubicBezTo>
                    <a:cubicBezTo>
                      <a:pt x="30" y="310"/>
                      <a:pt x="16" y="291"/>
                      <a:pt x="16" y="268"/>
                    </a:cubicBezTo>
                    <a:cubicBezTo>
                      <a:pt x="16" y="242"/>
                      <a:pt x="35" y="220"/>
                      <a:pt x="60" y="215"/>
                    </a:cubicBezTo>
                    <a:cubicBezTo>
                      <a:pt x="63" y="215"/>
                      <a:pt x="66" y="212"/>
                      <a:pt x="66" y="208"/>
                    </a:cubicBezTo>
                    <a:cubicBezTo>
                      <a:pt x="71" y="163"/>
                      <a:pt x="108" y="128"/>
                      <a:pt x="154" y="128"/>
                    </a:cubicBezTo>
                    <a:cubicBezTo>
                      <a:pt x="191" y="128"/>
                      <a:pt x="223" y="151"/>
                      <a:pt x="236" y="183"/>
                    </a:cubicBezTo>
                    <a:cubicBezTo>
                      <a:pt x="237" y="185"/>
                      <a:pt x="239" y="187"/>
                      <a:pt x="242" y="187"/>
                    </a:cubicBezTo>
                    <a:cubicBezTo>
                      <a:pt x="244" y="188"/>
                      <a:pt x="247" y="187"/>
                      <a:pt x="249" y="186"/>
                    </a:cubicBezTo>
                    <a:cubicBezTo>
                      <a:pt x="255" y="180"/>
                      <a:pt x="263" y="177"/>
                      <a:pt x="272" y="177"/>
                    </a:cubicBezTo>
                    <a:cubicBezTo>
                      <a:pt x="291" y="177"/>
                      <a:pt x="306" y="192"/>
                      <a:pt x="306" y="211"/>
                    </a:cubicBezTo>
                    <a:cubicBezTo>
                      <a:pt x="306" y="219"/>
                      <a:pt x="304" y="227"/>
                      <a:pt x="299" y="232"/>
                    </a:cubicBezTo>
                    <a:cubicBezTo>
                      <a:pt x="297" y="235"/>
                      <a:pt x="297" y="238"/>
                      <a:pt x="298" y="240"/>
                    </a:cubicBezTo>
                    <a:cubicBezTo>
                      <a:pt x="299" y="243"/>
                      <a:pt x="301" y="245"/>
                      <a:pt x="304" y="245"/>
                    </a:cubicBezTo>
                    <a:cubicBezTo>
                      <a:pt x="323" y="248"/>
                      <a:pt x="337" y="264"/>
                      <a:pt x="337" y="284"/>
                    </a:cubicBezTo>
                    <a:cubicBezTo>
                      <a:pt x="337" y="299"/>
                      <a:pt x="329" y="312"/>
                      <a:pt x="317" y="318"/>
                    </a:cubicBezTo>
                    <a:cubicBezTo>
                      <a:pt x="313" y="320"/>
                      <a:pt x="311" y="325"/>
                      <a:pt x="313" y="329"/>
                    </a:cubicBezTo>
                    <a:cubicBezTo>
                      <a:pt x="315" y="333"/>
                      <a:pt x="320" y="334"/>
                      <a:pt x="324" y="332"/>
                    </a:cubicBezTo>
                    <a:cubicBezTo>
                      <a:pt x="324" y="332"/>
                      <a:pt x="324" y="332"/>
                      <a:pt x="324" y="332"/>
                    </a:cubicBezTo>
                    <a:cubicBezTo>
                      <a:pt x="342" y="323"/>
                      <a:pt x="353" y="305"/>
                      <a:pt x="353" y="284"/>
                    </a:cubicBezTo>
                    <a:cubicBezTo>
                      <a:pt x="353" y="268"/>
                      <a:pt x="347" y="254"/>
                      <a:pt x="336" y="244"/>
                    </a:cubicBezTo>
                    <a:cubicBezTo>
                      <a:pt x="355" y="224"/>
                      <a:pt x="366" y="198"/>
                      <a:pt x="366" y="169"/>
                    </a:cubicBezTo>
                    <a:moveTo>
                      <a:pt x="233" y="39"/>
                    </a:moveTo>
                    <a:cubicBezTo>
                      <a:pt x="234" y="43"/>
                      <a:pt x="237" y="46"/>
                      <a:pt x="241" y="46"/>
                    </a:cubicBezTo>
                    <a:cubicBezTo>
                      <a:pt x="242" y="46"/>
                      <a:pt x="242" y="46"/>
                      <a:pt x="242" y="46"/>
                    </a:cubicBezTo>
                    <a:cubicBezTo>
                      <a:pt x="247" y="45"/>
                      <a:pt x="250" y="41"/>
                      <a:pt x="249" y="37"/>
                    </a:cubicBezTo>
                    <a:cubicBezTo>
                      <a:pt x="245" y="8"/>
                      <a:pt x="245" y="8"/>
                      <a:pt x="245" y="8"/>
                    </a:cubicBezTo>
                    <a:cubicBezTo>
                      <a:pt x="245" y="3"/>
                      <a:pt x="241" y="0"/>
                      <a:pt x="236" y="1"/>
                    </a:cubicBezTo>
                    <a:cubicBezTo>
                      <a:pt x="232" y="1"/>
                      <a:pt x="229" y="5"/>
                      <a:pt x="229" y="10"/>
                    </a:cubicBezTo>
                    <a:lnTo>
                      <a:pt x="233" y="39"/>
                    </a:lnTo>
                    <a:close/>
                    <a:moveTo>
                      <a:pt x="185" y="60"/>
                    </a:moveTo>
                    <a:cubicBezTo>
                      <a:pt x="186" y="62"/>
                      <a:pt x="189" y="64"/>
                      <a:pt x="192" y="64"/>
                    </a:cubicBezTo>
                    <a:cubicBezTo>
                      <a:pt x="193" y="64"/>
                      <a:pt x="194" y="63"/>
                      <a:pt x="196" y="63"/>
                    </a:cubicBezTo>
                    <a:cubicBezTo>
                      <a:pt x="199" y="60"/>
                      <a:pt x="201" y="56"/>
                      <a:pt x="199" y="52"/>
                    </a:cubicBezTo>
                    <a:cubicBezTo>
                      <a:pt x="183" y="25"/>
                      <a:pt x="183" y="25"/>
                      <a:pt x="183" y="25"/>
                    </a:cubicBezTo>
                    <a:cubicBezTo>
                      <a:pt x="181" y="21"/>
                      <a:pt x="176" y="20"/>
                      <a:pt x="173" y="22"/>
                    </a:cubicBezTo>
                    <a:cubicBezTo>
                      <a:pt x="169" y="24"/>
                      <a:pt x="167" y="29"/>
                      <a:pt x="170" y="33"/>
                    </a:cubicBezTo>
                    <a:lnTo>
                      <a:pt x="185" y="60"/>
                    </a:lnTo>
                    <a:close/>
                    <a:moveTo>
                      <a:pt x="394" y="266"/>
                    </a:moveTo>
                    <a:cubicBezTo>
                      <a:pt x="366" y="245"/>
                      <a:pt x="366" y="245"/>
                      <a:pt x="366" y="245"/>
                    </a:cubicBezTo>
                    <a:cubicBezTo>
                      <a:pt x="363" y="242"/>
                      <a:pt x="358" y="243"/>
                      <a:pt x="355" y="247"/>
                    </a:cubicBezTo>
                    <a:cubicBezTo>
                      <a:pt x="352" y="250"/>
                      <a:pt x="353" y="255"/>
                      <a:pt x="357" y="258"/>
                    </a:cubicBezTo>
                    <a:cubicBezTo>
                      <a:pt x="384" y="279"/>
                      <a:pt x="384" y="279"/>
                      <a:pt x="384" y="279"/>
                    </a:cubicBezTo>
                    <a:cubicBezTo>
                      <a:pt x="385" y="280"/>
                      <a:pt x="387" y="280"/>
                      <a:pt x="389" y="280"/>
                    </a:cubicBezTo>
                    <a:cubicBezTo>
                      <a:pt x="391" y="280"/>
                      <a:pt x="393" y="279"/>
                      <a:pt x="395" y="277"/>
                    </a:cubicBezTo>
                    <a:cubicBezTo>
                      <a:pt x="398" y="274"/>
                      <a:pt x="397" y="269"/>
                      <a:pt x="394" y="266"/>
                    </a:cubicBezTo>
                    <a:moveTo>
                      <a:pt x="123" y="78"/>
                    </a:moveTo>
                    <a:cubicBezTo>
                      <a:pt x="148" y="97"/>
                      <a:pt x="148" y="97"/>
                      <a:pt x="148" y="97"/>
                    </a:cubicBezTo>
                    <a:cubicBezTo>
                      <a:pt x="150" y="98"/>
                      <a:pt x="151" y="99"/>
                      <a:pt x="153" y="99"/>
                    </a:cubicBezTo>
                    <a:cubicBezTo>
                      <a:pt x="156" y="99"/>
                      <a:pt x="158" y="98"/>
                      <a:pt x="159" y="96"/>
                    </a:cubicBezTo>
                    <a:cubicBezTo>
                      <a:pt x="162" y="92"/>
                      <a:pt x="162" y="87"/>
                      <a:pt x="158" y="84"/>
                    </a:cubicBezTo>
                    <a:cubicBezTo>
                      <a:pt x="133" y="65"/>
                      <a:pt x="133" y="65"/>
                      <a:pt x="133" y="65"/>
                    </a:cubicBezTo>
                    <a:cubicBezTo>
                      <a:pt x="130" y="62"/>
                      <a:pt x="125" y="63"/>
                      <a:pt x="122" y="67"/>
                    </a:cubicBezTo>
                    <a:cubicBezTo>
                      <a:pt x="119" y="70"/>
                      <a:pt x="120" y="75"/>
                      <a:pt x="123" y="78"/>
                    </a:cubicBezTo>
                    <a:moveTo>
                      <a:pt x="419" y="207"/>
                    </a:moveTo>
                    <a:cubicBezTo>
                      <a:pt x="387" y="199"/>
                      <a:pt x="387" y="199"/>
                      <a:pt x="387" y="199"/>
                    </a:cubicBezTo>
                    <a:cubicBezTo>
                      <a:pt x="383" y="198"/>
                      <a:pt x="379" y="200"/>
                      <a:pt x="378" y="204"/>
                    </a:cubicBezTo>
                    <a:cubicBezTo>
                      <a:pt x="377" y="209"/>
                      <a:pt x="379" y="213"/>
                      <a:pt x="383" y="214"/>
                    </a:cubicBezTo>
                    <a:cubicBezTo>
                      <a:pt x="415" y="223"/>
                      <a:pt x="415" y="223"/>
                      <a:pt x="415" y="223"/>
                    </a:cubicBezTo>
                    <a:cubicBezTo>
                      <a:pt x="416" y="223"/>
                      <a:pt x="417" y="223"/>
                      <a:pt x="417" y="223"/>
                    </a:cubicBezTo>
                    <a:cubicBezTo>
                      <a:pt x="421" y="223"/>
                      <a:pt x="424" y="221"/>
                      <a:pt x="425" y="217"/>
                    </a:cubicBezTo>
                    <a:cubicBezTo>
                      <a:pt x="426" y="213"/>
                      <a:pt x="424" y="208"/>
                      <a:pt x="419" y="207"/>
                    </a:cubicBezTo>
                    <a:moveTo>
                      <a:pt x="430" y="150"/>
                    </a:moveTo>
                    <a:cubicBezTo>
                      <a:pt x="429" y="145"/>
                      <a:pt x="425" y="142"/>
                      <a:pt x="421" y="143"/>
                    </a:cubicBezTo>
                    <a:cubicBezTo>
                      <a:pt x="389" y="147"/>
                      <a:pt x="389" y="147"/>
                      <a:pt x="389" y="147"/>
                    </a:cubicBezTo>
                    <a:cubicBezTo>
                      <a:pt x="385" y="148"/>
                      <a:pt x="382" y="152"/>
                      <a:pt x="382" y="156"/>
                    </a:cubicBezTo>
                    <a:cubicBezTo>
                      <a:pt x="383" y="160"/>
                      <a:pt x="386" y="163"/>
                      <a:pt x="390" y="163"/>
                    </a:cubicBezTo>
                    <a:cubicBezTo>
                      <a:pt x="390" y="163"/>
                      <a:pt x="391" y="163"/>
                      <a:pt x="391" y="163"/>
                    </a:cubicBezTo>
                    <a:cubicBezTo>
                      <a:pt x="423" y="159"/>
                      <a:pt x="423" y="159"/>
                      <a:pt x="423" y="159"/>
                    </a:cubicBezTo>
                    <a:cubicBezTo>
                      <a:pt x="427" y="158"/>
                      <a:pt x="430" y="154"/>
                      <a:pt x="430" y="150"/>
                    </a:cubicBezTo>
                    <a:moveTo>
                      <a:pt x="367" y="109"/>
                    </a:moveTo>
                    <a:cubicBezTo>
                      <a:pt x="369" y="112"/>
                      <a:pt x="372" y="113"/>
                      <a:pt x="374" y="113"/>
                    </a:cubicBezTo>
                    <a:cubicBezTo>
                      <a:pt x="376" y="113"/>
                      <a:pt x="377" y="113"/>
                      <a:pt x="378" y="112"/>
                    </a:cubicBezTo>
                    <a:cubicBezTo>
                      <a:pt x="405" y="97"/>
                      <a:pt x="405" y="97"/>
                      <a:pt x="405" y="97"/>
                    </a:cubicBezTo>
                    <a:cubicBezTo>
                      <a:pt x="409" y="95"/>
                      <a:pt x="410" y="90"/>
                      <a:pt x="408" y="86"/>
                    </a:cubicBezTo>
                    <a:cubicBezTo>
                      <a:pt x="406" y="82"/>
                      <a:pt x="401" y="81"/>
                      <a:pt x="397" y="83"/>
                    </a:cubicBezTo>
                    <a:cubicBezTo>
                      <a:pt x="370" y="98"/>
                      <a:pt x="370" y="98"/>
                      <a:pt x="370" y="98"/>
                    </a:cubicBezTo>
                    <a:cubicBezTo>
                      <a:pt x="367" y="100"/>
                      <a:pt x="365" y="105"/>
                      <a:pt x="367" y="109"/>
                    </a:cubicBezTo>
                    <a:moveTo>
                      <a:pt x="336" y="72"/>
                    </a:moveTo>
                    <a:cubicBezTo>
                      <a:pt x="337" y="73"/>
                      <a:pt x="339" y="73"/>
                      <a:pt x="341" y="73"/>
                    </a:cubicBezTo>
                    <a:cubicBezTo>
                      <a:pt x="343" y="73"/>
                      <a:pt x="345" y="72"/>
                      <a:pt x="347" y="70"/>
                    </a:cubicBezTo>
                    <a:cubicBezTo>
                      <a:pt x="365" y="47"/>
                      <a:pt x="365" y="47"/>
                      <a:pt x="365" y="47"/>
                    </a:cubicBezTo>
                    <a:cubicBezTo>
                      <a:pt x="368" y="43"/>
                      <a:pt x="367" y="38"/>
                      <a:pt x="364" y="35"/>
                    </a:cubicBezTo>
                    <a:cubicBezTo>
                      <a:pt x="360" y="33"/>
                      <a:pt x="355" y="33"/>
                      <a:pt x="353" y="37"/>
                    </a:cubicBezTo>
                    <a:cubicBezTo>
                      <a:pt x="334" y="61"/>
                      <a:pt x="334" y="61"/>
                      <a:pt x="334" y="61"/>
                    </a:cubicBezTo>
                    <a:cubicBezTo>
                      <a:pt x="332" y="64"/>
                      <a:pt x="332" y="69"/>
                      <a:pt x="336" y="72"/>
                    </a:cubicBezTo>
                    <a:moveTo>
                      <a:pt x="292" y="49"/>
                    </a:moveTo>
                    <a:cubicBezTo>
                      <a:pt x="292" y="50"/>
                      <a:pt x="293" y="50"/>
                      <a:pt x="294" y="50"/>
                    </a:cubicBezTo>
                    <a:cubicBezTo>
                      <a:pt x="297" y="50"/>
                      <a:pt x="300" y="47"/>
                      <a:pt x="301" y="44"/>
                    </a:cubicBezTo>
                    <a:cubicBezTo>
                      <a:pt x="309" y="15"/>
                      <a:pt x="309" y="15"/>
                      <a:pt x="309" y="15"/>
                    </a:cubicBezTo>
                    <a:cubicBezTo>
                      <a:pt x="310" y="11"/>
                      <a:pt x="308" y="7"/>
                      <a:pt x="304" y="5"/>
                    </a:cubicBezTo>
                    <a:cubicBezTo>
                      <a:pt x="299" y="4"/>
                      <a:pt x="295" y="7"/>
                      <a:pt x="294" y="11"/>
                    </a:cubicBezTo>
                    <a:cubicBezTo>
                      <a:pt x="286" y="40"/>
                      <a:pt x="286" y="40"/>
                      <a:pt x="286" y="40"/>
                    </a:cubicBezTo>
                    <a:cubicBezTo>
                      <a:pt x="285" y="44"/>
                      <a:pt x="287" y="48"/>
                      <a:pt x="292" y="49"/>
                    </a:cubicBezTo>
                    <a:moveTo>
                      <a:pt x="300" y="399"/>
                    </a:moveTo>
                    <a:cubicBezTo>
                      <a:pt x="300" y="399"/>
                      <a:pt x="300" y="399"/>
                      <a:pt x="299" y="399"/>
                    </a:cubicBezTo>
                    <a:cubicBezTo>
                      <a:pt x="299" y="399"/>
                      <a:pt x="299" y="399"/>
                      <a:pt x="299" y="399"/>
                    </a:cubicBezTo>
                    <a:cubicBezTo>
                      <a:pt x="299" y="398"/>
                      <a:pt x="299" y="398"/>
                      <a:pt x="299" y="398"/>
                    </a:cubicBezTo>
                    <a:cubicBezTo>
                      <a:pt x="299" y="398"/>
                      <a:pt x="298" y="397"/>
                      <a:pt x="298" y="397"/>
                    </a:cubicBezTo>
                    <a:cubicBezTo>
                      <a:pt x="287" y="388"/>
                      <a:pt x="265" y="381"/>
                      <a:pt x="262" y="383"/>
                    </a:cubicBezTo>
                    <a:cubicBezTo>
                      <a:pt x="260" y="386"/>
                      <a:pt x="268" y="408"/>
                      <a:pt x="276" y="419"/>
                    </a:cubicBezTo>
                    <a:cubicBezTo>
                      <a:pt x="277" y="419"/>
                      <a:pt x="277" y="420"/>
                      <a:pt x="277" y="420"/>
                    </a:cubicBezTo>
                    <a:cubicBezTo>
                      <a:pt x="277" y="420"/>
                      <a:pt x="278" y="420"/>
                      <a:pt x="278" y="420"/>
                    </a:cubicBezTo>
                    <a:cubicBezTo>
                      <a:pt x="278" y="420"/>
                      <a:pt x="278" y="420"/>
                      <a:pt x="278" y="420"/>
                    </a:cubicBezTo>
                    <a:cubicBezTo>
                      <a:pt x="278" y="420"/>
                      <a:pt x="278" y="421"/>
                      <a:pt x="278" y="421"/>
                    </a:cubicBezTo>
                    <a:cubicBezTo>
                      <a:pt x="284" y="426"/>
                      <a:pt x="293" y="426"/>
                      <a:pt x="299" y="420"/>
                    </a:cubicBezTo>
                    <a:cubicBezTo>
                      <a:pt x="305" y="414"/>
                      <a:pt x="305" y="406"/>
                      <a:pt x="300" y="400"/>
                    </a:cubicBezTo>
                    <a:cubicBezTo>
                      <a:pt x="300" y="399"/>
                      <a:pt x="300" y="399"/>
                      <a:pt x="300" y="399"/>
                    </a:cubicBezTo>
                    <a:moveTo>
                      <a:pt x="219" y="399"/>
                    </a:moveTo>
                    <a:cubicBezTo>
                      <a:pt x="219" y="399"/>
                      <a:pt x="219" y="399"/>
                      <a:pt x="219" y="399"/>
                    </a:cubicBezTo>
                    <a:cubicBezTo>
                      <a:pt x="218" y="399"/>
                      <a:pt x="218" y="399"/>
                      <a:pt x="218" y="399"/>
                    </a:cubicBezTo>
                    <a:cubicBezTo>
                      <a:pt x="218" y="398"/>
                      <a:pt x="218" y="398"/>
                      <a:pt x="218" y="398"/>
                    </a:cubicBezTo>
                    <a:cubicBezTo>
                      <a:pt x="218" y="398"/>
                      <a:pt x="217" y="397"/>
                      <a:pt x="217" y="397"/>
                    </a:cubicBezTo>
                    <a:cubicBezTo>
                      <a:pt x="206" y="388"/>
                      <a:pt x="184" y="381"/>
                      <a:pt x="182" y="383"/>
                    </a:cubicBezTo>
                    <a:cubicBezTo>
                      <a:pt x="179" y="386"/>
                      <a:pt x="187" y="408"/>
                      <a:pt x="195" y="419"/>
                    </a:cubicBezTo>
                    <a:cubicBezTo>
                      <a:pt x="196" y="419"/>
                      <a:pt x="196" y="420"/>
                      <a:pt x="197" y="420"/>
                    </a:cubicBezTo>
                    <a:cubicBezTo>
                      <a:pt x="197" y="420"/>
                      <a:pt x="197" y="420"/>
                      <a:pt x="197" y="420"/>
                    </a:cubicBezTo>
                    <a:cubicBezTo>
                      <a:pt x="197" y="420"/>
                      <a:pt x="197" y="420"/>
                      <a:pt x="197" y="420"/>
                    </a:cubicBezTo>
                    <a:cubicBezTo>
                      <a:pt x="197" y="420"/>
                      <a:pt x="197" y="421"/>
                      <a:pt x="197" y="421"/>
                    </a:cubicBezTo>
                    <a:cubicBezTo>
                      <a:pt x="203" y="426"/>
                      <a:pt x="212" y="426"/>
                      <a:pt x="218" y="420"/>
                    </a:cubicBezTo>
                    <a:cubicBezTo>
                      <a:pt x="224" y="414"/>
                      <a:pt x="224" y="406"/>
                      <a:pt x="219" y="400"/>
                    </a:cubicBezTo>
                    <a:cubicBezTo>
                      <a:pt x="219" y="399"/>
                      <a:pt x="219" y="399"/>
                      <a:pt x="219" y="399"/>
                    </a:cubicBezTo>
                    <a:moveTo>
                      <a:pt x="138" y="400"/>
                    </a:moveTo>
                    <a:cubicBezTo>
                      <a:pt x="138" y="399"/>
                      <a:pt x="138" y="399"/>
                      <a:pt x="138" y="399"/>
                    </a:cubicBezTo>
                    <a:cubicBezTo>
                      <a:pt x="138" y="399"/>
                      <a:pt x="138" y="399"/>
                      <a:pt x="138" y="399"/>
                    </a:cubicBezTo>
                    <a:cubicBezTo>
                      <a:pt x="138" y="399"/>
                      <a:pt x="138" y="399"/>
                      <a:pt x="138" y="399"/>
                    </a:cubicBezTo>
                    <a:cubicBezTo>
                      <a:pt x="137" y="398"/>
                      <a:pt x="137" y="398"/>
                      <a:pt x="137" y="398"/>
                    </a:cubicBezTo>
                    <a:cubicBezTo>
                      <a:pt x="137" y="398"/>
                      <a:pt x="136" y="397"/>
                      <a:pt x="136" y="397"/>
                    </a:cubicBezTo>
                    <a:cubicBezTo>
                      <a:pt x="125" y="388"/>
                      <a:pt x="103" y="381"/>
                      <a:pt x="101" y="383"/>
                    </a:cubicBezTo>
                    <a:cubicBezTo>
                      <a:pt x="98" y="386"/>
                      <a:pt x="106" y="408"/>
                      <a:pt x="114" y="419"/>
                    </a:cubicBezTo>
                    <a:cubicBezTo>
                      <a:pt x="115" y="419"/>
                      <a:pt x="115" y="420"/>
                      <a:pt x="116" y="420"/>
                    </a:cubicBezTo>
                    <a:cubicBezTo>
                      <a:pt x="116" y="420"/>
                      <a:pt x="116" y="420"/>
                      <a:pt x="116" y="420"/>
                    </a:cubicBezTo>
                    <a:cubicBezTo>
                      <a:pt x="116" y="420"/>
                      <a:pt x="116" y="420"/>
                      <a:pt x="116" y="420"/>
                    </a:cubicBezTo>
                    <a:cubicBezTo>
                      <a:pt x="116" y="420"/>
                      <a:pt x="116" y="421"/>
                      <a:pt x="116" y="421"/>
                    </a:cubicBezTo>
                    <a:cubicBezTo>
                      <a:pt x="122" y="426"/>
                      <a:pt x="132" y="426"/>
                      <a:pt x="137" y="420"/>
                    </a:cubicBezTo>
                    <a:cubicBezTo>
                      <a:pt x="143" y="414"/>
                      <a:pt x="143" y="406"/>
                      <a:pt x="138" y="400"/>
                    </a:cubicBezTo>
                    <a:close/>
                    <a:moveTo>
                      <a:pt x="109" y="356"/>
                    </a:moveTo>
                    <a:cubicBezTo>
                      <a:pt x="109" y="348"/>
                      <a:pt x="109" y="348"/>
                      <a:pt x="109" y="348"/>
                    </a:cubicBezTo>
                    <a:cubicBezTo>
                      <a:pt x="116" y="352"/>
                      <a:pt x="116" y="352"/>
                      <a:pt x="116" y="352"/>
                    </a:cubicBezTo>
                    <a:cubicBezTo>
                      <a:pt x="117" y="353"/>
                      <a:pt x="119" y="353"/>
                      <a:pt x="120" y="353"/>
                    </a:cubicBezTo>
                    <a:cubicBezTo>
                      <a:pt x="123" y="353"/>
                      <a:pt x="126" y="351"/>
                      <a:pt x="127" y="349"/>
                    </a:cubicBezTo>
                    <a:cubicBezTo>
                      <a:pt x="129" y="345"/>
                      <a:pt x="128" y="340"/>
                      <a:pt x="124" y="338"/>
                    </a:cubicBezTo>
                    <a:cubicBezTo>
                      <a:pt x="117" y="334"/>
                      <a:pt x="117" y="334"/>
                      <a:pt x="117" y="334"/>
                    </a:cubicBezTo>
                    <a:cubicBezTo>
                      <a:pt x="124" y="330"/>
                      <a:pt x="124" y="330"/>
                      <a:pt x="124" y="330"/>
                    </a:cubicBezTo>
                    <a:cubicBezTo>
                      <a:pt x="128" y="328"/>
                      <a:pt x="129" y="323"/>
                      <a:pt x="127" y="319"/>
                    </a:cubicBezTo>
                    <a:cubicBezTo>
                      <a:pt x="125" y="315"/>
                      <a:pt x="120" y="314"/>
                      <a:pt x="116" y="316"/>
                    </a:cubicBezTo>
                    <a:cubicBezTo>
                      <a:pt x="109" y="320"/>
                      <a:pt x="109" y="320"/>
                      <a:pt x="109" y="320"/>
                    </a:cubicBezTo>
                    <a:cubicBezTo>
                      <a:pt x="109" y="312"/>
                      <a:pt x="109" y="312"/>
                      <a:pt x="109" y="312"/>
                    </a:cubicBezTo>
                    <a:cubicBezTo>
                      <a:pt x="109" y="308"/>
                      <a:pt x="106" y="304"/>
                      <a:pt x="101" y="304"/>
                    </a:cubicBezTo>
                    <a:cubicBezTo>
                      <a:pt x="97" y="304"/>
                      <a:pt x="93" y="308"/>
                      <a:pt x="93" y="312"/>
                    </a:cubicBezTo>
                    <a:cubicBezTo>
                      <a:pt x="93" y="320"/>
                      <a:pt x="93" y="320"/>
                      <a:pt x="93" y="320"/>
                    </a:cubicBezTo>
                    <a:cubicBezTo>
                      <a:pt x="86" y="316"/>
                      <a:pt x="86" y="316"/>
                      <a:pt x="86" y="316"/>
                    </a:cubicBezTo>
                    <a:cubicBezTo>
                      <a:pt x="83" y="314"/>
                      <a:pt x="78" y="315"/>
                      <a:pt x="75" y="319"/>
                    </a:cubicBezTo>
                    <a:cubicBezTo>
                      <a:pt x="73" y="323"/>
                      <a:pt x="75" y="328"/>
                      <a:pt x="78" y="330"/>
                    </a:cubicBezTo>
                    <a:cubicBezTo>
                      <a:pt x="85" y="334"/>
                      <a:pt x="85" y="334"/>
                      <a:pt x="85" y="334"/>
                    </a:cubicBezTo>
                    <a:cubicBezTo>
                      <a:pt x="78" y="338"/>
                      <a:pt x="78" y="338"/>
                      <a:pt x="78" y="338"/>
                    </a:cubicBezTo>
                    <a:cubicBezTo>
                      <a:pt x="75" y="340"/>
                      <a:pt x="73" y="345"/>
                      <a:pt x="75" y="349"/>
                    </a:cubicBezTo>
                    <a:cubicBezTo>
                      <a:pt x="77" y="351"/>
                      <a:pt x="80" y="353"/>
                      <a:pt x="82" y="353"/>
                    </a:cubicBezTo>
                    <a:cubicBezTo>
                      <a:pt x="84" y="353"/>
                      <a:pt x="85" y="353"/>
                      <a:pt x="86" y="352"/>
                    </a:cubicBezTo>
                    <a:cubicBezTo>
                      <a:pt x="93" y="348"/>
                      <a:pt x="93" y="348"/>
                      <a:pt x="93" y="348"/>
                    </a:cubicBezTo>
                    <a:cubicBezTo>
                      <a:pt x="93" y="356"/>
                      <a:pt x="93" y="356"/>
                      <a:pt x="93" y="356"/>
                    </a:cubicBezTo>
                    <a:cubicBezTo>
                      <a:pt x="93" y="360"/>
                      <a:pt x="97" y="364"/>
                      <a:pt x="101" y="364"/>
                    </a:cubicBezTo>
                    <a:cubicBezTo>
                      <a:pt x="106" y="364"/>
                      <a:pt x="109" y="360"/>
                      <a:pt x="109" y="356"/>
                    </a:cubicBezTo>
                    <a:moveTo>
                      <a:pt x="190" y="356"/>
                    </a:moveTo>
                    <a:cubicBezTo>
                      <a:pt x="190" y="348"/>
                      <a:pt x="190" y="348"/>
                      <a:pt x="190" y="348"/>
                    </a:cubicBezTo>
                    <a:cubicBezTo>
                      <a:pt x="197" y="352"/>
                      <a:pt x="197" y="352"/>
                      <a:pt x="197" y="352"/>
                    </a:cubicBezTo>
                    <a:cubicBezTo>
                      <a:pt x="198" y="353"/>
                      <a:pt x="199" y="353"/>
                      <a:pt x="201" y="353"/>
                    </a:cubicBezTo>
                    <a:cubicBezTo>
                      <a:pt x="204" y="353"/>
                      <a:pt x="206" y="351"/>
                      <a:pt x="208" y="349"/>
                    </a:cubicBezTo>
                    <a:cubicBezTo>
                      <a:pt x="210" y="345"/>
                      <a:pt x="209" y="340"/>
                      <a:pt x="205" y="338"/>
                    </a:cubicBezTo>
                    <a:cubicBezTo>
                      <a:pt x="198" y="334"/>
                      <a:pt x="198" y="334"/>
                      <a:pt x="198" y="334"/>
                    </a:cubicBezTo>
                    <a:cubicBezTo>
                      <a:pt x="205" y="330"/>
                      <a:pt x="205" y="330"/>
                      <a:pt x="205" y="330"/>
                    </a:cubicBezTo>
                    <a:cubicBezTo>
                      <a:pt x="209" y="328"/>
                      <a:pt x="210" y="323"/>
                      <a:pt x="208" y="319"/>
                    </a:cubicBezTo>
                    <a:cubicBezTo>
                      <a:pt x="205" y="315"/>
                      <a:pt x="201" y="314"/>
                      <a:pt x="197" y="316"/>
                    </a:cubicBezTo>
                    <a:cubicBezTo>
                      <a:pt x="190" y="320"/>
                      <a:pt x="190" y="320"/>
                      <a:pt x="190" y="320"/>
                    </a:cubicBezTo>
                    <a:cubicBezTo>
                      <a:pt x="190" y="312"/>
                      <a:pt x="190" y="312"/>
                      <a:pt x="190" y="312"/>
                    </a:cubicBezTo>
                    <a:cubicBezTo>
                      <a:pt x="190" y="308"/>
                      <a:pt x="186" y="304"/>
                      <a:pt x="182" y="304"/>
                    </a:cubicBezTo>
                    <a:cubicBezTo>
                      <a:pt x="177" y="304"/>
                      <a:pt x="174" y="308"/>
                      <a:pt x="174" y="312"/>
                    </a:cubicBezTo>
                    <a:cubicBezTo>
                      <a:pt x="174" y="320"/>
                      <a:pt x="174" y="320"/>
                      <a:pt x="174" y="320"/>
                    </a:cubicBezTo>
                    <a:cubicBezTo>
                      <a:pt x="167" y="316"/>
                      <a:pt x="167" y="316"/>
                      <a:pt x="167" y="316"/>
                    </a:cubicBezTo>
                    <a:cubicBezTo>
                      <a:pt x="163" y="314"/>
                      <a:pt x="158" y="315"/>
                      <a:pt x="156" y="319"/>
                    </a:cubicBezTo>
                    <a:cubicBezTo>
                      <a:pt x="154" y="323"/>
                      <a:pt x="155" y="328"/>
                      <a:pt x="159" y="330"/>
                    </a:cubicBezTo>
                    <a:cubicBezTo>
                      <a:pt x="166" y="334"/>
                      <a:pt x="166" y="334"/>
                      <a:pt x="166" y="334"/>
                    </a:cubicBezTo>
                    <a:cubicBezTo>
                      <a:pt x="159" y="338"/>
                      <a:pt x="159" y="338"/>
                      <a:pt x="159" y="338"/>
                    </a:cubicBezTo>
                    <a:cubicBezTo>
                      <a:pt x="155" y="340"/>
                      <a:pt x="154" y="345"/>
                      <a:pt x="156" y="349"/>
                    </a:cubicBezTo>
                    <a:cubicBezTo>
                      <a:pt x="158" y="351"/>
                      <a:pt x="160" y="353"/>
                      <a:pt x="163" y="353"/>
                    </a:cubicBezTo>
                    <a:cubicBezTo>
                      <a:pt x="164" y="353"/>
                      <a:pt x="166" y="353"/>
                      <a:pt x="167" y="352"/>
                    </a:cubicBezTo>
                    <a:cubicBezTo>
                      <a:pt x="174" y="348"/>
                      <a:pt x="174" y="348"/>
                      <a:pt x="174" y="348"/>
                    </a:cubicBezTo>
                    <a:cubicBezTo>
                      <a:pt x="174" y="356"/>
                      <a:pt x="174" y="356"/>
                      <a:pt x="174" y="356"/>
                    </a:cubicBezTo>
                    <a:cubicBezTo>
                      <a:pt x="174" y="360"/>
                      <a:pt x="177" y="364"/>
                      <a:pt x="182" y="364"/>
                    </a:cubicBezTo>
                    <a:cubicBezTo>
                      <a:pt x="186" y="364"/>
                      <a:pt x="190" y="360"/>
                      <a:pt x="190" y="356"/>
                    </a:cubicBezTo>
                    <a:moveTo>
                      <a:pt x="271" y="356"/>
                    </a:moveTo>
                    <a:cubicBezTo>
                      <a:pt x="271" y="348"/>
                      <a:pt x="271" y="348"/>
                      <a:pt x="271" y="348"/>
                    </a:cubicBezTo>
                    <a:cubicBezTo>
                      <a:pt x="277" y="352"/>
                      <a:pt x="277" y="352"/>
                      <a:pt x="277" y="352"/>
                    </a:cubicBezTo>
                    <a:cubicBezTo>
                      <a:pt x="279" y="353"/>
                      <a:pt x="280" y="353"/>
                      <a:pt x="281" y="353"/>
                    </a:cubicBezTo>
                    <a:cubicBezTo>
                      <a:pt x="284" y="353"/>
                      <a:pt x="287" y="351"/>
                      <a:pt x="288" y="349"/>
                    </a:cubicBezTo>
                    <a:cubicBezTo>
                      <a:pt x="291" y="345"/>
                      <a:pt x="289" y="340"/>
                      <a:pt x="285" y="338"/>
                    </a:cubicBezTo>
                    <a:cubicBezTo>
                      <a:pt x="279" y="334"/>
                      <a:pt x="279" y="334"/>
                      <a:pt x="279" y="334"/>
                    </a:cubicBezTo>
                    <a:cubicBezTo>
                      <a:pt x="285" y="330"/>
                      <a:pt x="285" y="330"/>
                      <a:pt x="285" y="330"/>
                    </a:cubicBezTo>
                    <a:cubicBezTo>
                      <a:pt x="289" y="328"/>
                      <a:pt x="291" y="323"/>
                      <a:pt x="288" y="319"/>
                    </a:cubicBezTo>
                    <a:cubicBezTo>
                      <a:pt x="286" y="315"/>
                      <a:pt x="281" y="314"/>
                      <a:pt x="277" y="316"/>
                    </a:cubicBezTo>
                    <a:cubicBezTo>
                      <a:pt x="271" y="320"/>
                      <a:pt x="271" y="320"/>
                      <a:pt x="271" y="320"/>
                    </a:cubicBezTo>
                    <a:cubicBezTo>
                      <a:pt x="271" y="312"/>
                      <a:pt x="271" y="312"/>
                      <a:pt x="271" y="312"/>
                    </a:cubicBezTo>
                    <a:cubicBezTo>
                      <a:pt x="271" y="308"/>
                      <a:pt x="267" y="304"/>
                      <a:pt x="263" y="304"/>
                    </a:cubicBezTo>
                    <a:cubicBezTo>
                      <a:pt x="258" y="304"/>
                      <a:pt x="255" y="308"/>
                      <a:pt x="255" y="312"/>
                    </a:cubicBezTo>
                    <a:cubicBezTo>
                      <a:pt x="255" y="320"/>
                      <a:pt x="255" y="320"/>
                      <a:pt x="255" y="320"/>
                    </a:cubicBezTo>
                    <a:cubicBezTo>
                      <a:pt x="248" y="316"/>
                      <a:pt x="248" y="316"/>
                      <a:pt x="248" y="316"/>
                    </a:cubicBezTo>
                    <a:cubicBezTo>
                      <a:pt x="244" y="314"/>
                      <a:pt x="239" y="315"/>
                      <a:pt x="237" y="319"/>
                    </a:cubicBezTo>
                    <a:cubicBezTo>
                      <a:pt x="235" y="323"/>
                      <a:pt x="236" y="328"/>
                      <a:pt x="240" y="330"/>
                    </a:cubicBezTo>
                    <a:cubicBezTo>
                      <a:pt x="247" y="334"/>
                      <a:pt x="247" y="334"/>
                      <a:pt x="247" y="334"/>
                    </a:cubicBezTo>
                    <a:cubicBezTo>
                      <a:pt x="240" y="338"/>
                      <a:pt x="240" y="338"/>
                      <a:pt x="240" y="338"/>
                    </a:cubicBezTo>
                    <a:cubicBezTo>
                      <a:pt x="236" y="340"/>
                      <a:pt x="235" y="345"/>
                      <a:pt x="237" y="349"/>
                    </a:cubicBezTo>
                    <a:cubicBezTo>
                      <a:pt x="238" y="351"/>
                      <a:pt x="241" y="353"/>
                      <a:pt x="244" y="353"/>
                    </a:cubicBezTo>
                    <a:cubicBezTo>
                      <a:pt x="245" y="353"/>
                      <a:pt x="246" y="353"/>
                      <a:pt x="248" y="352"/>
                    </a:cubicBezTo>
                    <a:cubicBezTo>
                      <a:pt x="255" y="348"/>
                      <a:pt x="255" y="348"/>
                      <a:pt x="255" y="348"/>
                    </a:cubicBezTo>
                    <a:cubicBezTo>
                      <a:pt x="255" y="356"/>
                      <a:pt x="255" y="356"/>
                      <a:pt x="255" y="356"/>
                    </a:cubicBezTo>
                    <a:cubicBezTo>
                      <a:pt x="255" y="360"/>
                      <a:pt x="258" y="364"/>
                      <a:pt x="263" y="364"/>
                    </a:cubicBezTo>
                    <a:cubicBezTo>
                      <a:pt x="267" y="364"/>
                      <a:pt x="271" y="360"/>
                      <a:pt x="271" y="35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80" name="Freeform 6"/>
              <p:cNvSpPr>
                <a:spLocks noEditPoints="1"/>
              </p:cNvSpPr>
              <p:nvPr/>
            </p:nvSpPr>
            <p:spPr bwMode="auto">
              <a:xfrm>
                <a:off x="5047689" y="3627213"/>
                <a:ext cx="126510" cy="122504"/>
              </a:xfrm>
              <a:custGeom>
                <a:avLst/>
                <a:gdLst>
                  <a:gd name="T0" fmla="*/ 2147483647 w 320"/>
                  <a:gd name="T1" fmla="*/ 2147483647 h 316"/>
                  <a:gd name="T2" fmla="*/ 2147483647 w 320"/>
                  <a:gd name="T3" fmla="*/ 2147483647 h 316"/>
                  <a:gd name="T4" fmla="*/ 2147483647 w 320"/>
                  <a:gd name="T5" fmla="*/ 2147483647 h 316"/>
                  <a:gd name="T6" fmla="*/ 2147483647 w 320"/>
                  <a:gd name="T7" fmla="*/ 2147483647 h 316"/>
                  <a:gd name="T8" fmla="*/ 2147483647 w 320"/>
                  <a:gd name="T9" fmla="*/ 2147483647 h 316"/>
                  <a:gd name="T10" fmla="*/ 2147483647 w 320"/>
                  <a:gd name="T11" fmla="*/ 2147483647 h 316"/>
                  <a:gd name="T12" fmla="*/ 2147483647 w 320"/>
                  <a:gd name="T13" fmla="*/ 2147483647 h 316"/>
                  <a:gd name="T14" fmla="*/ 2147483647 w 320"/>
                  <a:gd name="T15" fmla="*/ 2147483647 h 316"/>
                  <a:gd name="T16" fmla="*/ 2147483647 w 320"/>
                  <a:gd name="T17" fmla="*/ 2147483647 h 316"/>
                  <a:gd name="T18" fmla="*/ 2147483647 w 320"/>
                  <a:gd name="T19" fmla="*/ 2147483647 h 316"/>
                  <a:gd name="T20" fmla="*/ 2147483647 w 320"/>
                  <a:gd name="T21" fmla="*/ 2147483647 h 316"/>
                  <a:gd name="T22" fmla="*/ 2147483647 w 320"/>
                  <a:gd name="T23" fmla="*/ 2147483647 h 316"/>
                  <a:gd name="T24" fmla="*/ 2147483647 w 320"/>
                  <a:gd name="T25" fmla="*/ 2147483647 h 316"/>
                  <a:gd name="T26" fmla="*/ 2147483647 w 320"/>
                  <a:gd name="T27" fmla="*/ 2147483647 h 316"/>
                  <a:gd name="T28" fmla="*/ 2147483647 w 320"/>
                  <a:gd name="T29" fmla="*/ 2147483647 h 316"/>
                  <a:gd name="T30" fmla="*/ 2147483647 w 320"/>
                  <a:gd name="T31" fmla="*/ 2147483647 h 316"/>
                  <a:gd name="T32" fmla="*/ 2147483647 w 320"/>
                  <a:gd name="T33" fmla="*/ 2147483647 h 316"/>
                  <a:gd name="T34" fmla="*/ 2147483647 w 320"/>
                  <a:gd name="T35" fmla="*/ 2147483647 h 316"/>
                  <a:gd name="T36" fmla="*/ 2147483647 w 320"/>
                  <a:gd name="T37" fmla="*/ 2147483647 h 316"/>
                  <a:gd name="T38" fmla="*/ 2147483647 w 320"/>
                  <a:gd name="T39" fmla="*/ 2147483647 h 316"/>
                  <a:gd name="T40" fmla="*/ 2147483647 w 320"/>
                  <a:gd name="T41" fmla="*/ 0 h 316"/>
                  <a:gd name="T42" fmla="*/ 0 w 320"/>
                  <a:gd name="T43" fmla="*/ 2147483647 h 316"/>
                  <a:gd name="T44" fmla="*/ 2147483647 w 320"/>
                  <a:gd name="T45" fmla="*/ 2147483647 h 316"/>
                  <a:gd name="T46" fmla="*/ 2147483647 w 320"/>
                  <a:gd name="T47" fmla="*/ 2147483647 h 316"/>
                  <a:gd name="T48" fmla="*/ 2147483647 w 320"/>
                  <a:gd name="T49" fmla="*/ 2147483647 h 316"/>
                  <a:gd name="T50" fmla="*/ 2147483647 w 320"/>
                  <a:gd name="T51" fmla="*/ 2147483647 h 316"/>
                  <a:gd name="T52" fmla="*/ 2147483647 w 320"/>
                  <a:gd name="T53" fmla="*/ 2147483647 h 316"/>
                  <a:gd name="T54" fmla="*/ 2147483647 w 320"/>
                  <a:gd name="T55" fmla="*/ 2147483647 h 316"/>
                  <a:gd name="T56" fmla="*/ 2147483647 w 320"/>
                  <a:gd name="T57" fmla="*/ 2147483647 h 316"/>
                  <a:gd name="T58" fmla="*/ 2147483647 w 320"/>
                  <a:gd name="T59" fmla="*/ 2147483647 h 316"/>
                  <a:gd name="T60" fmla="*/ 2147483647 w 320"/>
                  <a:gd name="T61" fmla="*/ 2147483647 h 316"/>
                  <a:gd name="T62" fmla="*/ 2147483647 w 320"/>
                  <a:gd name="T63" fmla="*/ 2147483647 h 316"/>
                  <a:gd name="T64" fmla="*/ 2147483647 w 320"/>
                  <a:gd name="T65" fmla="*/ 2147483647 h 316"/>
                  <a:gd name="T66" fmla="*/ 2147483647 w 320"/>
                  <a:gd name="T67" fmla="*/ 2147483647 h 316"/>
                  <a:gd name="T68" fmla="*/ 2147483647 w 320"/>
                  <a:gd name="T69" fmla="*/ 2147483647 h 316"/>
                  <a:gd name="T70" fmla="*/ 2147483647 w 320"/>
                  <a:gd name="T71" fmla="*/ 2147483647 h 316"/>
                  <a:gd name="T72" fmla="*/ 2147483647 w 320"/>
                  <a:gd name="T73" fmla="*/ 2147483647 h 316"/>
                  <a:gd name="T74" fmla="*/ 2147483647 w 320"/>
                  <a:gd name="T75" fmla="*/ 2147483647 h 316"/>
                  <a:gd name="T76" fmla="*/ 2147483647 w 320"/>
                  <a:gd name="T77" fmla="*/ 2147483647 h 316"/>
                  <a:gd name="T78" fmla="*/ 2147483647 w 320"/>
                  <a:gd name="T79" fmla="*/ 2147483647 h 316"/>
                  <a:gd name="T80" fmla="*/ 2147483647 w 320"/>
                  <a:gd name="T81" fmla="*/ 2147483647 h 316"/>
                  <a:gd name="T82" fmla="*/ 2147483647 w 320"/>
                  <a:gd name="T83" fmla="*/ 2147483647 h 316"/>
                  <a:gd name="T84" fmla="*/ 2147483647 w 320"/>
                  <a:gd name="T85" fmla="*/ 2147483647 h 316"/>
                  <a:gd name="T86" fmla="*/ 2147483647 w 320"/>
                  <a:gd name="T87" fmla="*/ 2147483647 h 316"/>
                  <a:gd name="T88" fmla="*/ 2147483647 w 320"/>
                  <a:gd name="T89" fmla="*/ 2147483647 h 316"/>
                  <a:gd name="T90" fmla="*/ 2147483647 w 320"/>
                  <a:gd name="T91" fmla="*/ 2147483647 h 316"/>
                  <a:gd name="T92" fmla="*/ 2147483647 w 320"/>
                  <a:gd name="T93" fmla="*/ 2147483647 h 316"/>
                  <a:gd name="T94" fmla="*/ 2147483647 w 320"/>
                  <a:gd name="T95" fmla="*/ 2147483647 h 316"/>
                  <a:gd name="T96" fmla="*/ 2147483647 w 320"/>
                  <a:gd name="T97" fmla="*/ 2147483647 h 316"/>
                  <a:gd name="T98" fmla="*/ 2147483647 w 320"/>
                  <a:gd name="T99" fmla="*/ 2147483647 h 316"/>
                  <a:gd name="T100" fmla="*/ 2147483647 w 320"/>
                  <a:gd name="T101" fmla="*/ 2147483647 h 316"/>
                  <a:gd name="T102" fmla="*/ 2147483647 w 320"/>
                  <a:gd name="T103" fmla="*/ 2147483647 h 316"/>
                  <a:gd name="T104" fmla="*/ 2147483647 w 320"/>
                  <a:gd name="T105" fmla="*/ 2147483647 h 316"/>
                  <a:gd name="T106" fmla="*/ 2147483647 w 320"/>
                  <a:gd name="T107" fmla="*/ 2147483647 h 316"/>
                  <a:gd name="T108" fmla="*/ 2147483647 w 320"/>
                  <a:gd name="T109" fmla="*/ 2147483647 h 316"/>
                  <a:gd name="T110" fmla="*/ 2147483647 w 320"/>
                  <a:gd name="T111" fmla="*/ 2147483647 h 316"/>
                  <a:gd name="T112" fmla="*/ 2147483647 w 320"/>
                  <a:gd name="T113" fmla="*/ 2147483647 h 316"/>
                  <a:gd name="T114" fmla="*/ 2147483647 w 320"/>
                  <a:gd name="T115" fmla="*/ 2147483647 h 316"/>
                  <a:gd name="T116" fmla="*/ 2147483647 w 320"/>
                  <a:gd name="T117" fmla="*/ 2147483647 h 316"/>
                  <a:gd name="T118" fmla="*/ 2147483647 w 320"/>
                  <a:gd name="T119" fmla="*/ 2147483647 h 316"/>
                  <a:gd name="T120" fmla="*/ 2147483647 w 320"/>
                  <a:gd name="T121" fmla="*/ 2147483647 h 316"/>
                  <a:gd name="T122" fmla="*/ 2147483647 w 320"/>
                  <a:gd name="T123" fmla="*/ 2147483647 h 31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20" h="316">
                    <a:moveTo>
                      <a:pt x="160" y="63"/>
                    </a:moveTo>
                    <a:cubicBezTo>
                      <a:pt x="213" y="63"/>
                      <a:pt x="257" y="106"/>
                      <a:pt x="257" y="160"/>
                    </a:cubicBezTo>
                    <a:cubicBezTo>
                      <a:pt x="257" y="175"/>
                      <a:pt x="253" y="190"/>
                      <a:pt x="246" y="204"/>
                    </a:cubicBezTo>
                    <a:cubicBezTo>
                      <a:pt x="244" y="208"/>
                      <a:pt x="246" y="213"/>
                      <a:pt x="250" y="215"/>
                    </a:cubicBezTo>
                    <a:cubicBezTo>
                      <a:pt x="254" y="217"/>
                      <a:pt x="258" y="215"/>
                      <a:pt x="260" y="212"/>
                    </a:cubicBezTo>
                    <a:cubicBezTo>
                      <a:pt x="269" y="196"/>
                      <a:pt x="273" y="178"/>
                      <a:pt x="273" y="160"/>
                    </a:cubicBezTo>
                    <a:cubicBezTo>
                      <a:pt x="273" y="97"/>
                      <a:pt x="222" y="47"/>
                      <a:pt x="160" y="47"/>
                    </a:cubicBezTo>
                    <a:cubicBezTo>
                      <a:pt x="98" y="47"/>
                      <a:pt x="47" y="97"/>
                      <a:pt x="47" y="160"/>
                    </a:cubicBezTo>
                    <a:cubicBezTo>
                      <a:pt x="47" y="178"/>
                      <a:pt x="52" y="197"/>
                      <a:pt x="61" y="213"/>
                    </a:cubicBezTo>
                    <a:cubicBezTo>
                      <a:pt x="62" y="216"/>
                      <a:pt x="65" y="218"/>
                      <a:pt x="68" y="218"/>
                    </a:cubicBezTo>
                    <a:cubicBezTo>
                      <a:pt x="69" y="218"/>
                      <a:pt x="70" y="217"/>
                      <a:pt x="71" y="217"/>
                    </a:cubicBezTo>
                    <a:cubicBezTo>
                      <a:pt x="75" y="215"/>
                      <a:pt x="77" y="210"/>
                      <a:pt x="75" y="206"/>
                    </a:cubicBezTo>
                    <a:cubicBezTo>
                      <a:pt x="67" y="192"/>
                      <a:pt x="63" y="176"/>
                      <a:pt x="63" y="160"/>
                    </a:cubicBezTo>
                    <a:cubicBezTo>
                      <a:pt x="63" y="106"/>
                      <a:pt x="107" y="63"/>
                      <a:pt x="160" y="63"/>
                    </a:cubicBezTo>
                    <a:close/>
                    <a:moveTo>
                      <a:pt x="72" y="274"/>
                    </a:moveTo>
                    <a:cubicBezTo>
                      <a:pt x="37" y="246"/>
                      <a:pt x="16" y="205"/>
                      <a:pt x="16" y="160"/>
                    </a:cubicBezTo>
                    <a:cubicBezTo>
                      <a:pt x="16" y="80"/>
                      <a:pt x="81" y="16"/>
                      <a:pt x="160" y="16"/>
                    </a:cubicBezTo>
                    <a:cubicBezTo>
                      <a:pt x="193" y="16"/>
                      <a:pt x="224" y="27"/>
                      <a:pt x="249" y="47"/>
                    </a:cubicBezTo>
                    <a:cubicBezTo>
                      <a:pt x="253" y="50"/>
                      <a:pt x="258" y="49"/>
                      <a:pt x="261" y="46"/>
                    </a:cubicBezTo>
                    <a:cubicBezTo>
                      <a:pt x="263" y="42"/>
                      <a:pt x="263" y="37"/>
                      <a:pt x="259" y="35"/>
                    </a:cubicBezTo>
                    <a:cubicBezTo>
                      <a:pt x="231" y="12"/>
                      <a:pt x="196" y="0"/>
                      <a:pt x="160" y="0"/>
                    </a:cubicBezTo>
                    <a:cubicBezTo>
                      <a:pt x="72" y="0"/>
                      <a:pt x="0" y="72"/>
                      <a:pt x="0" y="160"/>
                    </a:cubicBezTo>
                    <a:cubicBezTo>
                      <a:pt x="0" y="210"/>
                      <a:pt x="23" y="256"/>
                      <a:pt x="63" y="286"/>
                    </a:cubicBezTo>
                    <a:cubicBezTo>
                      <a:pt x="64" y="287"/>
                      <a:pt x="66" y="288"/>
                      <a:pt x="68" y="288"/>
                    </a:cubicBezTo>
                    <a:cubicBezTo>
                      <a:pt x="70" y="288"/>
                      <a:pt x="72" y="287"/>
                      <a:pt x="74" y="285"/>
                    </a:cubicBezTo>
                    <a:cubicBezTo>
                      <a:pt x="77" y="281"/>
                      <a:pt x="76" y="276"/>
                      <a:pt x="72" y="274"/>
                    </a:cubicBezTo>
                    <a:close/>
                    <a:moveTo>
                      <a:pt x="160" y="93"/>
                    </a:moveTo>
                    <a:cubicBezTo>
                      <a:pt x="123" y="93"/>
                      <a:pt x="92" y="123"/>
                      <a:pt x="92" y="161"/>
                    </a:cubicBezTo>
                    <a:cubicBezTo>
                      <a:pt x="92" y="161"/>
                      <a:pt x="92" y="161"/>
                      <a:pt x="92" y="162"/>
                    </a:cubicBezTo>
                    <a:cubicBezTo>
                      <a:pt x="92" y="162"/>
                      <a:pt x="92" y="162"/>
                      <a:pt x="92" y="162"/>
                    </a:cubicBezTo>
                    <a:cubicBezTo>
                      <a:pt x="92" y="292"/>
                      <a:pt x="92" y="292"/>
                      <a:pt x="92" y="292"/>
                    </a:cubicBezTo>
                    <a:cubicBezTo>
                      <a:pt x="92" y="305"/>
                      <a:pt x="103" y="316"/>
                      <a:pt x="117" y="316"/>
                    </a:cubicBezTo>
                    <a:cubicBezTo>
                      <a:pt x="204" y="316"/>
                      <a:pt x="204" y="316"/>
                      <a:pt x="204" y="316"/>
                    </a:cubicBezTo>
                    <a:cubicBezTo>
                      <a:pt x="218" y="316"/>
                      <a:pt x="229" y="305"/>
                      <a:pt x="229" y="292"/>
                    </a:cubicBezTo>
                    <a:cubicBezTo>
                      <a:pt x="229" y="162"/>
                      <a:pt x="229" y="162"/>
                      <a:pt x="229" y="162"/>
                    </a:cubicBezTo>
                    <a:cubicBezTo>
                      <a:pt x="229" y="162"/>
                      <a:pt x="229" y="162"/>
                      <a:pt x="229" y="162"/>
                    </a:cubicBezTo>
                    <a:cubicBezTo>
                      <a:pt x="229" y="161"/>
                      <a:pt x="229" y="161"/>
                      <a:pt x="229" y="161"/>
                    </a:cubicBezTo>
                    <a:cubicBezTo>
                      <a:pt x="229" y="123"/>
                      <a:pt x="198" y="93"/>
                      <a:pt x="160" y="93"/>
                    </a:cubicBezTo>
                    <a:close/>
                    <a:moveTo>
                      <a:pt x="213" y="162"/>
                    </a:moveTo>
                    <a:cubicBezTo>
                      <a:pt x="213" y="162"/>
                      <a:pt x="213" y="163"/>
                      <a:pt x="213" y="163"/>
                    </a:cubicBezTo>
                    <a:cubicBezTo>
                      <a:pt x="213" y="292"/>
                      <a:pt x="213" y="292"/>
                      <a:pt x="213" y="292"/>
                    </a:cubicBezTo>
                    <a:cubicBezTo>
                      <a:pt x="213" y="296"/>
                      <a:pt x="209" y="300"/>
                      <a:pt x="204" y="300"/>
                    </a:cubicBezTo>
                    <a:cubicBezTo>
                      <a:pt x="117" y="300"/>
                      <a:pt x="117" y="300"/>
                      <a:pt x="117" y="300"/>
                    </a:cubicBezTo>
                    <a:cubicBezTo>
                      <a:pt x="112" y="300"/>
                      <a:pt x="108" y="296"/>
                      <a:pt x="108" y="292"/>
                    </a:cubicBezTo>
                    <a:cubicBezTo>
                      <a:pt x="108" y="163"/>
                      <a:pt x="108" y="163"/>
                      <a:pt x="108" y="163"/>
                    </a:cubicBezTo>
                    <a:cubicBezTo>
                      <a:pt x="108" y="163"/>
                      <a:pt x="108" y="162"/>
                      <a:pt x="108" y="162"/>
                    </a:cubicBezTo>
                    <a:cubicBezTo>
                      <a:pt x="108" y="162"/>
                      <a:pt x="108" y="162"/>
                      <a:pt x="108" y="162"/>
                    </a:cubicBezTo>
                    <a:cubicBezTo>
                      <a:pt x="108" y="161"/>
                      <a:pt x="108" y="161"/>
                      <a:pt x="108" y="161"/>
                    </a:cubicBezTo>
                    <a:cubicBezTo>
                      <a:pt x="108" y="132"/>
                      <a:pt x="132" y="109"/>
                      <a:pt x="160" y="109"/>
                    </a:cubicBezTo>
                    <a:cubicBezTo>
                      <a:pt x="189" y="109"/>
                      <a:pt x="213" y="132"/>
                      <a:pt x="213" y="161"/>
                    </a:cubicBezTo>
                    <a:cubicBezTo>
                      <a:pt x="213" y="162"/>
                      <a:pt x="213" y="162"/>
                      <a:pt x="213" y="162"/>
                    </a:cubicBezTo>
                    <a:cubicBezTo>
                      <a:pt x="213" y="162"/>
                      <a:pt x="213" y="162"/>
                      <a:pt x="213" y="162"/>
                    </a:cubicBezTo>
                    <a:close/>
                    <a:moveTo>
                      <a:pt x="283" y="58"/>
                    </a:moveTo>
                    <a:cubicBezTo>
                      <a:pt x="280" y="55"/>
                      <a:pt x="275" y="54"/>
                      <a:pt x="272" y="57"/>
                    </a:cubicBezTo>
                    <a:cubicBezTo>
                      <a:pt x="269" y="60"/>
                      <a:pt x="268" y="65"/>
                      <a:pt x="271" y="68"/>
                    </a:cubicBezTo>
                    <a:cubicBezTo>
                      <a:pt x="292" y="94"/>
                      <a:pt x="304" y="126"/>
                      <a:pt x="304" y="160"/>
                    </a:cubicBezTo>
                    <a:cubicBezTo>
                      <a:pt x="304" y="204"/>
                      <a:pt x="284" y="245"/>
                      <a:pt x="248" y="273"/>
                    </a:cubicBezTo>
                    <a:cubicBezTo>
                      <a:pt x="245" y="276"/>
                      <a:pt x="244" y="281"/>
                      <a:pt x="247" y="284"/>
                    </a:cubicBezTo>
                    <a:cubicBezTo>
                      <a:pt x="249" y="286"/>
                      <a:pt x="251" y="287"/>
                      <a:pt x="253" y="287"/>
                    </a:cubicBezTo>
                    <a:cubicBezTo>
                      <a:pt x="255" y="287"/>
                      <a:pt x="257" y="287"/>
                      <a:pt x="258" y="285"/>
                    </a:cubicBezTo>
                    <a:cubicBezTo>
                      <a:pt x="297" y="255"/>
                      <a:pt x="320" y="209"/>
                      <a:pt x="320" y="160"/>
                    </a:cubicBezTo>
                    <a:cubicBezTo>
                      <a:pt x="320" y="123"/>
                      <a:pt x="307" y="87"/>
                      <a:pt x="283"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81" name="Freeform 6"/>
              <p:cNvSpPr>
                <a:spLocks noEditPoints="1"/>
              </p:cNvSpPr>
              <p:nvPr/>
            </p:nvSpPr>
            <p:spPr bwMode="auto">
              <a:xfrm>
                <a:off x="5992255" y="4028642"/>
                <a:ext cx="99029" cy="159238"/>
              </a:xfrm>
              <a:custGeom>
                <a:avLst/>
                <a:gdLst>
                  <a:gd name="T0" fmla="*/ 2147483647 w 250"/>
                  <a:gd name="T1" fmla="*/ 2147483647 h 411"/>
                  <a:gd name="T2" fmla="*/ 2147483647 w 250"/>
                  <a:gd name="T3" fmla="*/ 2147483647 h 411"/>
                  <a:gd name="T4" fmla="*/ 2147483647 w 250"/>
                  <a:gd name="T5" fmla="*/ 2147483647 h 411"/>
                  <a:gd name="T6" fmla="*/ 2147483647 w 250"/>
                  <a:gd name="T7" fmla="*/ 2147483647 h 411"/>
                  <a:gd name="T8" fmla="*/ 2147483647 w 250"/>
                  <a:gd name="T9" fmla="*/ 2147483647 h 411"/>
                  <a:gd name="T10" fmla="*/ 2147483647 w 250"/>
                  <a:gd name="T11" fmla="*/ 2147483647 h 411"/>
                  <a:gd name="T12" fmla="*/ 2147483647 w 250"/>
                  <a:gd name="T13" fmla="*/ 2147483647 h 411"/>
                  <a:gd name="T14" fmla="*/ 2147483647 w 250"/>
                  <a:gd name="T15" fmla="*/ 2147483647 h 411"/>
                  <a:gd name="T16" fmla="*/ 2147483647 w 250"/>
                  <a:gd name="T17" fmla="*/ 2147483647 h 411"/>
                  <a:gd name="T18" fmla="*/ 2147483647 w 250"/>
                  <a:gd name="T19" fmla="*/ 2147483647 h 411"/>
                  <a:gd name="T20" fmla="*/ 2147483647 w 250"/>
                  <a:gd name="T21" fmla="*/ 2147483647 h 411"/>
                  <a:gd name="T22" fmla="*/ 2147483647 w 250"/>
                  <a:gd name="T23" fmla="*/ 2147483647 h 411"/>
                  <a:gd name="T24" fmla="*/ 2147483647 w 250"/>
                  <a:gd name="T25" fmla="*/ 2147483647 h 411"/>
                  <a:gd name="T26" fmla="*/ 2147483647 w 250"/>
                  <a:gd name="T27" fmla="*/ 2147483647 h 411"/>
                  <a:gd name="T28" fmla="*/ 2147483647 w 250"/>
                  <a:gd name="T29" fmla="*/ 2147483647 h 411"/>
                  <a:gd name="T30" fmla="*/ 2147483647 w 250"/>
                  <a:gd name="T31" fmla="*/ 2147483647 h 411"/>
                  <a:gd name="T32" fmla="*/ 2147483647 w 250"/>
                  <a:gd name="T33" fmla="*/ 2147483647 h 411"/>
                  <a:gd name="T34" fmla="*/ 2147483647 w 250"/>
                  <a:gd name="T35" fmla="*/ 2147483647 h 411"/>
                  <a:gd name="T36" fmla="*/ 2147483647 w 250"/>
                  <a:gd name="T37" fmla="*/ 2147483647 h 411"/>
                  <a:gd name="T38" fmla="*/ 2147483647 w 250"/>
                  <a:gd name="T39" fmla="*/ 0 h 411"/>
                  <a:gd name="T40" fmla="*/ 2147483647 w 250"/>
                  <a:gd name="T41" fmla="*/ 0 h 411"/>
                  <a:gd name="T42" fmla="*/ 0 w 250"/>
                  <a:gd name="T43" fmla="*/ 2147483647 h 411"/>
                  <a:gd name="T44" fmla="*/ 0 w 250"/>
                  <a:gd name="T45" fmla="*/ 2147483647 h 411"/>
                  <a:gd name="T46" fmla="*/ 2147483647 w 250"/>
                  <a:gd name="T47" fmla="*/ 2147483647 h 411"/>
                  <a:gd name="T48" fmla="*/ 2147483647 w 250"/>
                  <a:gd name="T49" fmla="*/ 2147483647 h 411"/>
                  <a:gd name="T50" fmla="*/ 2147483647 w 250"/>
                  <a:gd name="T51" fmla="*/ 2147483647 h 411"/>
                  <a:gd name="T52" fmla="*/ 2147483647 w 250"/>
                  <a:gd name="T53" fmla="*/ 2147483647 h 411"/>
                  <a:gd name="T54" fmla="*/ 2147483647 w 250"/>
                  <a:gd name="T55" fmla="*/ 2147483647 h 411"/>
                  <a:gd name="T56" fmla="*/ 2147483647 w 250"/>
                  <a:gd name="T57" fmla="*/ 2147483647 h 411"/>
                  <a:gd name="T58" fmla="*/ 2147483647 w 250"/>
                  <a:gd name="T59" fmla="*/ 2147483647 h 411"/>
                  <a:gd name="T60" fmla="*/ 2147483647 w 250"/>
                  <a:gd name="T61" fmla="*/ 2147483647 h 411"/>
                  <a:gd name="T62" fmla="*/ 2147483647 w 250"/>
                  <a:gd name="T63" fmla="*/ 2147483647 h 411"/>
                  <a:gd name="T64" fmla="*/ 2147483647 w 250"/>
                  <a:gd name="T65" fmla="*/ 2147483647 h 411"/>
                  <a:gd name="T66" fmla="*/ 2147483647 w 250"/>
                  <a:gd name="T67" fmla="*/ 2147483647 h 411"/>
                  <a:gd name="T68" fmla="*/ 2147483647 w 250"/>
                  <a:gd name="T69" fmla="*/ 2147483647 h 411"/>
                  <a:gd name="T70" fmla="*/ 2147483647 w 250"/>
                  <a:gd name="T71" fmla="*/ 2147483647 h 411"/>
                  <a:gd name="T72" fmla="*/ 2147483647 w 250"/>
                  <a:gd name="T73" fmla="*/ 2147483647 h 411"/>
                  <a:gd name="T74" fmla="*/ 2147483647 w 250"/>
                  <a:gd name="T75" fmla="*/ 2147483647 h 411"/>
                  <a:gd name="T76" fmla="*/ 2147483647 w 250"/>
                  <a:gd name="T77" fmla="*/ 2147483647 h 411"/>
                  <a:gd name="T78" fmla="*/ 2147483647 w 250"/>
                  <a:gd name="T79" fmla="*/ 2147483647 h 411"/>
                  <a:gd name="T80" fmla="*/ 2147483647 w 250"/>
                  <a:gd name="T81" fmla="*/ 2147483647 h 411"/>
                  <a:gd name="T82" fmla="*/ 2147483647 w 250"/>
                  <a:gd name="T83" fmla="*/ 2147483647 h 41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50" h="411">
                    <a:moveTo>
                      <a:pt x="43" y="279"/>
                    </a:moveTo>
                    <a:cubicBezTo>
                      <a:pt x="47" y="279"/>
                      <a:pt x="51" y="276"/>
                      <a:pt x="51" y="271"/>
                    </a:cubicBezTo>
                    <a:cubicBezTo>
                      <a:pt x="51" y="235"/>
                      <a:pt x="51" y="235"/>
                      <a:pt x="51" y="235"/>
                    </a:cubicBezTo>
                    <a:cubicBezTo>
                      <a:pt x="51" y="231"/>
                      <a:pt x="47" y="227"/>
                      <a:pt x="43" y="227"/>
                    </a:cubicBezTo>
                    <a:cubicBezTo>
                      <a:pt x="39" y="227"/>
                      <a:pt x="35" y="231"/>
                      <a:pt x="35" y="235"/>
                    </a:cubicBezTo>
                    <a:cubicBezTo>
                      <a:pt x="35" y="271"/>
                      <a:pt x="35" y="271"/>
                      <a:pt x="35" y="271"/>
                    </a:cubicBezTo>
                    <a:cubicBezTo>
                      <a:pt x="35" y="276"/>
                      <a:pt x="39" y="279"/>
                      <a:pt x="43" y="279"/>
                    </a:cubicBezTo>
                    <a:close/>
                    <a:moveTo>
                      <a:pt x="242" y="74"/>
                    </a:moveTo>
                    <a:cubicBezTo>
                      <a:pt x="238" y="74"/>
                      <a:pt x="234" y="78"/>
                      <a:pt x="234" y="82"/>
                    </a:cubicBezTo>
                    <a:cubicBezTo>
                      <a:pt x="234" y="198"/>
                      <a:pt x="234" y="198"/>
                      <a:pt x="234" y="198"/>
                    </a:cubicBezTo>
                    <a:cubicBezTo>
                      <a:pt x="16" y="198"/>
                      <a:pt x="16" y="198"/>
                      <a:pt x="16" y="198"/>
                    </a:cubicBezTo>
                    <a:cubicBezTo>
                      <a:pt x="16" y="30"/>
                      <a:pt x="16" y="30"/>
                      <a:pt x="16" y="30"/>
                    </a:cubicBezTo>
                    <a:cubicBezTo>
                      <a:pt x="16" y="22"/>
                      <a:pt x="23" y="16"/>
                      <a:pt x="31" y="16"/>
                    </a:cubicBezTo>
                    <a:cubicBezTo>
                      <a:pt x="219" y="16"/>
                      <a:pt x="219" y="16"/>
                      <a:pt x="219" y="16"/>
                    </a:cubicBezTo>
                    <a:cubicBezTo>
                      <a:pt x="227" y="16"/>
                      <a:pt x="234" y="22"/>
                      <a:pt x="234" y="30"/>
                    </a:cubicBezTo>
                    <a:cubicBezTo>
                      <a:pt x="234" y="50"/>
                      <a:pt x="234" y="50"/>
                      <a:pt x="234" y="50"/>
                    </a:cubicBezTo>
                    <a:cubicBezTo>
                      <a:pt x="234" y="55"/>
                      <a:pt x="238" y="58"/>
                      <a:pt x="242" y="58"/>
                    </a:cubicBezTo>
                    <a:cubicBezTo>
                      <a:pt x="246" y="58"/>
                      <a:pt x="250" y="55"/>
                      <a:pt x="250" y="50"/>
                    </a:cubicBezTo>
                    <a:cubicBezTo>
                      <a:pt x="250" y="30"/>
                      <a:pt x="250" y="30"/>
                      <a:pt x="250" y="30"/>
                    </a:cubicBezTo>
                    <a:cubicBezTo>
                      <a:pt x="250" y="14"/>
                      <a:pt x="236" y="0"/>
                      <a:pt x="219" y="0"/>
                    </a:cubicBezTo>
                    <a:cubicBezTo>
                      <a:pt x="31" y="0"/>
                      <a:pt x="31" y="0"/>
                      <a:pt x="31" y="0"/>
                    </a:cubicBezTo>
                    <a:cubicBezTo>
                      <a:pt x="14" y="0"/>
                      <a:pt x="0" y="14"/>
                      <a:pt x="0" y="30"/>
                    </a:cubicBezTo>
                    <a:cubicBezTo>
                      <a:pt x="0" y="381"/>
                      <a:pt x="0" y="381"/>
                      <a:pt x="0" y="381"/>
                    </a:cubicBezTo>
                    <a:cubicBezTo>
                      <a:pt x="0" y="398"/>
                      <a:pt x="14" y="411"/>
                      <a:pt x="31" y="411"/>
                    </a:cubicBezTo>
                    <a:cubicBezTo>
                      <a:pt x="219" y="411"/>
                      <a:pt x="219" y="411"/>
                      <a:pt x="219" y="411"/>
                    </a:cubicBezTo>
                    <a:cubicBezTo>
                      <a:pt x="236" y="411"/>
                      <a:pt x="250" y="398"/>
                      <a:pt x="250" y="381"/>
                    </a:cubicBezTo>
                    <a:cubicBezTo>
                      <a:pt x="250" y="82"/>
                      <a:pt x="250" y="82"/>
                      <a:pt x="250" y="82"/>
                    </a:cubicBezTo>
                    <a:cubicBezTo>
                      <a:pt x="250" y="78"/>
                      <a:pt x="246" y="74"/>
                      <a:pt x="242" y="74"/>
                    </a:cubicBezTo>
                    <a:close/>
                    <a:moveTo>
                      <a:pt x="234" y="381"/>
                    </a:moveTo>
                    <a:cubicBezTo>
                      <a:pt x="234" y="389"/>
                      <a:pt x="227" y="395"/>
                      <a:pt x="219" y="395"/>
                    </a:cubicBezTo>
                    <a:cubicBezTo>
                      <a:pt x="31" y="395"/>
                      <a:pt x="31" y="395"/>
                      <a:pt x="31" y="395"/>
                    </a:cubicBezTo>
                    <a:cubicBezTo>
                      <a:pt x="23" y="395"/>
                      <a:pt x="16" y="389"/>
                      <a:pt x="16" y="381"/>
                    </a:cubicBezTo>
                    <a:cubicBezTo>
                      <a:pt x="16" y="214"/>
                      <a:pt x="16" y="214"/>
                      <a:pt x="16" y="214"/>
                    </a:cubicBezTo>
                    <a:cubicBezTo>
                      <a:pt x="234" y="214"/>
                      <a:pt x="234" y="214"/>
                      <a:pt x="234" y="214"/>
                    </a:cubicBezTo>
                    <a:lnTo>
                      <a:pt x="234" y="381"/>
                    </a:lnTo>
                    <a:close/>
                    <a:moveTo>
                      <a:pt x="35" y="138"/>
                    </a:moveTo>
                    <a:cubicBezTo>
                      <a:pt x="35" y="174"/>
                      <a:pt x="35" y="174"/>
                      <a:pt x="35" y="174"/>
                    </a:cubicBezTo>
                    <a:cubicBezTo>
                      <a:pt x="35" y="179"/>
                      <a:pt x="39" y="182"/>
                      <a:pt x="43" y="182"/>
                    </a:cubicBezTo>
                    <a:cubicBezTo>
                      <a:pt x="47" y="182"/>
                      <a:pt x="51" y="179"/>
                      <a:pt x="51" y="174"/>
                    </a:cubicBezTo>
                    <a:cubicBezTo>
                      <a:pt x="51" y="138"/>
                      <a:pt x="51" y="138"/>
                      <a:pt x="51" y="138"/>
                    </a:cubicBezTo>
                    <a:cubicBezTo>
                      <a:pt x="51" y="134"/>
                      <a:pt x="47" y="130"/>
                      <a:pt x="43" y="130"/>
                    </a:cubicBezTo>
                    <a:cubicBezTo>
                      <a:pt x="39" y="130"/>
                      <a:pt x="35" y="134"/>
                      <a:pt x="35" y="1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82" name="Freeform 6"/>
              <p:cNvSpPr>
                <a:spLocks noEditPoints="1"/>
              </p:cNvSpPr>
              <p:nvPr/>
            </p:nvSpPr>
            <p:spPr bwMode="auto">
              <a:xfrm>
                <a:off x="5030536" y="3268717"/>
                <a:ext cx="180129" cy="115452"/>
              </a:xfrm>
              <a:custGeom>
                <a:avLst/>
                <a:gdLst>
                  <a:gd name="T0" fmla="*/ 2147483647 w 455"/>
                  <a:gd name="T1" fmla="*/ 2147483647 h 298"/>
                  <a:gd name="T2" fmla="*/ 2147483647 w 455"/>
                  <a:gd name="T3" fmla="*/ 2147483647 h 298"/>
                  <a:gd name="T4" fmla="*/ 2147483647 w 455"/>
                  <a:gd name="T5" fmla="*/ 2147483647 h 298"/>
                  <a:gd name="T6" fmla="*/ 2147483647 w 455"/>
                  <a:gd name="T7" fmla="*/ 2147483647 h 298"/>
                  <a:gd name="T8" fmla="*/ 2147483647 w 455"/>
                  <a:gd name="T9" fmla="*/ 2147483647 h 298"/>
                  <a:gd name="T10" fmla="*/ 2147483647 w 455"/>
                  <a:gd name="T11" fmla="*/ 2147483647 h 298"/>
                  <a:gd name="T12" fmla="*/ 2147483647 w 455"/>
                  <a:gd name="T13" fmla="*/ 2147483647 h 298"/>
                  <a:gd name="T14" fmla="*/ 2147483647 w 455"/>
                  <a:gd name="T15" fmla="*/ 0 h 298"/>
                  <a:gd name="T16" fmla="*/ 2147483647 w 455"/>
                  <a:gd name="T17" fmla="*/ 2147483647 h 298"/>
                  <a:gd name="T18" fmla="*/ 2147483647 w 455"/>
                  <a:gd name="T19" fmla="*/ 2147483647 h 298"/>
                  <a:gd name="T20" fmla="*/ 0 w 455"/>
                  <a:gd name="T21" fmla="*/ 2147483647 h 298"/>
                  <a:gd name="T22" fmla="*/ 2147483647 w 455"/>
                  <a:gd name="T23" fmla="*/ 2147483647 h 298"/>
                  <a:gd name="T24" fmla="*/ 2147483647 w 455"/>
                  <a:gd name="T25" fmla="*/ 2147483647 h 298"/>
                  <a:gd name="T26" fmla="*/ 2147483647 w 455"/>
                  <a:gd name="T27" fmla="*/ 2147483647 h 298"/>
                  <a:gd name="T28" fmla="*/ 2147483647 w 455"/>
                  <a:gd name="T29" fmla="*/ 2147483647 h 298"/>
                  <a:gd name="T30" fmla="*/ 2147483647 w 455"/>
                  <a:gd name="T31" fmla="*/ 2147483647 h 298"/>
                  <a:gd name="T32" fmla="*/ 2147483647 w 455"/>
                  <a:gd name="T33" fmla="*/ 2147483647 h 298"/>
                  <a:gd name="T34" fmla="*/ 2147483647 w 455"/>
                  <a:gd name="T35" fmla="*/ 2147483647 h 298"/>
                  <a:gd name="T36" fmla="*/ 2147483647 w 455"/>
                  <a:gd name="T37" fmla="*/ 2147483647 h 298"/>
                  <a:gd name="T38" fmla="*/ 2147483647 w 455"/>
                  <a:gd name="T39" fmla="*/ 2147483647 h 298"/>
                  <a:gd name="T40" fmla="*/ 2147483647 w 455"/>
                  <a:gd name="T41" fmla="*/ 2147483647 h 298"/>
                  <a:gd name="T42" fmla="*/ 2147483647 w 455"/>
                  <a:gd name="T43" fmla="*/ 2147483647 h 298"/>
                  <a:gd name="T44" fmla="*/ 2147483647 w 455"/>
                  <a:gd name="T45" fmla="*/ 2147483647 h 298"/>
                  <a:gd name="T46" fmla="*/ 2147483647 w 455"/>
                  <a:gd name="T47" fmla="*/ 2147483647 h 298"/>
                  <a:gd name="T48" fmla="*/ 2147483647 w 455"/>
                  <a:gd name="T49" fmla="*/ 2147483647 h 298"/>
                  <a:gd name="T50" fmla="*/ 2147483647 w 455"/>
                  <a:gd name="T51" fmla="*/ 2147483647 h 298"/>
                  <a:gd name="T52" fmla="*/ 2147483647 w 455"/>
                  <a:gd name="T53" fmla="*/ 2147483647 h 298"/>
                  <a:gd name="T54" fmla="*/ 2147483647 w 455"/>
                  <a:gd name="T55" fmla="*/ 2147483647 h 298"/>
                  <a:gd name="T56" fmla="*/ 2147483647 w 455"/>
                  <a:gd name="T57" fmla="*/ 2147483647 h 298"/>
                  <a:gd name="T58" fmla="*/ 2147483647 w 455"/>
                  <a:gd name="T59" fmla="*/ 2147483647 h 298"/>
                  <a:gd name="T60" fmla="*/ 2147483647 w 455"/>
                  <a:gd name="T61" fmla="*/ 2147483647 h 298"/>
                  <a:gd name="T62" fmla="*/ 2147483647 w 455"/>
                  <a:gd name="T63" fmla="*/ 2147483647 h 298"/>
                  <a:gd name="T64" fmla="*/ 2147483647 w 455"/>
                  <a:gd name="T65" fmla="*/ 2147483647 h 298"/>
                  <a:gd name="T66" fmla="*/ 2147483647 w 455"/>
                  <a:gd name="T67" fmla="*/ 2147483647 h 298"/>
                  <a:gd name="T68" fmla="*/ 2147483647 w 455"/>
                  <a:gd name="T69" fmla="*/ 2147483647 h 298"/>
                  <a:gd name="T70" fmla="*/ 2147483647 w 455"/>
                  <a:gd name="T71" fmla="*/ 2147483647 h 298"/>
                  <a:gd name="T72" fmla="*/ 2147483647 w 455"/>
                  <a:gd name="T73" fmla="*/ 2147483647 h 298"/>
                  <a:gd name="T74" fmla="*/ 2147483647 w 455"/>
                  <a:gd name="T75" fmla="*/ 2147483647 h 298"/>
                  <a:gd name="T76" fmla="*/ 2147483647 w 455"/>
                  <a:gd name="T77" fmla="*/ 2147483647 h 298"/>
                  <a:gd name="T78" fmla="*/ 2147483647 w 455"/>
                  <a:gd name="T79" fmla="*/ 2147483647 h 298"/>
                  <a:gd name="T80" fmla="*/ 2147483647 w 455"/>
                  <a:gd name="T81" fmla="*/ 2147483647 h 2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455" h="298">
                    <a:moveTo>
                      <a:pt x="439" y="252"/>
                    </a:moveTo>
                    <a:cubicBezTo>
                      <a:pt x="425" y="252"/>
                      <a:pt x="425" y="252"/>
                      <a:pt x="425" y="252"/>
                    </a:cubicBezTo>
                    <a:cubicBezTo>
                      <a:pt x="425" y="70"/>
                      <a:pt x="425" y="70"/>
                      <a:pt x="425" y="70"/>
                    </a:cubicBezTo>
                    <a:cubicBezTo>
                      <a:pt x="425" y="65"/>
                      <a:pt x="421" y="62"/>
                      <a:pt x="417" y="62"/>
                    </a:cubicBezTo>
                    <a:cubicBezTo>
                      <a:pt x="412" y="62"/>
                      <a:pt x="409" y="65"/>
                      <a:pt x="409" y="70"/>
                    </a:cubicBezTo>
                    <a:cubicBezTo>
                      <a:pt x="409" y="252"/>
                      <a:pt x="409" y="252"/>
                      <a:pt x="409" y="252"/>
                    </a:cubicBezTo>
                    <a:cubicBezTo>
                      <a:pt x="46" y="252"/>
                      <a:pt x="46" y="252"/>
                      <a:pt x="46" y="252"/>
                    </a:cubicBezTo>
                    <a:cubicBezTo>
                      <a:pt x="46" y="16"/>
                      <a:pt x="46" y="16"/>
                      <a:pt x="46" y="16"/>
                    </a:cubicBezTo>
                    <a:cubicBezTo>
                      <a:pt x="409" y="16"/>
                      <a:pt x="409" y="16"/>
                      <a:pt x="409" y="16"/>
                    </a:cubicBezTo>
                    <a:cubicBezTo>
                      <a:pt x="409" y="38"/>
                      <a:pt x="409" y="38"/>
                      <a:pt x="409" y="38"/>
                    </a:cubicBezTo>
                    <a:cubicBezTo>
                      <a:pt x="409" y="42"/>
                      <a:pt x="412" y="46"/>
                      <a:pt x="417" y="46"/>
                    </a:cubicBezTo>
                    <a:cubicBezTo>
                      <a:pt x="421" y="46"/>
                      <a:pt x="425" y="42"/>
                      <a:pt x="425" y="38"/>
                    </a:cubicBezTo>
                    <a:cubicBezTo>
                      <a:pt x="425" y="13"/>
                      <a:pt x="425" y="13"/>
                      <a:pt x="425" y="13"/>
                    </a:cubicBezTo>
                    <a:cubicBezTo>
                      <a:pt x="425" y="10"/>
                      <a:pt x="423" y="6"/>
                      <a:pt x="421" y="4"/>
                    </a:cubicBezTo>
                    <a:cubicBezTo>
                      <a:pt x="418" y="1"/>
                      <a:pt x="415" y="0"/>
                      <a:pt x="411" y="0"/>
                    </a:cubicBezTo>
                    <a:cubicBezTo>
                      <a:pt x="44" y="0"/>
                      <a:pt x="44" y="0"/>
                      <a:pt x="44" y="0"/>
                    </a:cubicBezTo>
                    <a:cubicBezTo>
                      <a:pt x="40" y="0"/>
                      <a:pt x="36" y="1"/>
                      <a:pt x="34" y="4"/>
                    </a:cubicBezTo>
                    <a:cubicBezTo>
                      <a:pt x="31" y="6"/>
                      <a:pt x="30" y="10"/>
                      <a:pt x="30" y="13"/>
                    </a:cubicBezTo>
                    <a:cubicBezTo>
                      <a:pt x="30" y="252"/>
                      <a:pt x="30" y="252"/>
                      <a:pt x="30" y="252"/>
                    </a:cubicBezTo>
                    <a:cubicBezTo>
                      <a:pt x="16" y="252"/>
                      <a:pt x="16" y="252"/>
                      <a:pt x="16" y="252"/>
                    </a:cubicBezTo>
                    <a:cubicBezTo>
                      <a:pt x="7" y="252"/>
                      <a:pt x="0" y="259"/>
                      <a:pt x="0" y="268"/>
                    </a:cubicBezTo>
                    <a:cubicBezTo>
                      <a:pt x="0" y="282"/>
                      <a:pt x="0" y="282"/>
                      <a:pt x="0" y="282"/>
                    </a:cubicBezTo>
                    <a:cubicBezTo>
                      <a:pt x="0" y="291"/>
                      <a:pt x="7" y="298"/>
                      <a:pt x="16" y="298"/>
                    </a:cubicBezTo>
                    <a:cubicBezTo>
                      <a:pt x="439" y="298"/>
                      <a:pt x="439" y="298"/>
                      <a:pt x="439" y="298"/>
                    </a:cubicBezTo>
                    <a:cubicBezTo>
                      <a:pt x="448" y="298"/>
                      <a:pt x="455" y="291"/>
                      <a:pt x="455" y="282"/>
                    </a:cubicBezTo>
                    <a:cubicBezTo>
                      <a:pt x="455" y="268"/>
                      <a:pt x="455" y="268"/>
                      <a:pt x="455" y="268"/>
                    </a:cubicBezTo>
                    <a:cubicBezTo>
                      <a:pt x="455" y="259"/>
                      <a:pt x="448" y="252"/>
                      <a:pt x="439" y="252"/>
                    </a:cubicBezTo>
                    <a:close/>
                    <a:moveTo>
                      <a:pt x="439" y="282"/>
                    </a:moveTo>
                    <a:cubicBezTo>
                      <a:pt x="16" y="282"/>
                      <a:pt x="16" y="282"/>
                      <a:pt x="16" y="282"/>
                    </a:cubicBezTo>
                    <a:cubicBezTo>
                      <a:pt x="16" y="268"/>
                      <a:pt x="16" y="268"/>
                      <a:pt x="16" y="268"/>
                    </a:cubicBezTo>
                    <a:cubicBezTo>
                      <a:pt x="185" y="268"/>
                      <a:pt x="185" y="268"/>
                      <a:pt x="185" y="268"/>
                    </a:cubicBezTo>
                    <a:cubicBezTo>
                      <a:pt x="186" y="271"/>
                      <a:pt x="189" y="274"/>
                      <a:pt x="193" y="274"/>
                    </a:cubicBezTo>
                    <a:cubicBezTo>
                      <a:pt x="262" y="274"/>
                      <a:pt x="262" y="274"/>
                      <a:pt x="262" y="274"/>
                    </a:cubicBezTo>
                    <a:cubicBezTo>
                      <a:pt x="266" y="274"/>
                      <a:pt x="269" y="271"/>
                      <a:pt x="270" y="268"/>
                    </a:cubicBezTo>
                    <a:cubicBezTo>
                      <a:pt x="439" y="268"/>
                      <a:pt x="439" y="268"/>
                      <a:pt x="439" y="268"/>
                    </a:cubicBezTo>
                    <a:lnTo>
                      <a:pt x="439" y="282"/>
                    </a:lnTo>
                    <a:close/>
                    <a:moveTo>
                      <a:pt x="274" y="73"/>
                    </a:moveTo>
                    <a:cubicBezTo>
                      <a:pt x="278" y="74"/>
                      <a:pt x="283" y="72"/>
                      <a:pt x="284" y="68"/>
                    </a:cubicBezTo>
                    <a:cubicBezTo>
                      <a:pt x="286" y="64"/>
                      <a:pt x="284" y="59"/>
                      <a:pt x="280" y="58"/>
                    </a:cubicBezTo>
                    <a:cubicBezTo>
                      <a:pt x="263" y="51"/>
                      <a:pt x="245" y="48"/>
                      <a:pt x="227" y="48"/>
                    </a:cubicBezTo>
                    <a:cubicBezTo>
                      <a:pt x="188" y="48"/>
                      <a:pt x="152" y="63"/>
                      <a:pt x="124" y="90"/>
                    </a:cubicBezTo>
                    <a:cubicBezTo>
                      <a:pt x="121" y="94"/>
                      <a:pt x="121" y="99"/>
                      <a:pt x="124" y="102"/>
                    </a:cubicBezTo>
                    <a:cubicBezTo>
                      <a:pt x="126" y="103"/>
                      <a:pt x="128" y="104"/>
                      <a:pt x="130" y="104"/>
                    </a:cubicBezTo>
                    <a:cubicBezTo>
                      <a:pt x="132" y="104"/>
                      <a:pt x="134" y="103"/>
                      <a:pt x="136" y="102"/>
                    </a:cubicBezTo>
                    <a:cubicBezTo>
                      <a:pt x="160" y="77"/>
                      <a:pt x="193" y="64"/>
                      <a:pt x="227" y="64"/>
                    </a:cubicBezTo>
                    <a:cubicBezTo>
                      <a:pt x="243" y="64"/>
                      <a:pt x="259" y="67"/>
                      <a:pt x="274" y="73"/>
                    </a:cubicBezTo>
                    <a:close/>
                    <a:moveTo>
                      <a:pt x="266" y="162"/>
                    </a:moveTo>
                    <a:cubicBezTo>
                      <a:pt x="268" y="162"/>
                      <a:pt x="270" y="162"/>
                      <a:pt x="272" y="160"/>
                    </a:cubicBezTo>
                    <a:cubicBezTo>
                      <a:pt x="275" y="157"/>
                      <a:pt x="275" y="152"/>
                      <a:pt x="272" y="149"/>
                    </a:cubicBezTo>
                    <a:cubicBezTo>
                      <a:pt x="259" y="137"/>
                      <a:pt x="243" y="130"/>
                      <a:pt x="227" y="130"/>
                    </a:cubicBezTo>
                    <a:cubicBezTo>
                      <a:pt x="211" y="130"/>
                      <a:pt x="195" y="137"/>
                      <a:pt x="183" y="149"/>
                    </a:cubicBezTo>
                    <a:cubicBezTo>
                      <a:pt x="180" y="152"/>
                      <a:pt x="180" y="157"/>
                      <a:pt x="183" y="160"/>
                    </a:cubicBezTo>
                    <a:cubicBezTo>
                      <a:pt x="186" y="163"/>
                      <a:pt x="191" y="163"/>
                      <a:pt x="194" y="160"/>
                    </a:cubicBezTo>
                    <a:cubicBezTo>
                      <a:pt x="203" y="151"/>
                      <a:pt x="215" y="146"/>
                      <a:pt x="227" y="146"/>
                    </a:cubicBezTo>
                    <a:cubicBezTo>
                      <a:pt x="239" y="146"/>
                      <a:pt x="251" y="151"/>
                      <a:pt x="260" y="160"/>
                    </a:cubicBezTo>
                    <a:cubicBezTo>
                      <a:pt x="262" y="162"/>
                      <a:pt x="264" y="162"/>
                      <a:pt x="266" y="162"/>
                    </a:cubicBezTo>
                    <a:close/>
                    <a:moveTo>
                      <a:pt x="319" y="102"/>
                    </a:moveTo>
                    <a:cubicBezTo>
                      <a:pt x="320" y="103"/>
                      <a:pt x="322" y="104"/>
                      <a:pt x="324" y="104"/>
                    </a:cubicBezTo>
                    <a:cubicBezTo>
                      <a:pt x="326" y="104"/>
                      <a:pt x="329" y="103"/>
                      <a:pt x="330" y="102"/>
                    </a:cubicBezTo>
                    <a:cubicBezTo>
                      <a:pt x="333" y="99"/>
                      <a:pt x="333" y="94"/>
                      <a:pt x="330" y="90"/>
                    </a:cubicBezTo>
                    <a:cubicBezTo>
                      <a:pt x="325" y="86"/>
                      <a:pt x="320" y="81"/>
                      <a:pt x="315" y="77"/>
                    </a:cubicBezTo>
                    <a:cubicBezTo>
                      <a:pt x="313" y="76"/>
                      <a:pt x="311" y="75"/>
                      <a:pt x="310" y="73"/>
                    </a:cubicBezTo>
                    <a:cubicBezTo>
                      <a:pt x="306" y="71"/>
                      <a:pt x="301" y="72"/>
                      <a:pt x="298" y="75"/>
                    </a:cubicBezTo>
                    <a:cubicBezTo>
                      <a:pt x="296" y="79"/>
                      <a:pt x="297" y="84"/>
                      <a:pt x="300" y="87"/>
                    </a:cubicBezTo>
                    <a:cubicBezTo>
                      <a:pt x="302" y="88"/>
                      <a:pt x="304" y="89"/>
                      <a:pt x="305" y="90"/>
                    </a:cubicBezTo>
                    <a:cubicBezTo>
                      <a:pt x="310" y="94"/>
                      <a:pt x="315" y="98"/>
                      <a:pt x="319" y="102"/>
                    </a:cubicBezTo>
                    <a:close/>
                    <a:moveTo>
                      <a:pt x="209" y="182"/>
                    </a:moveTo>
                    <a:cubicBezTo>
                      <a:pt x="199" y="192"/>
                      <a:pt x="199" y="209"/>
                      <a:pt x="209" y="218"/>
                    </a:cubicBezTo>
                    <a:cubicBezTo>
                      <a:pt x="219" y="228"/>
                      <a:pt x="235" y="228"/>
                      <a:pt x="245" y="218"/>
                    </a:cubicBezTo>
                    <a:cubicBezTo>
                      <a:pt x="255" y="209"/>
                      <a:pt x="255" y="192"/>
                      <a:pt x="245" y="182"/>
                    </a:cubicBezTo>
                    <a:cubicBezTo>
                      <a:pt x="235" y="172"/>
                      <a:pt x="219" y="172"/>
                      <a:pt x="209" y="182"/>
                    </a:cubicBezTo>
                    <a:close/>
                    <a:moveTo>
                      <a:pt x="295" y="133"/>
                    </a:moveTo>
                    <a:cubicBezTo>
                      <a:pt x="297" y="133"/>
                      <a:pt x="299" y="133"/>
                      <a:pt x="301" y="131"/>
                    </a:cubicBezTo>
                    <a:cubicBezTo>
                      <a:pt x="304" y="128"/>
                      <a:pt x="304" y="123"/>
                      <a:pt x="301" y="120"/>
                    </a:cubicBezTo>
                    <a:cubicBezTo>
                      <a:pt x="280" y="100"/>
                      <a:pt x="254" y="89"/>
                      <a:pt x="227" y="89"/>
                    </a:cubicBezTo>
                    <a:cubicBezTo>
                      <a:pt x="201" y="89"/>
                      <a:pt x="174" y="100"/>
                      <a:pt x="154" y="120"/>
                    </a:cubicBezTo>
                    <a:cubicBezTo>
                      <a:pt x="151" y="123"/>
                      <a:pt x="151" y="128"/>
                      <a:pt x="154" y="131"/>
                    </a:cubicBezTo>
                    <a:cubicBezTo>
                      <a:pt x="157" y="134"/>
                      <a:pt x="162" y="134"/>
                      <a:pt x="165" y="131"/>
                    </a:cubicBezTo>
                    <a:cubicBezTo>
                      <a:pt x="165" y="131"/>
                      <a:pt x="165" y="131"/>
                      <a:pt x="165" y="131"/>
                    </a:cubicBezTo>
                    <a:cubicBezTo>
                      <a:pt x="182" y="114"/>
                      <a:pt x="205" y="105"/>
                      <a:pt x="227" y="105"/>
                    </a:cubicBezTo>
                    <a:cubicBezTo>
                      <a:pt x="250" y="105"/>
                      <a:pt x="272" y="114"/>
                      <a:pt x="289" y="131"/>
                    </a:cubicBezTo>
                    <a:cubicBezTo>
                      <a:pt x="291" y="133"/>
                      <a:pt x="293" y="133"/>
                      <a:pt x="295" y="1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83" name="Freeform 6"/>
              <p:cNvSpPr>
                <a:spLocks noEditPoints="1"/>
              </p:cNvSpPr>
              <p:nvPr/>
            </p:nvSpPr>
            <p:spPr bwMode="auto">
              <a:xfrm>
                <a:off x="4871902" y="3618092"/>
                <a:ext cx="118802" cy="111515"/>
              </a:xfrm>
              <a:custGeom>
                <a:avLst/>
                <a:gdLst>
                  <a:gd name="T0" fmla="*/ 2147483647 w 300"/>
                  <a:gd name="T1" fmla="*/ 2147483647 h 288"/>
                  <a:gd name="T2" fmla="*/ 2147483647 w 300"/>
                  <a:gd name="T3" fmla="*/ 2147483647 h 288"/>
                  <a:gd name="T4" fmla="*/ 2147483647 w 300"/>
                  <a:gd name="T5" fmla="*/ 0 h 288"/>
                  <a:gd name="T6" fmla="*/ 2147483647 w 300"/>
                  <a:gd name="T7" fmla="*/ 2147483647 h 288"/>
                  <a:gd name="T8" fmla="*/ 2147483647 w 300"/>
                  <a:gd name="T9" fmla="*/ 2147483647 h 288"/>
                  <a:gd name="T10" fmla="*/ 2147483647 w 300"/>
                  <a:gd name="T11" fmla="*/ 2147483647 h 288"/>
                  <a:gd name="T12" fmla="*/ 2147483647 w 300"/>
                  <a:gd name="T13" fmla="*/ 2147483647 h 288"/>
                  <a:gd name="T14" fmla="*/ 2147483647 w 300"/>
                  <a:gd name="T15" fmla="*/ 2147483647 h 288"/>
                  <a:gd name="T16" fmla="*/ 2147483647 w 300"/>
                  <a:gd name="T17" fmla="*/ 2147483647 h 288"/>
                  <a:gd name="T18" fmla="*/ 2147483647 w 300"/>
                  <a:gd name="T19" fmla="*/ 2147483647 h 288"/>
                  <a:gd name="T20" fmla="*/ 2147483647 w 300"/>
                  <a:gd name="T21" fmla="*/ 2147483647 h 288"/>
                  <a:gd name="T22" fmla="*/ 2147483647 w 300"/>
                  <a:gd name="T23" fmla="*/ 2147483647 h 288"/>
                  <a:gd name="T24" fmla="*/ 2147483647 w 300"/>
                  <a:gd name="T25" fmla="*/ 2147483647 h 288"/>
                  <a:gd name="T26" fmla="*/ 0 w 300"/>
                  <a:gd name="T27" fmla="*/ 2147483647 h 288"/>
                  <a:gd name="T28" fmla="*/ 0 w 300"/>
                  <a:gd name="T29" fmla="*/ 2147483647 h 288"/>
                  <a:gd name="T30" fmla="*/ 2147483647 w 300"/>
                  <a:gd name="T31" fmla="*/ 2147483647 h 288"/>
                  <a:gd name="T32" fmla="*/ 2147483647 w 300"/>
                  <a:gd name="T33" fmla="*/ 2147483647 h 288"/>
                  <a:gd name="T34" fmla="*/ 2147483647 w 300"/>
                  <a:gd name="T35" fmla="*/ 2147483647 h 288"/>
                  <a:gd name="T36" fmla="*/ 2147483647 w 300"/>
                  <a:gd name="T37" fmla="*/ 2147483647 h 288"/>
                  <a:gd name="T38" fmla="*/ 2147483647 w 300"/>
                  <a:gd name="T39" fmla="*/ 2147483647 h 288"/>
                  <a:gd name="T40" fmla="*/ 2147483647 w 300"/>
                  <a:gd name="T41" fmla="*/ 2147483647 h 288"/>
                  <a:gd name="T42" fmla="*/ 2147483647 w 300"/>
                  <a:gd name="T43" fmla="*/ 2147483647 h 288"/>
                  <a:gd name="T44" fmla="*/ 2147483647 w 300"/>
                  <a:gd name="T45" fmla="*/ 2147483647 h 288"/>
                  <a:gd name="T46" fmla="*/ 2147483647 w 300"/>
                  <a:gd name="T47" fmla="*/ 2147483647 h 288"/>
                  <a:gd name="T48" fmla="*/ 2147483647 w 300"/>
                  <a:gd name="T49" fmla="*/ 2147483647 h 288"/>
                  <a:gd name="T50" fmla="*/ 2147483647 w 300"/>
                  <a:gd name="T51" fmla="*/ 2147483647 h 288"/>
                  <a:gd name="T52" fmla="*/ 2147483647 w 300"/>
                  <a:gd name="T53" fmla="*/ 2147483647 h 288"/>
                  <a:gd name="T54" fmla="*/ 2147483647 w 300"/>
                  <a:gd name="T55" fmla="*/ 2147483647 h 288"/>
                  <a:gd name="T56" fmla="*/ 2147483647 w 300"/>
                  <a:gd name="T57" fmla="*/ 2147483647 h 288"/>
                  <a:gd name="T58" fmla="*/ 2147483647 w 300"/>
                  <a:gd name="T59" fmla="*/ 2147483647 h 288"/>
                  <a:gd name="T60" fmla="*/ 2147483647 w 300"/>
                  <a:gd name="T61" fmla="*/ 2147483647 h 288"/>
                  <a:gd name="T62" fmla="*/ 2147483647 w 300"/>
                  <a:gd name="T63" fmla="*/ 2147483647 h 288"/>
                  <a:gd name="T64" fmla="*/ 2147483647 w 300"/>
                  <a:gd name="T65" fmla="*/ 2147483647 h 288"/>
                  <a:gd name="T66" fmla="*/ 2147483647 w 300"/>
                  <a:gd name="T67" fmla="*/ 2147483647 h 288"/>
                  <a:gd name="T68" fmla="*/ 2147483647 w 300"/>
                  <a:gd name="T69" fmla="*/ 2147483647 h 288"/>
                  <a:gd name="T70" fmla="*/ 2147483647 w 300"/>
                  <a:gd name="T71" fmla="*/ 2147483647 h 288"/>
                  <a:gd name="T72" fmla="*/ 2147483647 w 300"/>
                  <a:gd name="T73" fmla="*/ 2147483647 h 288"/>
                  <a:gd name="T74" fmla="*/ 2147483647 w 300"/>
                  <a:gd name="T75" fmla="*/ 2147483647 h 288"/>
                  <a:gd name="T76" fmla="*/ 2147483647 w 300"/>
                  <a:gd name="T77" fmla="*/ 2147483647 h 288"/>
                  <a:gd name="T78" fmla="*/ 0 w 300"/>
                  <a:gd name="T79" fmla="*/ 2147483647 h 288"/>
                  <a:gd name="T80" fmla="*/ 0 w 300"/>
                  <a:gd name="T81" fmla="*/ 2147483647 h 288"/>
                  <a:gd name="T82" fmla="*/ 2147483647 w 300"/>
                  <a:gd name="T83" fmla="*/ 2147483647 h 288"/>
                  <a:gd name="T84" fmla="*/ 2147483647 w 300"/>
                  <a:gd name="T85" fmla="*/ 2147483647 h 288"/>
                  <a:gd name="T86" fmla="*/ 2147483647 w 300"/>
                  <a:gd name="T87" fmla="*/ 2147483647 h 288"/>
                  <a:gd name="T88" fmla="*/ 2147483647 w 300"/>
                  <a:gd name="T89" fmla="*/ 2147483647 h 288"/>
                  <a:gd name="T90" fmla="*/ 2147483647 w 300"/>
                  <a:gd name="T91" fmla="*/ 2147483647 h 288"/>
                  <a:gd name="T92" fmla="*/ 2147483647 w 300"/>
                  <a:gd name="T93" fmla="*/ 2147483647 h 288"/>
                  <a:gd name="T94" fmla="*/ 2147483647 w 300"/>
                  <a:gd name="T95" fmla="*/ 2147483647 h 288"/>
                  <a:gd name="T96" fmla="*/ 2147483647 w 300"/>
                  <a:gd name="T97" fmla="*/ 2147483647 h 288"/>
                  <a:gd name="T98" fmla="*/ 2147483647 w 300"/>
                  <a:gd name="T99" fmla="*/ 2147483647 h 288"/>
                  <a:gd name="T100" fmla="*/ 2147483647 w 300"/>
                  <a:gd name="T101" fmla="*/ 2147483647 h 288"/>
                  <a:gd name="T102" fmla="*/ 2147483647 w 300"/>
                  <a:gd name="T103" fmla="*/ 2147483647 h 288"/>
                  <a:gd name="T104" fmla="*/ 2147483647 w 300"/>
                  <a:gd name="T105" fmla="*/ 0 h 288"/>
                  <a:gd name="T106" fmla="*/ 2147483647 w 300"/>
                  <a:gd name="T107" fmla="*/ 2147483647 h 288"/>
                  <a:gd name="T108" fmla="*/ 2147483647 w 300"/>
                  <a:gd name="T109" fmla="*/ 2147483647 h 28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300" h="288">
                    <a:moveTo>
                      <a:pt x="171" y="83"/>
                    </a:moveTo>
                    <a:cubicBezTo>
                      <a:pt x="194" y="83"/>
                      <a:pt x="213" y="64"/>
                      <a:pt x="213" y="41"/>
                    </a:cubicBezTo>
                    <a:cubicBezTo>
                      <a:pt x="213" y="19"/>
                      <a:pt x="194" y="0"/>
                      <a:pt x="171" y="0"/>
                    </a:cubicBezTo>
                    <a:cubicBezTo>
                      <a:pt x="149" y="0"/>
                      <a:pt x="130" y="19"/>
                      <a:pt x="130" y="41"/>
                    </a:cubicBezTo>
                    <a:cubicBezTo>
                      <a:pt x="130" y="64"/>
                      <a:pt x="149" y="83"/>
                      <a:pt x="171" y="83"/>
                    </a:cubicBezTo>
                    <a:close/>
                    <a:moveTo>
                      <a:pt x="300" y="142"/>
                    </a:moveTo>
                    <a:cubicBezTo>
                      <a:pt x="300" y="137"/>
                      <a:pt x="299" y="132"/>
                      <a:pt x="296" y="128"/>
                    </a:cubicBezTo>
                    <a:cubicBezTo>
                      <a:pt x="294" y="124"/>
                      <a:pt x="289" y="122"/>
                      <a:pt x="284" y="122"/>
                    </a:cubicBezTo>
                    <a:cubicBezTo>
                      <a:pt x="279" y="122"/>
                      <a:pt x="275" y="124"/>
                      <a:pt x="271" y="127"/>
                    </a:cubicBezTo>
                    <a:cubicBezTo>
                      <a:pt x="271" y="127"/>
                      <a:pt x="247" y="146"/>
                      <a:pt x="229" y="161"/>
                    </a:cubicBezTo>
                    <a:cubicBezTo>
                      <a:pt x="229" y="139"/>
                      <a:pt x="229" y="139"/>
                      <a:pt x="229" y="139"/>
                    </a:cubicBezTo>
                    <a:cubicBezTo>
                      <a:pt x="229" y="116"/>
                      <a:pt x="210" y="97"/>
                      <a:pt x="187" y="97"/>
                    </a:cubicBezTo>
                    <a:cubicBezTo>
                      <a:pt x="42" y="97"/>
                      <a:pt x="42" y="97"/>
                      <a:pt x="42" y="97"/>
                    </a:cubicBezTo>
                    <a:cubicBezTo>
                      <a:pt x="19" y="97"/>
                      <a:pt x="0" y="116"/>
                      <a:pt x="0" y="139"/>
                    </a:cubicBezTo>
                    <a:cubicBezTo>
                      <a:pt x="0" y="197"/>
                      <a:pt x="0" y="197"/>
                      <a:pt x="0" y="197"/>
                    </a:cubicBezTo>
                    <a:cubicBezTo>
                      <a:pt x="0" y="201"/>
                      <a:pt x="4" y="205"/>
                      <a:pt x="8" y="205"/>
                    </a:cubicBezTo>
                    <a:cubicBezTo>
                      <a:pt x="12" y="205"/>
                      <a:pt x="16" y="201"/>
                      <a:pt x="16" y="197"/>
                    </a:cubicBezTo>
                    <a:cubicBezTo>
                      <a:pt x="16" y="139"/>
                      <a:pt x="16" y="139"/>
                      <a:pt x="16" y="139"/>
                    </a:cubicBezTo>
                    <a:cubicBezTo>
                      <a:pt x="16" y="125"/>
                      <a:pt x="28" y="113"/>
                      <a:pt x="42" y="113"/>
                    </a:cubicBezTo>
                    <a:cubicBezTo>
                      <a:pt x="187" y="113"/>
                      <a:pt x="187" y="113"/>
                      <a:pt x="187" y="113"/>
                    </a:cubicBezTo>
                    <a:cubicBezTo>
                      <a:pt x="201" y="113"/>
                      <a:pt x="213" y="125"/>
                      <a:pt x="213" y="139"/>
                    </a:cubicBezTo>
                    <a:cubicBezTo>
                      <a:pt x="213" y="177"/>
                      <a:pt x="213" y="177"/>
                      <a:pt x="213" y="177"/>
                    </a:cubicBezTo>
                    <a:cubicBezTo>
                      <a:pt x="213" y="180"/>
                      <a:pt x="215" y="183"/>
                      <a:pt x="217" y="184"/>
                    </a:cubicBezTo>
                    <a:cubicBezTo>
                      <a:pt x="220" y="186"/>
                      <a:pt x="223" y="185"/>
                      <a:pt x="226" y="183"/>
                    </a:cubicBezTo>
                    <a:cubicBezTo>
                      <a:pt x="235" y="176"/>
                      <a:pt x="280" y="140"/>
                      <a:pt x="281" y="140"/>
                    </a:cubicBezTo>
                    <a:cubicBezTo>
                      <a:pt x="282" y="139"/>
                      <a:pt x="283" y="138"/>
                      <a:pt x="283" y="138"/>
                    </a:cubicBezTo>
                    <a:cubicBezTo>
                      <a:pt x="284" y="139"/>
                      <a:pt x="284" y="140"/>
                      <a:pt x="284" y="142"/>
                    </a:cubicBezTo>
                    <a:cubicBezTo>
                      <a:pt x="284" y="143"/>
                      <a:pt x="284" y="250"/>
                      <a:pt x="284" y="252"/>
                    </a:cubicBezTo>
                    <a:cubicBezTo>
                      <a:pt x="284" y="253"/>
                      <a:pt x="284" y="255"/>
                      <a:pt x="283" y="255"/>
                    </a:cubicBezTo>
                    <a:cubicBezTo>
                      <a:pt x="283" y="255"/>
                      <a:pt x="282" y="255"/>
                      <a:pt x="281" y="254"/>
                    </a:cubicBezTo>
                    <a:cubicBezTo>
                      <a:pt x="275" y="249"/>
                      <a:pt x="244" y="224"/>
                      <a:pt x="226" y="210"/>
                    </a:cubicBezTo>
                    <a:cubicBezTo>
                      <a:pt x="223" y="208"/>
                      <a:pt x="220" y="208"/>
                      <a:pt x="217" y="209"/>
                    </a:cubicBezTo>
                    <a:cubicBezTo>
                      <a:pt x="215" y="211"/>
                      <a:pt x="213" y="213"/>
                      <a:pt x="213" y="216"/>
                    </a:cubicBezTo>
                    <a:cubicBezTo>
                      <a:pt x="213" y="246"/>
                      <a:pt x="213" y="246"/>
                      <a:pt x="213" y="246"/>
                    </a:cubicBezTo>
                    <a:cubicBezTo>
                      <a:pt x="213" y="260"/>
                      <a:pt x="201" y="272"/>
                      <a:pt x="187" y="272"/>
                    </a:cubicBezTo>
                    <a:cubicBezTo>
                      <a:pt x="42" y="272"/>
                      <a:pt x="42" y="272"/>
                      <a:pt x="42" y="272"/>
                    </a:cubicBezTo>
                    <a:cubicBezTo>
                      <a:pt x="28" y="272"/>
                      <a:pt x="16" y="260"/>
                      <a:pt x="16" y="246"/>
                    </a:cubicBezTo>
                    <a:cubicBezTo>
                      <a:pt x="16" y="229"/>
                      <a:pt x="16" y="229"/>
                      <a:pt x="16" y="229"/>
                    </a:cubicBezTo>
                    <a:cubicBezTo>
                      <a:pt x="16" y="224"/>
                      <a:pt x="12" y="221"/>
                      <a:pt x="8" y="221"/>
                    </a:cubicBezTo>
                    <a:cubicBezTo>
                      <a:pt x="4" y="221"/>
                      <a:pt x="0" y="224"/>
                      <a:pt x="0" y="229"/>
                    </a:cubicBezTo>
                    <a:cubicBezTo>
                      <a:pt x="0" y="246"/>
                      <a:pt x="0" y="246"/>
                      <a:pt x="0" y="246"/>
                    </a:cubicBezTo>
                    <a:cubicBezTo>
                      <a:pt x="0" y="269"/>
                      <a:pt x="19" y="288"/>
                      <a:pt x="42" y="288"/>
                    </a:cubicBezTo>
                    <a:cubicBezTo>
                      <a:pt x="187" y="288"/>
                      <a:pt x="187" y="288"/>
                      <a:pt x="187" y="288"/>
                    </a:cubicBezTo>
                    <a:cubicBezTo>
                      <a:pt x="210" y="288"/>
                      <a:pt x="229" y="269"/>
                      <a:pt x="229" y="246"/>
                    </a:cubicBezTo>
                    <a:cubicBezTo>
                      <a:pt x="229" y="233"/>
                      <a:pt x="229" y="233"/>
                      <a:pt x="229" y="233"/>
                    </a:cubicBezTo>
                    <a:cubicBezTo>
                      <a:pt x="246" y="246"/>
                      <a:pt x="266" y="262"/>
                      <a:pt x="271" y="266"/>
                    </a:cubicBezTo>
                    <a:cubicBezTo>
                      <a:pt x="275" y="269"/>
                      <a:pt x="279" y="271"/>
                      <a:pt x="284" y="271"/>
                    </a:cubicBezTo>
                    <a:cubicBezTo>
                      <a:pt x="288" y="272"/>
                      <a:pt x="293" y="269"/>
                      <a:pt x="296" y="265"/>
                    </a:cubicBezTo>
                    <a:cubicBezTo>
                      <a:pt x="299" y="261"/>
                      <a:pt x="300" y="257"/>
                      <a:pt x="300" y="252"/>
                    </a:cubicBezTo>
                    <a:cubicBezTo>
                      <a:pt x="300" y="250"/>
                      <a:pt x="300" y="143"/>
                      <a:pt x="300" y="142"/>
                    </a:cubicBezTo>
                    <a:close/>
                    <a:moveTo>
                      <a:pt x="66" y="83"/>
                    </a:moveTo>
                    <a:cubicBezTo>
                      <a:pt x="89" y="83"/>
                      <a:pt x="107" y="64"/>
                      <a:pt x="107" y="41"/>
                    </a:cubicBezTo>
                    <a:cubicBezTo>
                      <a:pt x="107" y="19"/>
                      <a:pt x="89" y="0"/>
                      <a:pt x="66" y="0"/>
                    </a:cubicBezTo>
                    <a:cubicBezTo>
                      <a:pt x="43" y="0"/>
                      <a:pt x="25" y="19"/>
                      <a:pt x="25" y="41"/>
                    </a:cubicBezTo>
                    <a:cubicBezTo>
                      <a:pt x="25" y="64"/>
                      <a:pt x="43" y="83"/>
                      <a:pt x="66" y="8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84" name="Freeform 7"/>
              <p:cNvSpPr>
                <a:spLocks noChangeAspect="1" noEditPoints="1"/>
              </p:cNvSpPr>
              <p:nvPr/>
            </p:nvSpPr>
            <p:spPr bwMode="auto">
              <a:xfrm>
                <a:off x="4613744" y="4030565"/>
                <a:ext cx="127347" cy="103480"/>
              </a:xfrm>
              <a:custGeom>
                <a:avLst/>
                <a:gdLst>
                  <a:gd name="T0" fmla="*/ 2147483647 w 322"/>
                  <a:gd name="T1" fmla="*/ 2147483647 h 267"/>
                  <a:gd name="T2" fmla="*/ 2147483647 w 322"/>
                  <a:gd name="T3" fmla="*/ 2147483647 h 267"/>
                  <a:gd name="T4" fmla="*/ 2147483647 w 322"/>
                  <a:gd name="T5" fmla="*/ 2147483647 h 267"/>
                  <a:gd name="T6" fmla="*/ 2147483647 w 322"/>
                  <a:gd name="T7" fmla="*/ 2147483647 h 267"/>
                  <a:gd name="T8" fmla="*/ 2147483647 w 322"/>
                  <a:gd name="T9" fmla="*/ 2147483647 h 267"/>
                  <a:gd name="T10" fmla="*/ 2147483647 w 322"/>
                  <a:gd name="T11" fmla="*/ 2147483647 h 267"/>
                  <a:gd name="T12" fmla="*/ 2147483647 w 322"/>
                  <a:gd name="T13" fmla="*/ 2147483647 h 267"/>
                  <a:gd name="T14" fmla="*/ 2147483647 w 322"/>
                  <a:gd name="T15" fmla="*/ 2147483647 h 267"/>
                  <a:gd name="T16" fmla="*/ 2147483647 w 322"/>
                  <a:gd name="T17" fmla="*/ 2147483647 h 267"/>
                  <a:gd name="T18" fmla="*/ 2147483647 w 322"/>
                  <a:gd name="T19" fmla="*/ 2147483647 h 267"/>
                  <a:gd name="T20" fmla="*/ 2147483647 w 322"/>
                  <a:gd name="T21" fmla="*/ 2147483647 h 267"/>
                  <a:gd name="T22" fmla="*/ 2147483647 w 322"/>
                  <a:gd name="T23" fmla="*/ 2147483647 h 267"/>
                  <a:gd name="T24" fmla="*/ 2147483647 w 322"/>
                  <a:gd name="T25" fmla="*/ 2147483647 h 267"/>
                  <a:gd name="T26" fmla="*/ 2147483647 w 322"/>
                  <a:gd name="T27" fmla="*/ 2147483647 h 267"/>
                  <a:gd name="T28" fmla="*/ 2147483647 w 322"/>
                  <a:gd name="T29" fmla="*/ 2147483647 h 267"/>
                  <a:gd name="T30" fmla="*/ 0 w 322"/>
                  <a:gd name="T31" fmla="*/ 2147483647 h 267"/>
                  <a:gd name="T32" fmla="*/ 2147483647 w 322"/>
                  <a:gd name="T33" fmla="*/ 2147483647 h 267"/>
                  <a:gd name="T34" fmla="*/ 2147483647 w 322"/>
                  <a:gd name="T35" fmla="*/ 2147483647 h 267"/>
                  <a:gd name="T36" fmla="*/ 2147483647 w 322"/>
                  <a:gd name="T37" fmla="*/ 2147483647 h 267"/>
                  <a:gd name="T38" fmla="*/ 2147483647 w 322"/>
                  <a:gd name="T39" fmla="*/ 2147483647 h 267"/>
                  <a:gd name="T40" fmla="*/ 2147483647 w 322"/>
                  <a:gd name="T41" fmla="*/ 2147483647 h 267"/>
                  <a:gd name="T42" fmla="*/ 2147483647 w 322"/>
                  <a:gd name="T43" fmla="*/ 2147483647 h 267"/>
                  <a:gd name="T44" fmla="*/ 2147483647 w 322"/>
                  <a:gd name="T45" fmla="*/ 2147483647 h 267"/>
                  <a:gd name="T46" fmla="*/ 2147483647 w 322"/>
                  <a:gd name="T47" fmla="*/ 2147483647 h 267"/>
                  <a:gd name="T48" fmla="*/ 2147483647 w 322"/>
                  <a:gd name="T49" fmla="*/ 2147483647 h 267"/>
                  <a:gd name="T50" fmla="*/ 2147483647 w 322"/>
                  <a:gd name="T51" fmla="*/ 2147483647 h 267"/>
                  <a:gd name="T52" fmla="*/ 2147483647 w 322"/>
                  <a:gd name="T53" fmla="*/ 2147483647 h 267"/>
                  <a:gd name="T54" fmla="*/ 2147483647 w 322"/>
                  <a:gd name="T55" fmla="*/ 2147483647 h 267"/>
                  <a:gd name="T56" fmla="*/ 2147483647 w 322"/>
                  <a:gd name="T57" fmla="*/ 2147483647 h 267"/>
                  <a:gd name="T58" fmla="*/ 2147483647 w 322"/>
                  <a:gd name="T59" fmla="*/ 2147483647 h 267"/>
                  <a:gd name="T60" fmla="*/ 2147483647 w 322"/>
                  <a:gd name="T61" fmla="*/ 2147483647 h 267"/>
                  <a:gd name="T62" fmla="*/ 2147483647 w 322"/>
                  <a:gd name="T63" fmla="*/ 2147483647 h 267"/>
                  <a:gd name="T64" fmla="*/ 2147483647 w 322"/>
                  <a:gd name="T65" fmla="*/ 2147483647 h 267"/>
                  <a:gd name="T66" fmla="*/ 2147483647 w 322"/>
                  <a:gd name="T67" fmla="*/ 2147483647 h 267"/>
                  <a:gd name="T68" fmla="*/ 2147483647 w 322"/>
                  <a:gd name="T69" fmla="*/ 2147483647 h 267"/>
                  <a:gd name="T70" fmla="*/ 2147483647 w 322"/>
                  <a:gd name="T71" fmla="*/ 2147483647 h 267"/>
                  <a:gd name="T72" fmla="*/ 2147483647 w 322"/>
                  <a:gd name="T73" fmla="*/ 2147483647 h 267"/>
                  <a:gd name="T74" fmla="*/ 2147483647 w 322"/>
                  <a:gd name="T75" fmla="*/ 2147483647 h 267"/>
                  <a:gd name="T76" fmla="*/ 2147483647 w 322"/>
                  <a:gd name="T77" fmla="*/ 2147483647 h 267"/>
                  <a:gd name="T78" fmla="*/ 2147483647 w 322"/>
                  <a:gd name="T79" fmla="*/ 2147483647 h 267"/>
                  <a:gd name="T80" fmla="*/ 2147483647 w 322"/>
                  <a:gd name="T81" fmla="*/ 2147483647 h 267"/>
                  <a:gd name="T82" fmla="*/ 2147483647 w 322"/>
                  <a:gd name="T83" fmla="*/ 2147483647 h 267"/>
                  <a:gd name="T84" fmla="*/ 2147483647 w 322"/>
                  <a:gd name="T85" fmla="*/ 2147483647 h 267"/>
                  <a:gd name="T86" fmla="*/ 2147483647 w 322"/>
                  <a:gd name="T87" fmla="*/ 2147483647 h 267"/>
                  <a:gd name="T88" fmla="*/ 2147483647 w 322"/>
                  <a:gd name="T89" fmla="*/ 2147483647 h 267"/>
                  <a:gd name="T90" fmla="*/ 2147483647 w 322"/>
                  <a:gd name="T91" fmla="*/ 2147483647 h 267"/>
                  <a:gd name="T92" fmla="*/ 2147483647 w 322"/>
                  <a:gd name="T93" fmla="*/ 2147483647 h 267"/>
                  <a:gd name="T94" fmla="*/ 2147483647 w 322"/>
                  <a:gd name="T95" fmla="*/ 2147483647 h 26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22" h="267">
                    <a:moveTo>
                      <a:pt x="140" y="181"/>
                    </a:moveTo>
                    <a:cubicBezTo>
                      <a:pt x="140" y="224"/>
                      <a:pt x="140" y="224"/>
                      <a:pt x="140" y="224"/>
                    </a:cubicBezTo>
                    <a:cubicBezTo>
                      <a:pt x="140" y="228"/>
                      <a:pt x="144" y="232"/>
                      <a:pt x="148" y="232"/>
                    </a:cubicBezTo>
                    <a:cubicBezTo>
                      <a:pt x="153" y="232"/>
                      <a:pt x="156" y="228"/>
                      <a:pt x="156" y="224"/>
                    </a:cubicBezTo>
                    <a:cubicBezTo>
                      <a:pt x="156" y="181"/>
                      <a:pt x="156" y="181"/>
                      <a:pt x="156" y="181"/>
                    </a:cubicBezTo>
                    <a:cubicBezTo>
                      <a:pt x="156" y="176"/>
                      <a:pt x="153" y="173"/>
                      <a:pt x="148" y="173"/>
                    </a:cubicBezTo>
                    <a:cubicBezTo>
                      <a:pt x="144" y="173"/>
                      <a:pt x="140" y="176"/>
                      <a:pt x="140" y="181"/>
                    </a:cubicBezTo>
                    <a:close/>
                    <a:moveTo>
                      <a:pt x="182" y="173"/>
                    </a:moveTo>
                    <a:cubicBezTo>
                      <a:pt x="178" y="173"/>
                      <a:pt x="174" y="176"/>
                      <a:pt x="174" y="181"/>
                    </a:cubicBezTo>
                    <a:cubicBezTo>
                      <a:pt x="174" y="223"/>
                      <a:pt x="174" y="223"/>
                      <a:pt x="174" y="223"/>
                    </a:cubicBezTo>
                    <a:cubicBezTo>
                      <a:pt x="174" y="227"/>
                      <a:pt x="178" y="231"/>
                      <a:pt x="182" y="231"/>
                    </a:cubicBezTo>
                    <a:cubicBezTo>
                      <a:pt x="212" y="231"/>
                      <a:pt x="212" y="231"/>
                      <a:pt x="212" y="231"/>
                    </a:cubicBezTo>
                    <a:cubicBezTo>
                      <a:pt x="217" y="231"/>
                      <a:pt x="220" y="227"/>
                      <a:pt x="220" y="223"/>
                    </a:cubicBezTo>
                    <a:cubicBezTo>
                      <a:pt x="220" y="181"/>
                      <a:pt x="220" y="181"/>
                      <a:pt x="220" y="181"/>
                    </a:cubicBezTo>
                    <a:cubicBezTo>
                      <a:pt x="220" y="176"/>
                      <a:pt x="217" y="173"/>
                      <a:pt x="212" y="173"/>
                    </a:cubicBezTo>
                    <a:lnTo>
                      <a:pt x="182" y="173"/>
                    </a:lnTo>
                    <a:close/>
                    <a:moveTo>
                      <a:pt x="247" y="173"/>
                    </a:moveTo>
                    <a:cubicBezTo>
                      <a:pt x="242" y="173"/>
                      <a:pt x="239" y="176"/>
                      <a:pt x="239" y="181"/>
                    </a:cubicBezTo>
                    <a:cubicBezTo>
                      <a:pt x="239" y="223"/>
                      <a:pt x="239" y="223"/>
                      <a:pt x="239" y="223"/>
                    </a:cubicBezTo>
                    <a:cubicBezTo>
                      <a:pt x="239" y="227"/>
                      <a:pt x="242" y="231"/>
                      <a:pt x="247" y="231"/>
                    </a:cubicBezTo>
                    <a:cubicBezTo>
                      <a:pt x="277" y="231"/>
                      <a:pt x="277" y="231"/>
                      <a:pt x="277" y="231"/>
                    </a:cubicBezTo>
                    <a:cubicBezTo>
                      <a:pt x="281" y="231"/>
                      <a:pt x="285" y="227"/>
                      <a:pt x="285" y="223"/>
                    </a:cubicBezTo>
                    <a:cubicBezTo>
                      <a:pt x="285" y="181"/>
                      <a:pt x="285" y="181"/>
                      <a:pt x="285" y="181"/>
                    </a:cubicBezTo>
                    <a:cubicBezTo>
                      <a:pt x="285" y="176"/>
                      <a:pt x="281" y="173"/>
                      <a:pt x="277" y="173"/>
                    </a:cubicBezTo>
                    <a:lnTo>
                      <a:pt x="247" y="173"/>
                    </a:lnTo>
                    <a:close/>
                    <a:moveTo>
                      <a:pt x="314" y="173"/>
                    </a:moveTo>
                    <a:cubicBezTo>
                      <a:pt x="318" y="173"/>
                      <a:pt x="322" y="169"/>
                      <a:pt x="322" y="165"/>
                    </a:cubicBezTo>
                    <a:cubicBezTo>
                      <a:pt x="322" y="150"/>
                      <a:pt x="322" y="150"/>
                      <a:pt x="322" y="150"/>
                    </a:cubicBezTo>
                    <a:cubicBezTo>
                      <a:pt x="322" y="142"/>
                      <a:pt x="315" y="135"/>
                      <a:pt x="307" y="135"/>
                    </a:cubicBezTo>
                    <a:cubicBezTo>
                      <a:pt x="15" y="135"/>
                      <a:pt x="15" y="135"/>
                      <a:pt x="15" y="135"/>
                    </a:cubicBezTo>
                    <a:cubicBezTo>
                      <a:pt x="7" y="135"/>
                      <a:pt x="0" y="142"/>
                      <a:pt x="0" y="150"/>
                    </a:cubicBezTo>
                    <a:cubicBezTo>
                      <a:pt x="0" y="252"/>
                      <a:pt x="0" y="252"/>
                      <a:pt x="0" y="252"/>
                    </a:cubicBezTo>
                    <a:cubicBezTo>
                      <a:pt x="0" y="261"/>
                      <a:pt x="7" y="267"/>
                      <a:pt x="15" y="267"/>
                    </a:cubicBezTo>
                    <a:cubicBezTo>
                      <a:pt x="307" y="267"/>
                      <a:pt x="307" y="267"/>
                      <a:pt x="307" y="267"/>
                    </a:cubicBezTo>
                    <a:cubicBezTo>
                      <a:pt x="315" y="267"/>
                      <a:pt x="322" y="261"/>
                      <a:pt x="322" y="252"/>
                    </a:cubicBezTo>
                    <a:cubicBezTo>
                      <a:pt x="322" y="196"/>
                      <a:pt x="322" y="196"/>
                      <a:pt x="322" y="196"/>
                    </a:cubicBezTo>
                    <a:cubicBezTo>
                      <a:pt x="322" y="192"/>
                      <a:pt x="318" y="188"/>
                      <a:pt x="314" y="188"/>
                    </a:cubicBezTo>
                    <a:cubicBezTo>
                      <a:pt x="310" y="188"/>
                      <a:pt x="306" y="192"/>
                      <a:pt x="306" y="196"/>
                    </a:cubicBezTo>
                    <a:cubicBezTo>
                      <a:pt x="306" y="251"/>
                      <a:pt x="306" y="251"/>
                      <a:pt x="306" y="251"/>
                    </a:cubicBezTo>
                    <a:cubicBezTo>
                      <a:pt x="16" y="251"/>
                      <a:pt x="16" y="251"/>
                      <a:pt x="16" y="251"/>
                    </a:cubicBezTo>
                    <a:cubicBezTo>
                      <a:pt x="16" y="151"/>
                      <a:pt x="16" y="151"/>
                      <a:pt x="16" y="151"/>
                    </a:cubicBezTo>
                    <a:cubicBezTo>
                      <a:pt x="306" y="151"/>
                      <a:pt x="306" y="151"/>
                      <a:pt x="306" y="151"/>
                    </a:cubicBezTo>
                    <a:cubicBezTo>
                      <a:pt x="306" y="165"/>
                      <a:pt x="306" y="165"/>
                      <a:pt x="306" y="165"/>
                    </a:cubicBezTo>
                    <a:cubicBezTo>
                      <a:pt x="306" y="169"/>
                      <a:pt x="310" y="173"/>
                      <a:pt x="314" y="173"/>
                    </a:cubicBezTo>
                    <a:close/>
                    <a:moveTo>
                      <a:pt x="37" y="181"/>
                    </a:moveTo>
                    <a:cubicBezTo>
                      <a:pt x="37" y="224"/>
                      <a:pt x="37" y="224"/>
                      <a:pt x="37" y="224"/>
                    </a:cubicBezTo>
                    <a:cubicBezTo>
                      <a:pt x="37" y="228"/>
                      <a:pt x="41" y="232"/>
                      <a:pt x="45" y="232"/>
                    </a:cubicBezTo>
                    <a:cubicBezTo>
                      <a:pt x="50" y="232"/>
                      <a:pt x="53" y="228"/>
                      <a:pt x="53" y="224"/>
                    </a:cubicBezTo>
                    <a:cubicBezTo>
                      <a:pt x="53" y="181"/>
                      <a:pt x="53" y="181"/>
                      <a:pt x="53" y="181"/>
                    </a:cubicBezTo>
                    <a:cubicBezTo>
                      <a:pt x="53" y="176"/>
                      <a:pt x="50" y="173"/>
                      <a:pt x="45" y="173"/>
                    </a:cubicBezTo>
                    <a:cubicBezTo>
                      <a:pt x="41" y="173"/>
                      <a:pt x="37" y="176"/>
                      <a:pt x="37" y="181"/>
                    </a:cubicBezTo>
                    <a:close/>
                    <a:moveTo>
                      <a:pt x="106" y="181"/>
                    </a:moveTo>
                    <a:cubicBezTo>
                      <a:pt x="106" y="224"/>
                      <a:pt x="106" y="224"/>
                      <a:pt x="106" y="224"/>
                    </a:cubicBezTo>
                    <a:cubicBezTo>
                      <a:pt x="106" y="228"/>
                      <a:pt x="109" y="232"/>
                      <a:pt x="114" y="232"/>
                    </a:cubicBezTo>
                    <a:cubicBezTo>
                      <a:pt x="118" y="232"/>
                      <a:pt x="122" y="228"/>
                      <a:pt x="122" y="224"/>
                    </a:cubicBezTo>
                    <a:cubicBezTo>
                      <a:pt x="122" y="181"/>
                      <a:pt x="122" y="181"/>
                      <a:pt x="122" y="181"/>
                    </a:cubicBezTo>
                    <a:cubicBezTo>
                      <a:pt x="122" y="176"/>
                      <a:pt x="118" y="173"/>
                      <a:pt x="114" y="173"/>
                    </a:cubicBezTo>
                    <a:cubicBezTo>
                      <a:pt x="109" y="173"/>
                      <a:pt x="106" y="176"/>
                      <a:pt x="106" y="181"/>
                    </a:cubicBezTo>
                    <a:close/>
                    <a:moveTo>
                      <a:pt x="71" y="181"/>
                    </a:moveTo>
                    <a:cubicBezTo>
                      <a:pt x="71" y="224"/>
                      <a:pt x="71" y="224"/>
                      <a:pt x="71" y="224"/>
                    </a:cubicBezTo>
                    <a:cubicBezTo>
                      <a:pt x="71" y="228"/>
                      <a:pt x="75" y="232"/>
                      <a:pt x="79" y="232"/>
                    </a:cubicBezTo>
                    <a:cubicBezTo>
                      <a:pt x="84" y="232"/>
                      <a:pt x="87" y="228"/>
                      <a:pt x="87" y="224"/>
                    </a:cubicBezTo>
                    <a:cubicBezTo>
                      <a:pt x="87" y="181"/>
                      <a:pt x="87" y="181"/>
                      <a:pt x="87" y="181"/>
                    </a:cubicBezTo>
                    <a:cubicBezTo>
                      <a:pt x="87" y="176"/>
                      <a:pt x="84" y="173"/>
                      <a:pt x="79" y="173"/>
                    </a:cubicBezTo>
                    <a:cubicBezTo>
                      <a:pt x="75" y="173"/>
                      <a:pt x="71" y="176"/>
                      <a:pt x="71" y="181"/>
                    </a:cubicBezTo>
                    <a:close/>
                    <a:moveTo>
                      <a:pt x="76" y="51"/>
                    </a:moveTo>
                    <a:cubicBezTo>
                      <a:pt x="76" y="51"/>
                      <a:pt x="76" y="51"/>
                      <a:pt x="76" y="51"/>
                    </a:cubicBezTo>
                    <a:cubicBezTo>
                      <a:pt x="100" y="28"/>
                      <a:pt x="130" y="16"/>
                      <a:pt x="161" y="16"/>
                    </a:cubicBezTo>
                    <a:cubicBezTo>
                      <a:pt x="192" y="16"/>
                      <a:pt x="223" y="28"/>
                      <a:pt x="246" y="51"/>
                    </a:cubicBezTo>
                    <a:cubicBezTo>
                      <a:pt x="250" y="55"/>
                      <a:pt x="255" y="55"/>
                      <a:pt x="258" y="51"/>
                    </a:cubicBezTo>
                    <a:cubicBezTo>
                      <a:pt x="259" y="50"/>
                      <a:pt x="260" y="48"/>
                      <a:pt x="260" y="46"/>
                    </a:cubicBezTo>
                    <a:cubicBezTo>
                      <a:pt x="260" y="44"/>
                      <a:pt x="259" y="42"/>
                      <a:pt x="258" y="40"/>
                    </a:cubicBezTo>
                    <a:cubicBezTo>
                      <a:pt x="231" y="13"/>
                      <a:pt x="196" y="0"/>
                      <a:pt x="161" y="0"/>
                    </a:cubicBezTo>
                    <a:cubicBezTo>
                      <a:pt x="126" y="0"/>
                      <a:pt x="91" y="13"/>
                      <a:pt x="65" y="40"/>
                    </a:cubicBezTo>
                    <a:cubicBezTo>
                      <a:pt x="62" y="43"/>
                      <a:pt x="62" y="48"/>
                      <a:pt x="65" y="51"/>
                    </a:cubicBezTo>
                    <a:cubicBezTo>
                      <a:pt x="68" y="55"/>
                      <a:pt x="73" y="55"/>
                      <a:pt x="76" y="51"/>
                    </a:cubicBezTo>
                    <a:close/>
                    <a:moveTo>
                      <a:pt x="119" y="95"/>
                    </a:moveTo>
                    <a:cubicBezTo>
                      <a:pt x="116" y="98"/>
                      <a:pt x="116" y="103"/>
                      <a:pt x="119" y="106"/>
                    </a:cubicBezTo>
                    <a:cubicBezTo>
                      <a:pt x="122" y="109"/>
                      <a:pt x="127" y="109"/>
                      <a:pt x="130" y="106"/>
                    </a:cubicBezTo>
                    <a:cubicBezTo>
                      <a:pt x="139" y="97"/>
                      <a:pt x="150" y="93"/>
                      <a:pt x="161" y="93"/>
                    </a:cubicBezTo>
                    <a:cubicBezTo>
                      <a:pt x="172" y="93"/>
                      <a:pt x="183" y="97"/>
                      <a:pt x="192" y="106"/>
                    </a:cubicBezTo>
                    <a:cubicBezTo>
                      <a:pt x="195" y="109"/>
                      <a:pt x="200" y="109"/>
                      <a:pt x="203" y="106"/>
                    </a:cubicBezTo>
                    <a:cubicBezTo>
                      <a:pt x="205" y="104"/>
                      <a:pt x="206" y="102"/>
                      <a:pt x="206" y="100"/>
                    </a:cubicBezTo>
                    <a:cubicBezTo>
                      <a:pt x="206" y="98"/>
                      <a:pt x="205" y="96"/>
                      <a:pt x="203" y="95"/>
                    </a:cubicBezTo>
                    <a:cubicBezTo>
                      <a:pt x="192" y="83"/>
                      <a:pt x="176" y="77"/>
                      <a:pt x="161" y="77"/>
                    </a:cubicBezTo>
                    <a:cubicBezTo>
                      <a:pt x="146" y="77"/>
                      <a:pt x="131" y="83"/>
                      <a:pt x="119" y="95"/>
                    </a:cubicBezTo>
                    <a:close/>
                    <a:moveTo>
                      <a:pt x="231" y="79"/>
                    </a:moveTo>
                    <a:cubicBezTo>
                      <a:pt x="232" y="77"/>
                      <a:pt x="233" y="75"/>
                      <a:pt x="233" y="73"/>
                    </a:cubicBezTo>
                    <a:cubicBezTo>
                      <a:pt x="233" y="71"/>
                      <a:pt x="232" y="69"/>
                      <a:pt x="231" y="67"/>
                    </a:cubicBezTo>
                    <a:cubicBezTo>
                      <a:pt x="211" y="48"/>
                      <a:pt x="186" y="39"/>
                      <a:pt x="161" y="39"/>
                    </a:cubicBezTo>
                    <a:cubicBezTo>
                      <a:pt x="136" y="39"/>
                      <a:pt x="111" y="48"/>
                      <a:pt x="92" y="67"/>
                    </a:cubicBezTo>
                    <a:cubicBezTo>
                      <a:pt x="89" y="71"/>
                      <a:pt x="89" y="76"/>
                      <a:pt x="92" y="79"/>
                    </a:cubicBezTo>
                    <a:cubicBezTo>
                      <a:pt x="95" y="82"/>
                      <a:pt x="100" y="82"/>
                      <a:pt x="103" y="79"/>
                    </a:cubicBezTo>
                    <a:cubicBezTo>
                      <a:pt x="119" y="63"/>
                      <a:pt x="140" y="55"/>
                      <a:pt x="161" y="55"/>
                    </a:cubicBezTo>
                    <a:cubicBezTo>
                      <a:pt x="182" y="55"/>
                      <a:pt x="203" y="63"/>
                      <a:pt x="219" y="79"/>
                    </a:cubicBezTo>
                    <a:cubicBezTo>
                      <a:pt x="222" y="82"/>
                      <a:pt x="227" y="82"/>
                      <a:pt x="231"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85" name="Freeform 6"/>
              <p:cNvSpPr>
                <a:spLocks noEditPoints="1"/>
              </p:cNvSpPr>
              <p:nvPr/>
            </p:nvSpPr>
            <p:spPr bwMode="auto">
              <a:xfrm>
                <a:off x="5730757" y="3243840"/>
                <a:ext cx="155999" cy="152844"/>
              </a:xfrm>
              <a:custGeom>
                <a:avLst/>
                <a:gdLst>
                  <a:gd name="T0" fmla="*/ 2147483647 w 394"/>
                  <a:gd name="T1" fmla="*/ 2147483647 h 395"/>
                  <a:gd name="T2" fmla="*/ 2147483647 w 394"/>
                  <a:gd name="T3" fmla="*/ 2147483647 h 395"/>
                  <a:gd name="T4" fmla="*/ 2147483647 w 394"/>
                  <a:gd name="T5" fmla="*/ 2147483647 h 395"/>
                  <a:gd name="T6" fmla="*/ 2147483647 w 394"/>
                  <a:gd name="T7" fmla="*/ 2147483647 h 395"/>
                  <a:gd name="T8" fmla="*/ 2147483647 w 394"/>
                  <a:gd name="T9" fmla="*/ 0 h 395"/>
                  <a:gd name="T10" fmla="*/ 2147483647 w 394"/>
                  <a:gd name="T11" fmla="*/ 2147483647 h 395"/>
                  <a:gd name="T12" fmla="*/ 2147483647 w 394"/>
                  <a:gd name="T13" fmla="*/ 2147483647 h 395"/>
                  <a:gd name="T14" fmla="*/ 2147483647 w 394"/>
                  <a:gd name="T15" fmla="*/ 2147483647 h 395"/>
                  <a:gd name="T16" fmla="*/ 2147483647 w 394"/>
                  <a:gd name="T17" fmla="*/ 2147483647 h 395"/>
                  <a:gd name="T18" fmla="*/ 2147483647 w 394"/>
                  <a:gd name="T19" fmla="*/ 2147483647 h 395"/>
                  <a:gd name="T20" fmla="*/ 2147483647 w 394"/>
                  <a:gd name="T21" fmla="*/ 2147483647 h 395"/>
                  <a:gd name="T22" fmla="*/ 2147483647 w 394"/>
                  <a:gd name="T23" fmla="*/ 2147483647 h 395"/>
                  <a:gd name="T24" fmla="*/ 2147483647 w 394"/>
                  <a:gd name="T25" fmla="*/ 2147483647 h 395"/>
                  <a:gd name="T26" fmla="*/ 2147483647 w 394"/>
                  <a:gd name="T27" fmla="*/ 2147483647 h 395"/>
                  <a:gd name="T28" fmla="*/ 2147483647 w 394"/>
                  <a:gd name="T29" fmla="*/ 2147483647 h 395"/>
                  <a:gd name="T30" fmla="*/ 2147483647 w 394"/>
                  <a:gd name="T31" fmla="*/ 2147483647 h 395"/>
                  <a:gd name="T32" fmla="*/ 2147483647 w 394"/>
                  <a:gd name="T33" fmla="*/ 2147483647 h 395"/>
                  <a:gd name="T34" fmla="*/ 2147483647 w 394"/>
                  <a:gd name="T35" fmla="*/ 2147483647 h 395"/>
                  <a:gd name="T36" fmla="*/ 2147483647 w 394"/>
                  <a:gd name="T37" fmla="*/ 2147483647 h 395"/>
                  <a:gd name="T38" fmla="*/ 2147483647 w 394"/>
                  <a:gd name="T39" fmla="*/ 2147483647 h 395"/>
                  <a:gd name="T40" fmla="*/ 2147483647 w 394"/>
                  <a:gd name="T41" fmla="*/ 2147483647 h 395"/>
                  <a:gd name="T42" fmla="*/ 2147483647 w 394"/>
                  <a:gd name="T43" fmla="*/ 2147483647 h 395"/>
                  <a:gd name="T44" fmla="*/ 2147483647 w 394"/>
                  <a:gd name="T45" fmla="*/ 2147483647 h 395"/>
                  <a:gd name="T46" fmla="*/ 2147483647 w 394"/>
                  <a:gd name="T47" fmla="*/ 2147483647 h 395"/>
                  <a:gd name="T48" fmla="*/ 2147483647 w 394"/>
                  <a:gd name="T49" fmla="*/ 2147483647 h 395"/>
                  <a:gd name="T50" fmla="*/ 2147483647 w 394"/>
                  <a:gd name="T51" fmla="*/ 2147483647 h 395"/>
                  <a:gd name="T52" fmla="*/ 2147483647 w 394"/>
                  <a:gd name="T53" fmla="*/ 2147483647 h 395"/>
                  <a:gd name="T54" fmla="*/ 2147483647 w 394"/>
                  <a:gd name="T55" fmla="*/ 2147483647 h 395"/>
                  <a:gd name="T56" fmla="*/ 2147483647 w 394"/>
                  <a:gd name="T57" fmla="*/ 2147483647 h 395"/>
                  <a:gd name="T58" fmla="*/ 2147483647 w 394"/>
                  <a:gd name="T59" fmla="*/ 2147483647 h 395"/>
                  <a:gd name="T60" fmla="*/ 2147483647 w 394"/>
                  <a:gd name="T61" fmla="*/ 2147483647 h 395"/>
                  <a:gd name="T62" fmla="*/ 2147483647 w 394"/>
                  <a:gd name="T63" fmla="*/ 2147483647 h 395"/>
                  <a:gd name="T64" fmla="*/ 2147483647 w 394"/>
                  <a:gd name="T65" fmla="*/ 2147483647 h 395"/>
                  <a:gd name="T66" fmla="*/ 2147483647 w 394"/>
                  <a:gd name="T67" fmla="*/ 2147483647 h 395"/>
                  <a:gd name="T68" fmla="*/ 2147483647 w 394"/>
                  <a:gd name="T69" fmla="*/ 2147483647 h 395"/>
                  <a:gd name="T70" fmla="*/ 2147483647 w 394"/>
                  <a:gd name="T71" fmla="*/ 2147483647 h 395"/>
                  <a:gd name="T72" fmla="*/ 2147483647 w 394"/>
                  <a:gd name="T73" fmla="*/ 2147483647 h 395"/>
                  <a:gd name="T74" fmla="*/ 2147483647 w 394"/>
                  <a:gd name="T75" fmla="*/ 2147483647 h 395"/>
                  <a:gd name="T76" fmla="*/ 2147483647 w 394"/>
                  <a:gd name="T77" fmla="*/ 2147483647 h 395"/>
                  <a:gd name="T78" fmla="*/ 2147483647 w 394"/>
                  <a:gd name="T79" fmla="*/ 2147483647 h 395"/>
                  <a:gd name="T80" fmla="*/ 2147483647 w 394"/>
                  <a:gd name="T81" fmla="*/ 2147483647 h 395"/>
                  <a:gd name="T82" fmla="*/ 2147483647 w 394"/>
                  <a:gd name="T83" fmla="*/ 2147483647 h 395"/>
                  <a:gd name="T84" fmla="*/ 2147483647 w 394"/>
                  <a:gd name="T85" fmla="*/ 2147483647 h 395"/>
                  <a:gd name="T86" fmla="*/ 2147483647 w 394"/>
                  <a:gd name="T87" fmla="*/ 2147483647 h 395"/>
                  <a:gd name="T88" fmla="*/ 2147483647 w 394"/>
                  <a:gd name="T89" fmla="*/ 2147483647 h 395"/>
                  <a:gd name="T90" fmla="*/ 2147483647 w 394"/>
                  <a:gd name="T91" fmla="*/ 2147483647 h 395"/>
                  <a:gd name="T92" fmla="*/ 2147483647 w 394"/>
                  <a:gd name="T93" fmla="*/ 2147483647 h 395"/>
                  <a:gd name="T94" fmla="*/ 2147483647 w 394"/>
                  <a:gd name="T95" fmla="*/ 2147483647 h 395"/>
                  <a:gd name="T96" fmla="*/ 2147483647 w 394"/>
                  <a:gd name="T97" fmla="*/ 2147483647 h 395"/>
                  <a:gd name="T98" fmla="*/ 2147483647 w 394"/>
                  <a:gd name="T99" fmla="*/ 2147483647 h 395"/>
                  <a:gd name="T100" fmla="*/ 2147483647 w 394"/>
                  <a:gd name="T101" fmla="*/ 2147483647 h 395"/>
                  <a:gd name="T102" fmla="*/ 2147483647 w 394"/>
                  <a:gd name="T103" fmla="*/ 2147483647 h 395"/>
                  <a:gd name="T104" fmla="*/ 2147483647 w 394"/>
                  <a:gd name="T105" fmla="*/ 2147483647 h 395"/>
                  <a:gd name="T106" fmla="*/ 2147483647 w 394"/>
                  <a:gd name="T107" fmla="*/ 2147483647 h 395"/>
                  <a:gd name="T108" fmla="*/ 2147483647 w 394"/>
                  <a:gd name="T109" fmla="*/ 2147483647 h 395"/>
                  <a:gd name="T110" fmla="*/ 2147483647 w 394"/>
                  <a:gd name="T111" fmla="*/ 2147483647 h 395"/>
                  <a:gd name="T112" fmla="*/ 2147483647 w 394"/>
                  <a:gd name="T113" fmla="*/ 2147483647 h 395"/>
                  <a:gd name="T114" fmla="*/ 2147483647 w 394"/>
                  <a:gd name="T115" fmla="*/ 2147483647 h 395"/>
                  <a:gd name="T116" fmla="*/ 2147483647 w 394"/>
                  <a:gd name="T117" fmla="*/ 2147483647 h 39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94" h="395">
                    <a:moveTo>
                      <a:pt x="348" y="70"/>
                    </a:moveTo>
                    <a:cubicBezTo>
                      <a:pt x="345" y="67"/>
                      <a:pt x="340" y="66"/>
                      <a:pt x="337" y="69"/>
                    </a:cubicBezTo>
                    <a:cubicBezTo>
                      <a:pt x="333" y="72"/>
                      <a:pt x="333" y="77"/>
                      <a:pt x="336" y="81"/>
                    </a:cubicBezTo>
                    <a:cubicBezTo>
                      <a:pt x="362" y="112"/>
                      <a:pt x="378" y="153"/>
                      <a:pt x="378" y="198"/>
                    </a:cubicBezTo>
                    <a:cubicBezTo>
                      <a:pt x="378" y="248"/>
                      <a:pt x="358" y="293"/>
                      <a:pt x="325" y="326"/>
                    </a:cubicBezTo>
                    <a:cubicBezTo>
                      <a:pt x="292" y="359"/>
                      <a:pt x="247" y="379"/>
                      <a:pt x="197" y="379"/>
                    </a:cubicBezTo>
                    <a:cubicBezTo>
                      <a:pt x="147" y="379"/>
                      <a:pt x="102" y="359"/>
                      <a:pt x="69" y="326"/>
                    </a:cubicBezTo>
                    <a:cubicBezTo>
                      <a:pt x="36" y="293"/>
                      <a:pt x="16" y="248"/>
                      <a:pt x="16" y="198"/>
                    </a:cubicBezTo>
                    <a:cubicBezTo>
                      <a:pt x="16" y="147"/>
                      <a:pt x="36" y="102"/>
                      <a:pt x="69" y="69"/>
                    </a:cubicBezTo>
                    <a:cubicBezTo>
                      <a:pt x="102" y="37"/>
                      <a:pt x="147" y="16"/>
                      <a:pt x="197" y="16"/>
                    </a:cubicBezTo>
                    <a:cubicBezTo>
                      <a:pt x="242" y="16"/>
                      <a:pt x="282" y="32"/>
                      <a:pt x="314" y="59"/>
                    </a:cubicBezTo>
                    <a:cubicBezTo>
                      <a:pt x="317" y="62"/>
                      <a:pt x="322" y="61"/>
                      <a:pt x="325" y="58"/>
                    </a:cubicBezTo>
                    <a:cubicBezTo>
                      <a:pt x="328" y="55"/>
                      <a:pt x="328" y="50"/>
                      <a:pt x="324" y="47"/>
                    </a:cubicBezTo>
                    <a:cubicBezTo>
                      <a:pt x="324" y="47"/>
                      <a:pt x="324" y="47"/>
                      <a:pt x="324" y="47"/>
                    </a:cubicBezTo>
                    <a:cubicBezTo>
                      <a:pt x="290" y="18"/>
                      <a:pt x="245" y="0"/>
                      <a:pt x="197" y="0"/>
                    </a:cubicBezTo>
                    <a:cubicBezTo>
                      <a:pt x="88" y="0"/>
                      <a:pt x="0" y="89"/>
                      <a:pt x="0" y="198"/>
                    </a:cubicBezTo>
                    <a:cubicBezTo>
                      <a:pt x="0" y="307"/>
                      <a:pt x="88" y="395"/>
                      <a:pt x="197" y="395"/>
                    </a:cubicBezTo>
                    <a:cubicBezTo>
                      <a:pt x="306" y="395"/>
                      <a:pt x="394" y="307"/>
                      <a:pt x="394" y="198"/>
                    </a:cubicBezTo>
                    <a:cubicBezTo>
                      <a:pt x="394" y="149"/>
                      <a:pt x="377" y="105"/>
                      <a:pt x="348" y="70"/>
                    </a:cubicBezTo>
                    <a:close/>
                    <a:moveTo>
                      <a:pt x="327" y="103"/>
                    </a:moveTo>
                    <a:cubicBezTo>
                      <a:pt x="327" y="99"/>
                      <a:pt x="323" y="95"/>
                      <a:pt x="319" y="95"/>
                    </a:cubicBezTo>
                    <a:cubicBezTo>
                      <a:pt x="74" y="95"/>
                      <a:pt x="74" y="95"/>
                      <a:pt x="74" y="95"/>
                    </a:cubicBezTo>
                    <a:cubicBezTo>
                      <a:pt x="70" y="95"/>
                      <a:pt x="66" y="99"/>
                      <a:pt x="66" y="103"/>
                    </a:cubicBezTo>
                    <a:cubicBezTo>
                      <a:pt x="66" y="107"/>
                      <a:pt x="70" y="111"/>
                      <a:pt x="74" y="111"/>
                    </a:cubicBezTo>
                    <a:cubicBezTo>
                      <a:pt x="319" y="111"/>
                      <a:pt x="319" y="111"/>
                      <a:pt x="319" y="111"/>
                    </a:cubicBezTo>
                    <a:cubicBezTo>
                      <a:pt x="323" y="111"/>
                      <a:pt x="327" y="107"/>
                      <a:pt x="327" y="103"/>
                    </a:cubicBezTo>
                    <a:close/>
                    <a:moveTo>
                      <a:pt x="245" y="149"/>
                    </a:moveTo>
                    <a:cubicBezTo>
                      <a:pt x="239" y="149"/>
                      <a:pt x="234" y="154"/>
                      <a:pt x="234" y="159"/>
                    </a:cubicBezTo>
                    <a:cubicBezTo>
                      <a:pt x="234" y="236"/>
                      <a:pt x="234" y="236"/>
                      <a:pt x="234" y="236"/>
                    </a:cubicBezTo>
                    <a:cubicBezTo>
                      <a:pt x="234" y="242"/>
                      <a:pt x="239" y="246"/>
                      <a:pt x="245" y="246"/>
                    </a:cubicBezTo>
                    <a:cubicBezTo>
                      <a:pt x="282" y="246"/>
                      <a:pt x="282" y="246"/>
                      <a:pt x="282" y="246"/>
                    </a:cubicBezTo>
                    <a:cubicBezTo>
                      <a:pt x="288" y="246"/>
                      <a:pt x="292" y="242"/>
                      <a:pt x="292" y="236"/>
                    </a:cubicBezTo>
                    <a:cubicBezTo>
                      <a:pt x="292" y="159"/>
                      <a:pt x="292" y="159"/>
                      <a:pt x="292" y="159"/>
                    </a:cubicBezTo>
                    <a:cubicBezTo>
                      <a:pt x="292" y="154"/>
                      <a:pt x="288" y="149"/>
                      <a:pt x="282" y="149"/>
                    </a:cubicBezTo>
                    <a:lnTo>
                      <a:pt x="245" y="149"/>
                    </a:lnTo>
                    <a:close/>
                    <a:moveTo>
                      <a:pt x="284" y="210"/>
                    </a:moveTo>
                    <a:cubicBezTo>
                      <a:pt x="284" y="219"/>
                      <a:pt x="277" y="224"/>
                      <a:pt x="269" y="226"/>
                    </a:cubicBezTo>
                    <a:cubicBezTo>
                      <a:pt x="268" y="226"/>
                      <a:pt x="267" y="226"/>
                      <a:pt x="267" y="226"/>
                    </a:cubicBezTo>
                    <a:cubicBezTo>
                      <a:pt x="266" y="226"/>
                      <a:pt x="264" y="225"/>
                      <a:pt x="264" y="223"/>
                    </a:cubicBezTo>
                    <a:cubicBezTo>
                      <a:pt x="264" y="222"/>
                      <a:pt x="265" y="221"/>
                      <a:pt x="267" y="221"/>
                    </a:cubicBezTo>
                    <a:cubicBezTo>
                      <a:pt x="273" y="220"/>
                      <a:pt x="278" y="216"/>
                      <a:pt x="278" y="210"/>
                    </a:cubicBezTo>
                    <a:cubicBezTo>
                      <a:pt x="278" y="204"/>
                      <a:pt x="273" y="199"/>
                      <a:pt x="262" y="199"/>
                    </a:cubicBezTo>
                    <a:cubicBezTo>
                      <a:pt x="253" y="199"/>
                      <a:pt x="248" y="204"/>
                      <a:pt x="248" y="210"/>
                    </a:cubicBezTo>
                    <a:cubicBezTo>
                      <a:pt x="248" y="217"/>
                      <a:pt x="253" y="220"/>
                      <a:pt x="260" y="221"/>
                    </a:cubicBezTo>
                    <a:cubicBezTo>
                      <a:pt x="261" y="221"/>
                      <a:pt x="262" y="222"/>
                      <a:pt x="262" y="223"/>
                    </a:cubicBezTo>
                    <a:cubicBezTo>
                      <a:pt x="262" y="225"/>
                      <a:pt x="261" y="226"/>
                      <a:pt x="259" y="226"/>
                    </a:cubicBezTo>
                    <a:cubicBezTo>
                      <a:pt x="259" y="226"/>
                      <a:pt x="258" y="226"/>
                      <a:pt x="258" y="226"/>
                    </a:cubicBezTo>
                    <a:cubicBezTo>
                      <a:pt x="249" y="224"/>
                      <a:pt x="242" y="219"/>
                      <a:pt x="242" y="210"/>
                    </a:cubicBezTo>
                    <a:cubicBezTo>
                      <a:pt x="242" y="203"/>
                      <a:pt x="247" y="198"/>
                      <a:pt x="253" y="196"/>
                    </a:cubicBezTo>
                    <a:cubicBezTo>
                      <a:pt x="253" y="196"/>
                      <a:pt x="253" y="196"/>
                      <a:pt x="253" y="196"/>
                    </a:cubicBezTo>
                    <a:cubicBezTo>
                      <a:pt x="247" y="195"/>
                      <a:pt x="244" y="191"/>
                      <a:pt x="244" y="184"/>
                    </a:cubicBezTo>
                    <a:cubicBezTo>
                      <a:pt x="244" y="176"/>
                      <a:pt x="248" y="171"/>
                      <a:pt x="258" y="169"/>
                    </a:cubicBezTo>
                    <a:cubicBezTo>
                      <a:pt x="258" y="169"/>
                      <a:pt x="259" y="169"/>
                      <a:pt x="259" y="169"/>
                    </a:cubicBezTo>
                    <a:cubicBezTo>
                      <a:pt x="261" y="169"/>
                      <a:pt x="262" y="170"/>
                      <a:pt x="262" y="172"/>
                    </a:cubicBezTo>
                    <a:cubicBezTo>
                      <a:pt x="262" y="173"/>
                      <a:pt x="261" y="174"/>
                      <a:pt x="260" y="174"/>
                    </a:cubicBezTo>
                    <a:cubicBezTo>
                      <a:pt x="253" y="175"/>
                      <a:pt x="249" y="178"/>
                      <a:pt x="249" y="184"/>
                    </a:cubicBezTo>
                    <a:cubicBezTo>
                      <a:pt x="249" y="190"/>
                      <a:pt x="254" y="194"/>
                      <a:pt x="264" y="194"/>
                    </a:cubicBezTo>
                    <a:cubicBezTo>
                      <a:pt x="271" y="194"/>
                      <a:pt x="277" y="190"/>
                      <a:pt x="277" y="184"/>
                    </a:cubicBezTo>
                    <a:cubicBezTo>
                      <a:pt x="277" y="178"/>
                      <a:pt x="273" y="175"/>
                      <a:pt x="267" y="174"/>
                    </a:cubicBezTo>
                    <a:cubicBezTo>
                      <a:pt x="265" y="174"/>
                      <a:pt x="264" y="173"/>
                      <a:pt x="264" y="172"/>
                    </a:cubicBezTo>
                    <a:cubicBezTo>
                      <a:pt x="264" y="170"/>
                      <a:pt x="266" y="169"/>
                      <a:pt x="267" y="169"/>
                    </a:cubicBezTo>
                    <a:cubicBezTo>
                      <a:pt x="267" y="169"/>
                      <a:pt x="268" y="169"/>
                      <a:pt x="269" y="169"/>
                    </a:cubicBezTo>
                    <a:cubicBezTo>
                      <a:pt x="278" y="171"/>
                      <a:pt x="282" y="177"/>
                      <a:pt x="282" y="184"/>
                    </a:cubicBezTo>
                    <a:cubicBezTo>
                      <a:pt x="282" y="190"/>
                      <a:pt x="279" y="194"/>
                      <a:pt x="274" y="196"/>
                    </a:cubicBezTo>
                    <a:cubicBezTo>
                      <a:pt x="274" y="196"/>
                      <a:pt x="274" y="196"/>
                      <a:pt x="274" y="196"/>
                    </a:cubicBezTo>
                    <a:cubicBezTo>
                      <a:pt x="279" y="198"/>
                      <a:pt x="283" y="203"/>
                      <a:pt x="284" y="210"/>
                    </a:cubicBezTo>
                    <a:close/>
                    <a:moveTo>
                      <a:pt x="113" y="149"/>
                    </a:moveTo>
                    <a:cubicBezTo>
                      <a:pt x="107" y="149"/>
                      <a:pt x="102" y="154"/>
                      <a:pt x="102" y="159"/>
                    </a:cubicBezTo>
                    <a:cubicBezTo>
                      <a:pt x="102" y="236"/>
                      <a:pt x="102" y="236"/>
                      <a:pt x="102" y="236"/>
                    </a:cubicBezTo>
                    <a:cubicBezTo>
                      <a:pt x="102" y="242"/>
                      <a:pt x="107" y="246"/>
                      <a:pt x="113" y="246"/>
                    </a:cubicBezTo>
                    <a:cubicBezTo>
                      <a:pt x="150" y="246"/>
                      <a:pt x="150" y="246"/>
                      <a:pt x="150" y="246"/>
                    </a:cubicBezTo>
                    <a:cubicBezTo>
                      <a:pt x="156" y="246"/>
                      <a:pt x="161" y="242"/>
                      <a:pt x="161" y="236"/>
                    </a:cubicBezTo>
                    <a:cubicBezTo>
                      <a:pt x="161" y="159"/>
                      <a:pt x="161" y="159"/>
                      <a:pt x="161" y="159"/>
                    </a:cubicBezTo>
                    <a:cubicBezTo>
                      <a:pt x="161" y="154"/>
                      <a:pt x="156" y="149"/>
                      <a:pt x="150" y="149"/>
                    </a:cubicBezTo>
                    <a:lnTo>
                      <a:pt x="113" y="149"/>
                    </a:lnTo>
                    <a:close/>
                    <a:moveTo>
                      <a:pt x="116" y="226"/>
                    </a:moveTo>
                    <a:cubicBezTo>
                      <a:pt x="114" y="226"/>
                      <a:pt x="113" y="225"/>
                      <a:pt x="113" y="223"/>
                    </a:cubicBezTo>
                    <a:cubicBezTo>
                      <a:pt x="113" y="222"/>
                      <a:pt x="114" y="220"/>
                      <a:pt x="116" y="220"/>
                    </a:cubicBezTo>
                    <a:cubicBezTo>
                      <a:pt x="133" y="221"/>
                      <a:pt x="144" y="215"/>
                      <a:pt x="144" y="204"/>
                    </a:cubicBezTo>
                    <a:cubicBezTo>
                      <a:pt x="144" y="198"/>
                      <a:pt x="140" y="194"/>
                      <a:pt x="133" y="194"/>
                    </a:cubicBezTo>
                    <a:cubicBezTo>
                      <a:pt x="126" y="194"/>
                      <a:pt x="122" y="196"/>
                      <a:pt x="120" y="198"/>
                    </a:cubicBezTo>
                    <a:cubicBezTo>
                      <a:pt x="116" y="199"/>
                      <a:pt x="115" y="197"/>
                      <a:pt x="115" y="195"/>
                    </a:cubicBezTo>
                    <a:cubicBezTo>
                      <a:pt x="115" y="174"/>
                      <a:pt x="115" y="174"/>
                      <a:pt x="115" y="174"/>
                    </a:cubicBezTo>
                    <a:cubicBezTo>
                      <a:pt x="115" y="171"/>
                      <a:pt x="117" y="170"/>
                      <a:pt x="120" y="170"/>
                    </a:cubicBezTo>
                    <a:cubicBezTo>
                      <a:pt x="144" y="169"/>
                      <a:pt x="144" y="169"/>
                      <a:pt x="144" y="169"/>
                    </a:cubicBezTo>
                    <a:cubicBezTo>
                      <a:pt x="145" y="169"/>
                      <a:pt x="147" y="171"/>
                      <a:pt x="147" y="172"/>
                    </a:cubicBezTo>
                    <a:cubicBezTo>
                      <a:pt x="147" y="174"/>
                      <a:pt x="145" y="175"/>
                      <a:pt x="144" y="175"/>
                    </a:cubicBezTo>
                    <a:cubicBezTo>
                      <a:pt x="120" y="175"/>
                      <a:pt x="120" y="175"/>
                      <a:pt x="120" y="175"/>
                    </a:cubicBezTo>
                    <a:cubicBezTo>
                      <a:pt x="120" y="192"/>
                      <a:pt x="120" y="192"/>
                      <a:pt x="120" y="192"/>
                    </a:cubicBezTo>
                    <a:cubicBezTo>
                      <a:pt x="123" y="190"/>
                      <a:pt x="127" y="189"/>
                      <a:pt x="133" y="189"/>
                    </a:cubicBezTo>
                    <a:cubicBezTo>
                      <a:pt x="143" y="189"/>
                      <a:pt x="150" y="195"/>
                      <a:pt x="150" y="204"/>
                    </a:cubicBezTo>
                    <a:cubicBezTo>
                      <a:pt x="150" y="218"/>
                      <a:pt x="137" y="227"/>
                      <a:pt x="116" y="226"/>
                    </a:cubicBezTo>
                    <a:close/>
                    <a:moveTo>
                      <a:pt x="74" y="300"/>
                    </a:moveTo>
                    <a:cubicBezTo>
                      <a:pt x="319" y="300"/>
                      <a:pt x="319" y="300"/>
                      <a:pt x="319" y="300"/>
                    </a:cubicBezTo>
                    <a:cubicBezTo>
                      <a:pt x="323" y="300"/>
                      <a:pt x="327" y="297"/>
                      <a:pt x="327" y="292"/>
                    </a:cubicBezTo>
                    <a:cubicBezTo>
                      <a:pt x="327" y="288"/>
                      <a:pt x="323" y="284"/>
                      <a:pt x="319" y="284"/>
                    </a:cubicBezTo>
                    <a:cubicBezTo>
                      <a:pt x="74" y="284"/>
                      <a:pt x="74" y="284"/>
                      <a:pt x="74" y="284"/>
                    </a:cubicBezTo>
                    <a:cubicBezTo>
                      <a:pt x="70" y="284"/>
                      <a:pt x="66" y="288"/>
                      <a:pt x="66" y="292"/>
                    </a:cubicBezTo>
                    <a:cubicBezTo>
                      <a:pt x="66" y="297"/>
                      <a:pt x="70" y="300"/>
                      <a:pt x="74" y="300"/>
                    </a:cubicBezTo>
                    <a:close/>
                    <a:moveTo>
                      <a:pt x="37" y="159"/>
                    </a:moveTo>
                    <a:cubicBezTo>
                      <a:pt x="37" y="236"/>
                      <a:pt x="37" y="236"/>
                      <a:pt x="37" y="236"/>
                    </a:cubicBezTo>
                    <a:cubicBezTo>
                      <a:pt x="37" y="242"/>
                      <a:pt x="41" y="246"/>
                      <a:pt x="47" y="246"/>
                    </a:cubicBezTo>
                    <a:cubicBezTo>
                      <a:pt x="84" y="246"/>
                      <a:pt x="84" y="246"/>
                      <a:pt x="84" y="246"/>
                    </a:cubicBezTo>
                    <a:cubicBezTo>
                      <a:pt x="90" y="246"/>
                      <a:pt x="95" y="242"/>
                      <a:pt x="95" y="236"/>
                    </a:cubicBezTo>
                    <a:cubicBezTo>
                      <a:pt x="95" y="159"/>
                      <a:pt x="95" y="159"/>
                      <a:pt x="95" y="159"/>
                    </a:cubicBezTo>
                    <a:cubicBezTo>
                      <a:pt x="95" y="154"/>
                      <a:pt x="90" y="149"/>
                      <a:pt x="84" y="149"/>
                    </a:cubicBezTo>
                    <a:cubicBezTo>
                      <a:pt x="47" y="149"/>
                      <a:pt x="47" y="149"/>
                      <a:pt x="47" y="149"/>
                    </a:cubicBezTo>
                    <a:cubicBezTo>
                      <a:pt x="41" y="149"/>
                      <a:pt x="37" y="154"/>
                      <a:pt x="37" y="159"/>
                    </a:cubicBezTo>
                    <a:close/>
                    <a:moveTo>
                      <a:pt x="65" y="175"/>
                    </a:moveTo>
                    <a:cubicBezTo>
                      <a:pt x="59" y="175"/>
                      <a:pt x="55" y="177"/>
                      <a:pt x="53" y="181"/>
                    </a:cubicBezTo>
                    <a:cubicBezTo>
                      <a:pt x="53" y="181"/>
                      <a:pt x="52" y="182"/>
                      <a:pt x="51" y="182"/>
                    </a:cubicBezTo>
                    <a:cubicBezTo>
                      <a:pt x="50" y="182"/>
                      <a:pt x="48" y="181"/>
                      <a:pt x="48" y="180"/>
                    </a:cubicBezTo>
                    <a:cubicBezTo>
                      <a:pt x="47" y="179"/>
                      <a:pt x="48" y="178"/>
                      <a:pt x="48" y="178"/>
                    </a:cubicBezTo>
                    <a:cubicBezTo>
                      <a:pt x="51" y="174"/>
                      <a:pt x="56" y="169"/>
                      <a:pt x="65" y="169"/>
                    </a:cubicBezTo>
                    <a:cubicBezTo>
                      <a:pt x="77" y="169"/>
                      <a:pt x="83" y="176"/>
                      <a:pt x="83" y="184"/>
                    </a:cubicBezTo>
                    <a:cubicBezTo>
                      <a:pt x="83" y="193"/>
                      <a:pt x="78" y="197"/>
                      <a:pt x="65" y="206"/>
                    </a:cubicBezTo>
                    <a:cubicBezTo>
                      <a:pt x="57" y="212"/>
                      <a:pt x="53" y="216"/>
                      <a:pt x="53" y="220"/>
                    </a:cubicBezTo>
                    <a:cubicBezTo>
                      <a:pt x="81" y="220"/>
                      <a:pt x="81" y="220"/>
                      <a:pt x="81" y="220"/>
                    </a:cubicBezTo>
                    <a:cubicBezTo>
                      <a:pt x="83" y="220"/>
                      <a:pt x="84" y="222"/>
                      <a:pt x="84" y="223"/>
                    </a:cubicBezTo>
                    <a:cubicBezTo>
                      <a:pt x="84" y="225"/>
                      <a:pt x="83" y="226"/>
                      <a:pt x="81" y="226"/>
                    </a:cubicBezTo>
                    <a:cubicBezTo>
                      <a:pt x="52" y="226"/>
                      <a:pt x="52" y="226"/>
                      <a:pt x="52" y="226"/>
                    </a:cubicBezTo>
                    <a:cubicBezTo>
                      <a:pt x="49" y="226"/>
                      <a:pt x="48" y="224"/>
                      <a:pt x="48" y="222"/>
                    </a:cubicBezTo>
                    <a:cubicBezTo>
                      <a:pt x="48" y="215"/>
                      <a:pt x="51" y="209"/>
                      <a:pt x="60" y="203"/>
                    </a:cubicBezTo>
                    <a:cubicBezTo>
                      <a:pt x="73" y="194"/>
                      <a:pt x="77" y="191"/>
                      <a:pt x="77" y="184"/>
                    </a:cubicBezTo>
                    <a:cubicBezTo>
                      <a:pt x="77" y="180"/>
                      <a:pt x="74" y="175"/>
                      <a:pt x="65" y="175"/>
                    </a:cubicBezTo>
                    <a:close/>
                    <a:moveTo>
                      <a:pt x="179" y="149"/>
                    </a:moveTo>
                    <a:cubicBezTo>
                      <a:pt x="173" y="149"/>
                      <a:pt x="168" y="154"/>
                      <a:pt x="168" y="159"/>
                    </a:cubicBezTo>
                    <a:cubicBezTo>
                      <a:pt x="168" y="236"/>
                      <a:pt x="168" y="236"/>
                      <a:pt x="168" y="236"/>
                    </a:cubicBezTo>
                    <a:cubicBezTo>
                      <a:pt x="168" y="242"/>
                      <a:pt x="173" y="246"/>
                      <a:pt x="179" y="246"/>
                    </a:cubicBezTo>
                    <a:cubicBezTo>
                      <a:pt x="216" y="246"/>
                      <a:pt x="216" y="246"/>
                      <a:pt x="216" y="246"/>
                    </a:cubicBezTo>
                    <a:cubicBezTo>
                      <a:pt x="222" y="246"/>
                      <a:pt x="226" y="242"/>
                      <a:pt x="226" y="236"/>
                    </a:cubicBezTo>
                    <a:cubicBezTo>
                      <a:pt x="226" y="159"/>
                      <a:pt x="226" y="159"/>
                      <a:pt x="226" y="159"/>
                    </a:cubicBezTo>
                    <a:cubicBezTo>
                      <a:pt x="226" y="154"/>
                      <a:pt x="222" y="149"/>
                      <a:pt x="216" y="149"/>
                    </a:cubicBezTo>
                    <a:lnTo>
                      <a:pt x="179" y="149"/>
                    </a:lnTo>
                    <a:close/>
                    <a:moveTo>
                      <a:pt x="182" y="226"/>
                    </a:moveTo>
                    <a:cubicBezTo>
                      <a:pt x="180" y="226"/>
                      <a:pt x="179" y="225"/>
                      <a:pt x="179" y="223"/>
                    </a:cubicBezTo>
                    <a:cubicBezTo>
                      <a:pt x="179" y="221"/>
                      <a:pt x="180" y="220"/>
                      <a:pt x="182" y="220"/>
                    </a:cubicBezTo>
                    <a:cubicBezTo>
                      <a:pt x="199" y="221"/>
                      <a:pt x="210" y="216"/>
                      <a:pt x="210" y="205"/>
                    </a:cubicBezTo>
                    <a:cubicBezTo>
                      <a:pt x="210" y="199"/>
                      <a:pt x="205" y="195"/>
                      <a:pt x="198" y="195"/>
                    </a:cubicBezTo>
                    <a:cubicBezTo>
                      <a:pt x="195" y="195"/>
                      <a:pt x="194" y="196"/>
                      <a:pt x="193" y="196"/>
                    </a:cubicBezTo>
                    <a:cubicBezTo>
                      <a:pt x="191" y="196"/>
                      <a:pt x="190" y="194"/>
                      <a:pt x="190" y="193"/>
                    </a:cubicBezTo>
                    <a:cubicBezTo>
                      <a:pt x="190" y="192"/>
                      <a:pt x="190" y="192"/>
                      <a:pt x="191" y="191"/>
                    </a:cubicBezTo>
                    <a:cubicBezTo>
                      <a:pt x="205" y="175"/>
                      <a:pt x="205" y="175"/>
                      <a:pt x="205" y="175"/>
                    </a:cubicBezTo>
                    <a:cubicBezTo>
                      <a:pt x="182" y="175"/>
                      <a:pt x="182" y="175"/>
                      <a:pt x="182" y="175"/>
                    </a:cubicBezTo>
                    <a:cubicBezTo>
                      <a:pt x="180" y="175"/>
                      <a:pt x="179" y="174"/>
                      <a:pt x="179" y="172"/>
                    </a:cubicBezTo>
                    <a:cubicBezTo>
                      <a:pt x="179" y="171"/>
                      <a:pt x="180" y="169"/>
                      <a:pt x="182" y="169"/>
                    </a:cubicBezTo>
                    <a:cubicBezTo>
                      <a:pt x="208" y="169"/>
                      <a:pt x="208" y="169"/>
                      <a:pt x="208" y="169"/>
                    </a:cubicBezTo>
                    <a:cubicBezTo>
                      <a:pt x="210" y="169"/>
                      <a:pt x="212" y="171"/>
                      <a:pt x="212" y="174"/>
                    </a:cubicBezTo>
                    <a:cubicBezTo>
                      <a:pt x="212" y="174"/>
                      <a:pt x="212" y="175"/>
                      <a:pt x="211" y="176"/>
                    </a:cubicBezTo>
                    <a:cubicBezTo>
                      <a:pt x="199" y="190"/>
                      <a:pt x="199" y="190"/>
                      <a:pt x="199" y="190"/>
                    </a:cubicBezTo>
                    <a:cubicBezTo>
                      <a:pt x="208" y="190"/>
                      <a:pt x="216" y="196"/>
                      <a:pt x="216" y="205"/>
                    </a:cubicBezTo>
                    <a:cubicBezTo>
                      <a:pt x="216" y="219"/>
                      <a:pt x="203" y="227"/>
                      <a:pt x="182" y="226"/>
                    </a:cubicBezTo>
                    <a:close/>
                    <a:moveTo>
                      <a:pt x="358" y="236"/>
                    </a:moveTo>
                    <a:cubicBezTo>
                      <a:pt x="358" y="159"/>
                      <a:pt x="358" y="159"/>
                      <a:pt x="358" y="159"/>
                    </a:cubicBezTo>
                    <a:cubicBezTo>
                      <a:pt x="358" y="154"/>
                      <a:pt x="353" y="149"/>
                      <a:pt x="348" y="149"/>
                    </a:cubicBezTo>
                    <a:cubicBezTo>
                      <a:pt x="310" y="149"/>
                      <a:pt x="310" y="149"/>
                      <a:pt x="310" y="149"/>
                    </a:cubicBezTo>
                    <a:cubicBezTo>
                      <a:pt x="305" y="149"/>
                      <a:pt x="300" y="154"/>
                      <a:pt x="300" y="159"/>
                    </a:cubicBezTo>
                    <a:cubicBezTo>
                      <a:pt x="300" y="236"/>
                      <a:pt x="300" y="236"/>
                      <a:pt x="300" y="236"/>
                    </a:cubicBezTo>
                    <a:cubicBezTo>
                      <a:pt x="300" y="242"/>
                      <a:pt x="305" y="246"/>
                      <a:pt x="310" y="246"/>
                    </a:cubicBezTo>
                    <a:cubicBezTo>
                      <a:pt x="348" y="246"/>
                      <a:pt x="348" y="246"/>
                      <a:pt x="348" y="246"/>
                    </a:cubicBezTo>
                    <a:cubicBezTo>
                      <a:pt x="353" y="246"/>
                      <a:pt x="358" y="242"/>
                      <a:pt x="358" y="236"/>
                    </a:cubicBezTo>
                    <a:close/>
                    <a:moveTo>
                      <a:pt x="315" y="226"/>
                    </a:moveTo>
                    <a:cubicBezTo>
                      <a:pt x="314" y="226"/>
                      <a:pt x="313" y="225"/>
                      <a:pt x="312" y="224"/>
                    </a:cubicBezTo>
                    <a:cubicBezTo>
                      <a:pt x="312" y="222"/>
                      <a:pt x="314" y="221"/>
                      <a:pt x="315" y="221"/>
                    </a:cubicBezTo>
                    <a:cubicBezTo>
                      <a:pt x="334" y="221"/>
                      <a:pt x="343" y="216"/>
                      <a:pt x="343" y="197"/>
                    </a:cubicBezTo>
                    <a:cubicBezTo>
                      <a:pt x="343" y="194"/>
                      <a:pt x="343" y="191"/>
                      <a:pt x="343" y="189"/>
                    </a:cubicBezTo>
                    <a:cubicBezTo>
                      <a:pt x="342" y="179"/>
                      <a:pt x="338" y="174"/>
                      <a:pt x="328" y="174"/>
                    </a:cubicBezTo>
                    <a:cubicBezTo>
                      <a:pt x="319" y="174"/>
                      <a:pt x="315" y="179"/>
                      <a:pt x="315" y="187"/>
                    </a:cubicBezTo>
                    <a:cubicBezTo>
                      <a:pt x="315" y="196"/>
                      <a:pt x="318" y="200"/>
                      <a:pt x="328" y="200"/>
                    </a:cubicBezTo>
                    <a:cubicBezTo>
                      <a:pt x="330" y="200"/>
                      <a:pt x="332" y="199"/>
                      <a:pt x="336" y="198"/>
                    </a:cubicBezTo>
                    <a:cubicBezTo>
                      <a:pt x="338" y="198"/>
                      <a:pt x="339" y="199"/>
                      <a:pt x="339" y="200"/>
                    </a:cubicBezTo>
                    <a:cubicBezTo>
                      <a:pt x="340" y="202"/>
                      <a:pt x="339" y="203"/>
                      <a:pt x="337" y="204"/>
                    </a:cubicBezTo>
                    <a:cubicBezTo>
                      <a:pt x="334" y="204"/>
                      <a:pt x="332" y="205"/>
                      <a:pt x="328" y="205"/>
                    </a:cubicBezTo>
                    <a:cubicBezTo>
                      <a:pt x="316" y="205"/>
                      <a:pt x="309" y="199"/>
                      <a:pt x="309" y="188"/>
                    </a:cubicBezTo>
                    <a:cubicBezTo>
                      <a:pt x="309" y="178"/>
                      <a:pt x="316" y="169"/>
                      <a:pt x="328" y="169"/>
                    </a:cubicBezTo>
                    <a:cubicBezTo>
                      <a:pt x="341" y="169"/>
                      <a:pt x="348" y="176"/>
                      <a:pt x="349" y="189"/>
                    </a:cubicBezTo>
                    <a:cubicBezTo>
                      <a:pt x="349" y="191"/>
                      <a:pt x="349" y="193"/>
                      <a:pt x="349" y="197"/>
                    </a:cubicBezTo>
                    <a:cubicBezTo>
                      <a:pt x="348" y="219"/>
                      <a:pt x="337" y="226"/>
                      <a:pt x="315" y="2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86" name="Freeform 9"/>
              <p:cNvSpPr>
                <a:spLocks noEditPoints="1"/>
              </p:cNvSpPr>
              <p:nvPr/>
            </p:nvSpPr>
            <p:spPr bwMode="auto">
              <a:xfrm>
                <a:off x="5709360" y="3459064"/>
                <a:ext cx="184988" cy="145953"/>
              </a:xfrm>
              <a:custGeom>
                <a:avLst/>
                <a:gdLst>
                  <a:gd name="T0" fmla="*/ 2147483647 w 467"/>
                  <a:gd name="T1" fmla="*/ 2147483647 h 377"/>
                  <a:gd name="T2" fmla="*/ 2147483647 w 467"/>
                  <a:gd name="T3" fmla="*/ 2147483647 h 377"/>
                  <a:gd name="T4" fmla="*/ 2147483647 w 467"/>
                  <a:gd name="T5" fmla="*/ 2147483647 h 377"/>
                  <a:gd name="T6" fmla="*/ 2147483647 w 467"/>
                  <a:gd name="T7" fmla="*/ 0 h 377"/>
                  <a:gd name="T8" fmla="*/ 2147483647 w 467"/>
                  <a:gd name="T9" fmla="*/ 0 h 377"/>
                  <a:gd name="T10" fmla="*/ 0 w 467"/>
                  <a:gd name="T11" fmla="*/ 2147483647 h 377"/>
                  <a:gd name="T12" fmla="*/ 0 w 467"/>
                  <a:gd name="T13" fmla="*/ 2147483647 h 377"/>
                  <a:gd name="T14" fmla="*/ 2147483647 w 467"/>
                  <a:gd name="T15" fmla="*/ 2147483647 h 377"/>
                  <a:gd name="T16" fmla="*/ 2147483647 w 467"/>
                  <a:gd name="T17" fmla="*/ 2147483647 h 377"/>
                  <a:gd name="T18" fmla="*/ 2147483647 w 467"/>
                  <a:gd name="T19" fmla="*/ 2147483647 h 377"/>
                  <a:gd name="T20" fmla="*/ 2147483647 w 467"/>
                  <a:gd name="T21" fmla="*/ 2147483647 h 377"/>
                  <a:gd name="T22" fmla="*/ 2147483647 w 467"/>
                  <a:gd name="T23" fmla="*/ 2147483647 h 377"/>
                  <a:gd name="T24" fmla="*/ 2147483647 w 467"/>
                  <a:gd name="T25" fmla="*/ 2147483647 h 377"/>
                  <a:gd name="T26" fmla="*/ 2147483647 w 467"/>
                  <a:gd name="T27" fmla="*/ 2147483647 h 377"/>
                  <a:gd name="T28" fmla="*/ 2147483647 w 467"/>
                  <a:gd name="T29" fmla="*/ 2147483647 h 377"/>
                  <a:gd name="T30" fmla="*/ 2147483647 w 467"/>
                  <a:gd name="T31" fmla="*/ 2147483647 h 377"/>
                  <a:gd name="T32" fmla="*/ 2147483647 w 467"/>
                  <a:gd name="T33" fmla="*/ 2147483647 h 377"/>
                  <a:gd name="T34" fmla="*/ 2147483647 w 467"/>
                  <a:gd name="T35" fmla="*/ 2147483647 h 377"/>
                  <a:gd name="T36" fmla="*/ 2147483647 w 467"/>
                  <a:gd name="T37" fmla="*/ 2147483647 h 377"/>
                  <a:gd name="T38" fmla="*/ 2147483647 w 467"/>
                  <a:gd name="T39" fmla="*/ 2147483647 h 377"/>
                  <a:gd name="T40" fmla="*/ 2147483647 w 467"/>
                  <a:gd name="T41" fmla="*/ 2147483647 h 377"/>
                  <a:gd name="T42" fmla="*/ 2147483647 w 467"/>
                  <a:gd name="T43" fmla="*/ 2147483647 h 377"/>
                  <a:gd name="T44" fmla="*/ 2147483647 w 467"/>
                  <a:gd name="T45" fmla="*/ 2147483647 h 377"/>
                  <a:gd name="T46" fmla="*/ 2147483647 w 467"/>
                  <a:gd name="T47" fmla="*/ 2147483647 h 377"/>
                  <a:gd name="T48" fmla="*/ 2147483647 w 467"/>
                  <a:gd name="T49" fmla="*/ 2147483647 h 377"/>
                  <a:gd name="T50" fmla="*/ 2147483647 w 467"/>
                  <a:gd name="T51" fmla="*/ 2147483647 h 377"/>
                  <a:gd name="T52" fmla="*/ 2147483647 w 467"/>
                  <a:gd name="T53" fmla="*/ 2147483647 h 377"/>
                  <a:gd name="T54" fmla="*/ 2147483647 w 467"/>
                  <a:gd name="T55" fmla="*/ 2147483647 h 377"/>
                  <a:gd name="T56" fmla="*/ 2147483647 w 467"/>
                  <a:gd name="T57" fmla="*/ 2147483647 h 377"/>
                  <a:gd name="T58" fmla="*/ 2147483647 w 467"/>
                  <a:gd name="T59" fmla="*/ 2147483647 h 377"/>
                  <a:gd name="T60" fmla="*/ 2147483647 w 467"/>
                  <a:gd name="T61" fmla="*/ 2147483647 h 377"/>
                  <a:gd name="T62" fmla="*/ 2147483647 w 467"/>
                  <a:gd name="T63" fmla="*/ 2147483647 h 377"/>
                  <a:gd name="T64" fmla="*/ 2147483647 w 467"/>
                  <a:gd name="T65" fmla="*/ 2147483647 h 377"/>
                  <a:gd name="T66" fmla="*/ 2147483647 w 467"/>
                  <a:gd name="T67" fmla="*/ 2147483647 h 377"/>
                  <a:gd name="T68" fmla="*/ 2147483647 w 467"/>
                  <a:gd name="T69" fmla="*/ 2147483647 h 377"/>
                  <a:gd name="T70" fmla="*/ 2147483647 w 467"/>
                  <a:gd name="T71" fmla="*/ 2147483647 h 377"/>
                  <a:gd name="T72" fmla="*/ 2147483647 w 467"/>
                  <a:gd name="T73" fmla="*/ 2147483647 h 377"/>
                  <a:gd name="T74" fmla="*/ 2147483647 w 467"/>
                  <a:gd name="T75" fmla="*/ 2147483647 h 377"/>
                  <a:gd name="T76" fmla="*/ 2147483647 w 467"/>
                  <a:gd name="T77" fmla="*/ 2147483647 h 377"/>
                  <a:gd name="T78" fmla="*/ 2147483647 w 467"/>
                  <a:gd name="T79" fmla="*/ 2147483647 h 377"/>
                  <a:gd name="T80" fmla="*/ 2147483647 w 467"/>
                  <a:gd name="T81" fmla="*/ 2147483647 h 377"/>
                  <a:gd name="T82" fmla="*/ 2147483647 w 467"/>
                  <a:gd name="T83" fmla="*/ 2147483647 h 377"/>
                  <a:gd name="T84" fmla="*/ 2147483647 w 467"/>
                  <a:gd name="T85" fmla="*/ 2147483647 h 377"/>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467" h="377">
                    <a:moveTo>
                      <a:pt x="459" y="42"/>
                    </a:moveTo>
                    <a:cubicBezTo>
                      <a:pt x="463" y="42"/>
                      <a:pt x="467" y="38"/>
                      <a:pt x="467" y="34"/>
                    </a:cubicBezTo>
                    <a:cubicBezTo>
                      <a:pt x="467" y="14"/>
                      <a:pt x="467" y="14"/>
                      <a:pt x="467" y="14"/>
                    </a:cubicBezTo>
                    <a:cubicBezTo>
                      <a:pt x="467" y="6"/>
                      <a:pt x="461" y="0"/>
                      <a:pt x="453" y="0"/>
                    </a:cubicBezTo>
                    <a:cubicBezTo>
                      <a:pt x="13" y="0"/>
                      <a:pt x="13" y="0"/>
                      <a:pt x="13" y="0"/>
                    </a:cubicBezTo>
                    <a:cubicBezTo>
                      <a:pt x="6" y="0"/>
                      <a:pt x="0" y="6"/>
                      <a:pt x="0" y="14"/>
                    </a:cubicBezTo>
                    <a:cubicBezTo>
                      <a:pt x="0" y="276"/>
                      <a:pt x="0" y="276"/>
                      <a:pt x="0" y="276"/>
                    </a:cubicBezTo>
                    <a:cubicBezTo>
                      <a:pt x="0" y="283"/>
                      <a:pt x="6" y="290"/>
                      <a:pt x="13" y="290"/>
                    </a:cubicBezTo>
                    <a:cubicBezTo>
                      <a:pt x="185" y="290"/>
                      <a:pt x="185" y="290"/>
                      <a:pt x="185" y="290"/>
                    </a:cubicBezTo>
                    <a:cubicBezTo>
                      <a:pt x="185" y="314"/>
                      <a:pt x="185" y="314"/>
                      <a:pt x="185" y="314"/>
                    </a:cubicBezTo>
                    <a:cubicBezTo>
                      <a:pt x="117" y="314"/>
                      <a:pt x="117" y="314"/>
                      <a:pt x="117" y="314"/>
                    </a:cubicBezTo>
                    <a:cubicBezTo>
                      <a:pt x="115" y="314"/>
                      <a:pt x="114" y="314"/>
                      <a:pt x="112" y="315"/>
                    </a:cubicBezTo>
                    <a:cubicBezTo>
                      <a:pt x="40" y="362"/>
                      <a:pt x="40" y="362"/>
                      <a:pt x="40" y="362"/>
                    </a:cubicBezTo>
                    <a:cubicBezTo>
                      <a:pt x="37" y="364"/>
                      <a:pt x="35" y="368"/>
                      <a:pt x="36" y="371"/>
                    </a:cubicBezTo>
                    <a:cubicBezTo>
                      <a:pt x="37" y="375"/>
                      <a:pt x="41" y="377"/>
                      <a:pt x="44" y="377"/>
                    </a:cubicBezTo>
                    <a:cubicBezTo>
                      <a:pt x="422" y="377"/>
                      <a:pt x="422" y="377"/>
                      <a:pt x="422" y="377"/>
                    </a:cubicBezTo>
                    <a:cubicBezTo>
                      <a:pt x="426" y="377"/>
                      <a:pt x="429" y="375"/>
                      <a:pt x="430" y="371"/>
                    </a:cubicBezTo>
                    <a:cubicBezTo>
                      <a:pt x="431" y="368"/>
                      <a:pt x="429" y="364"/>
                      <a:pt x="426" y="362"/>
                    </a:cubicBezTo>
                    <a:cubicBezTo>
                      <a:pt x="354" y="315"/>
                      <a:pt x="354" y="315"/>
                      <a:pt x="354" y="315"/>
                    </a:cubicBezTo>
                    <a:cubicBezTo>
                      <a:pt x="352" y="314"/>
                      <a:pt x="351" y="314"/>
                      <a:pt x="349" y="314"/>
                    </a:cubicBezTo>
                    <a:cubicBezTo>
                      <a:pt x="281" y="314"/>
                      <a:pt x="281" y="314"/>
                      <a:pt x="281" y="314"/>
                    </a:cubicBezTo>
                    <a:cubicBezTo>
                      <a:pt x="281" y="290"/>
                      <a:pt x="281" y="290"/>
                      <a:pt x="281" y="290"/>
                    </a:cubicBezTo>
                    <a:cubicBezTo>
                      <a:pt x="453" y="290"/>
                      <a:pt x="453" y="290"/>
                      <a:pt x="453" y="290"/>
                    </a:cubicBezTo>
                    <a:cubicBezTo>
                      <a:pt x="461" y="290"/>
                      <a:pt x="467" y="283"/>
                      <a:pt x="467" y="276"/>
                    </a:cubicBezTo>
                    <a:cubicBezTo>
                      <a:pt x="467" y="66"/>
                      <a:pt x="467" y="66"/>
                      <a:pt x="467" y="66"/>
                    </a:cubicBezTo>
                    <a:cubicBezTo>
                      <a:pt x="467" y="61"/>
                      <a:pt x="463" y="58"/>
                      <a:pt x="459" y="58"/>
                    </a:cubicBezTo>
                    <a:cubicBezTo>
                      <a:pt x="454" y="58"/>
                      <a:pt x="451" y="61"/>
                      <a:pt x="451" y="66"/>
                    </a:cubicBezTo>
                    <a:cubicBezTo>
                      <a:pt x="451" y="274"/>
                      <a:pt x="451" y="274"/>
                      <a:pt x="451" y="274"/>
                    </a:cubicBezTo>
                    <a:cubicBezTo>
                      <a:pt x="16" y="274"/>
                      <a:pt x="16" y="274"/>
                      <a:pt x="16" y="274"/>
                    </a:cubicBezTo>
                    <a:cubicBezTo>
                      <a:pt x="16" y="16"/>
                      <a:pt x="16" y="16"/>
                      <a:pt x="16" y="16"/>
                    </a:cubicBezTo>
                    <a:cubicBezTo>
                      <a:pt x="451" y="16"/>
                      <a:pt x="451" y="16"/>
                      <a:pt x="451" y="16"/>
                    </a:cubicBezTo>
                    <a:cubicBezTo>
                      <a:pt x="451" y="34"/>
                      <a:pt x="451" y="34"/>
                      <a:pt x="451" y="34"/>
                    </a:cubicBezTo>
                    <a:cubicBezTo>
                      <a:pt x="451" y="38"/>
                      <a:pt x="454" y="42"/>
                      <a:pt x="459" y="42"/>
                    </a:cubicBezTo>
                    <a:close/>
                    <a:moveTo>
                      <a:pt x="347" y="330"/>
                    </a:moveTo>
                    <a:cubicBezTo>
                      <a:pt x="395" y="361"/>
                      <a:pt x="395" y="361"/>
                      <a:pt x="395" y="361"/>
                    </a:cubicBezTo>
                    <a:cubicBezTo>
                      <a:pt x="71" y="361"/>
                      <a:pt x="71" y="361"/>
                      <a:pt x="71" y="361"/>
                    </a:cubicBezTo>
                    <a:cubicBezTo>
                      <a:pt x="119" y="330"/>
                      <a:pt x="119" y="330"/>
                      <a:pt x="119" y="330"/>
                    </a:cubicBezTo>
                    <a:lnTo>
                      <a:pt x="347" y="330"/>
                    </a:lnTo>
                    <a:close/>
                    <a:moveTo>
                      <a:pt x="201" y="290"/>
                    </a:moveTo>
                    <a:cubicBezTo>
                      <a:pt x="265" y="290"/>
                      <a:pt x="265" y="290"/>
                      <a:pt x="265" y="290"/>
                    </a:cubicBezTo>
                    <a:cubicBezTo>
                      <a:pt x="265" y="314"/>
                      <a:pt x="265" y="314"/>
                      <a:pt x="265" y="314"/>
                    </a:cubicBezTo>
                    <a:cubicBezTo>
                      <a:pt x="201" y="314"/>
                      <a:pt x="201" y="314"/>
                      <a:pt x="201" y="314"/>
                    </a:cubicBezTo>
                    <a:lnTo>
                      <a:pt x="201" y="2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87" name="Freeform 3"/>
              <p:cNvSpPr>
                <a:spLocks noChangeAspect="1" noEditPoints="1"/>
              </p:cNvSpPr>
              <p:nvPr/>
            </p:nvSpPr>
            <p:spPr bwMode="auto">
              <a:xfrm>
                <a:off x="5520870" y="3455351"/>
                <a:ext cx="134217" cy="111023"/>
              </a:xfrm>
              <a:custGeom>
                <a:avLst/>
                <a:gdLst>
                  <a:gd name="T0" fmla="*/ 2147483647 w 339"/>
                  <a:gd name="T1" fmla="*/ 2147483647 h 287"/>
                  <a:gd name="T2" fmla="*/ 2147483647 w 339"/>
                  <a:gd name="T3" fmla="*/ 2147483647 h 287"/>
                  <a:gd name="T4" fmla="*/ 2147483647 w 339"/>
                  <a:gd name="T5" fmla="*/ 2147483647 h 287"/>
                  <a:gd name="T6" fmla="*/ 2147483647 w 339"/>
                  <a:gd name="T7" fmla="*/ 2147483647 h 287"/>
                  <a:gd name="T8" fmla="*/ 2147483647 w 339"/>
                  <a:gd name="T9" fmla="*/ 2147483647 h 287"/>
                  <a:gd name="T10" fmla="*/ 2147483647 w 339"/>
                  <a:gd name="T11" fmla="*/ 2147483647 h 287"/>
                  <a:gd name="T12" fmla="*/ 2147483647 w 339"/>
                  <a:gd name="T13" fmla="*/ 2147483647 h 287"/>
                  <a:gd name="T14" fmla="*/ 2147483647 w 339"/>
                  <a:gd name="T15" fmla="*/ 2147483647 h 287"/>
                  <a:gd name="T16" fmla="*/ 2147483647 w 339"/>
                  <a:gd name="T17" fmla="*/ 2147483647 h 287"/>
                  <a:gd name="T18" fmla="*/ 2147483647 w 339"/>
                  <a:gd name="T19" fmla="*/ 2147483647 h 287"/>
                  <a:gd name="T20" fmla="*/ 2147483647 w 339"/>
                  <a:gd name="T21" fmla="*/ 2147483647 h 287"/>
                  <a:gd name="T22" fmla="*/ 2147483647 w 339"/>
                  <a:gd name="T23" fmla="*/ 2147483647 h 287"/>
                  <a:gd name="T24" fmla="*/ 2147483647 w 339"/>
                  <a:gd name="T25" fmla="*/ 2147483647 h 287"/>
                  <a:gd name="T26" fmla="*/ 2147483647 w 339"/>
                  <a:gd name="T27" fmla="*/ 2147483647 h 287"/>
                  <a:gd name="T28" fmla="*/ 2147483647 w 339"/>
                  <a:gd name="T29" fmla="*/ 2147483647 h 287"/>
                  <a:gd name="T30" fmla="*/ 2147483647 w 339"/>
                  <a:gd name="T31" fmla="*/ 2147483647 h 287"/>
                  <a:gd name="T32" fmla="*/ 2147483647 w 339"/>
                  <a:gd name="T33" fmla="*/ 2147483647 h 287"/>
                  <a:gd name="T34" fmla="*/ 2147483647 w 339"/>
                  <a:gd name="T35" fmla="*/ 2147483647 h 287"/>
                  <a:gd name="T36" fmla="*/ 2147483647 w 339"/>
                  <a:gd name="T37" fmla="*/ 2147483647 h 287"/>
                  <a:gd name="T38" fmla="*/ 2147483647 w 339"/>
                  <a:gd name="T39" fmla="*/ 2147483647 h 287"/>
                  <a:gd name="T40" fmla="*/ 2147483647 w 339"/>
                  <a:gd name="T41" fmla="*/ 2147483647 h 287"/>
                  <a:gd name="T42" fmla="*/ 2147483647 w 339"/>
                  <a:gd name="T43" fmla="*/ 2147483647 h 287"/>
                  <a:gd name="T44" fmla="*/ 2147483647 w 339"/>
                  <a:gd name="T45" fmla="*/ 2147483647 h 287"/>
                  <a:gd name="T46" fmla="*/ 2147483647 w 339"/>
                  <a:gd name="T47" fmla="*/ 2147483647 h 287"/>
                  <a:gd name="T48" fmla="*/ 2147483647 w 339"/>
                  <a:gd name="T49" fmla="*/ 2147483647 h 287"/>
                  <a:gd name="T50" fmla="*/ 2147483647 w 339"/>
                  <a:gd name="T51" fmla="*/ 2147483647 h 287"/>
                  <a:gd name="T52" fmla="*/ 2147483647 w 339"/>
                  <a:gd name="T53" fmla="*/ 2147483647 h 287"/>
                  <a:gd name="T54" fmla="*/ 2147483647 w 339"/>
                  <a:gd name="T55" fmla="*/ 2147483647 h 287"/>
                  <a:gd name="T56" fmla="*/ 2147483647 w 339"/>
                  <a:gd name="T57" fmla="*/ 0 h 287"/>
                  <a:gd name="T58" fmla="*/ 2147483647 w 339"/>
                  <a:gd name="T59" fmla="*/ 0 h 287"/>
                  <a:gd name="T60" fmla="*/ 2147483647 w 339"/>
                  <a:gd name="T61" fmla="*/ 2147483647 h 287"/>
                  <a:gd name="T62" fmla="*/ 2147483647 w 339"/>
                  <a:gd name="T63" fmla="*/ 2147483647 h 287"/>
                  <a:gd name="T64" fmla="*/ 2147483647 w 339"/>
                  <a:gd name="T65" fmla="*/ 2147483647 h 287"/>
                  <a:gd name="T66" fmla="*/ 2147483647 w 339"/>
                  <a:gd name="T67" fmla="*/ 2147483647 h 287"/>
                  <a:gd name="T68" fmla="*/ 0 w 339"/>
                  <a:gd name="T69" fmla="*/ 2147483647 h 287"/>
                  <a:gd name="T70" fmla="*/ 0 w 339"/>
                  <a:gd name="T71" fmla="*/ 2147483647 h 287"/>
                  <a:gd name="T72" fmla="*/ 2147483647 w 339"/>
                  <a:gd name="T73" fmla="*/ 2147483647 h 287"/>
                  <a:gd name="T74" fmla="*/ 2147483647 w 339"/>
                  <a:gd name="T75" fmla="*/ 2147483647 h 287"/>
                  <a:gd name="T76" fmla="*/ 2147483647 w 339"/>
                  <a:gd name="T77" fmla="*/ 2147483647 h 287"/>
                  <a:gd name="T78" fmla="*/ 2147483647 w 339"/>
                  <a:gd name="T79" fmla="*/ 2147483647 h 287"/>
                  <a:gd name="T80" fmla="*/ 2147483647 w 339"/>
                  <a:gd name="T81" fmla="*/ 2147483647 h 28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339" h="287">
                    <a:moveTo>
                      <a:pt x="84" y="162"/>
                    </a:moveTo>
                    <a:cubicBezTo>
                      <a:pt x="84" y="209"/>
                      <a:pt x="122" y="247"/>
                      <a:pt x="169" y="247"/>
                    </a:cubicBezTo>
                    <a:cubicBezTo>
                      <a:pt x="216" y="247"/>
                      <a:pt x="254" y="209"/>
                      <a:pt x="254" y="162"/>
                    </a:cubicBezTo>
                    <a:cubicBezTo>
                      <a:pt x="254" y="115"/>
                      <a:pt x="216" y="77"/>
                      <a:pt x="169" y="77"/>
                    </a:cubicBezTo>
                    <a:cubicBezTo>
                      <a:pt x="122" y="77"/>
                      <a:pt x="84" y="115"/>
                      <a:pt x="84" y="162"/>
                    </a:cubicBezTo>
                    <a:close/>
                    <a:moveTo>
                      <a:pt x="238" y="162"/>
                    </a:moveTo>
                    <a:cubicBezTo>
                      <a:pt x="238" y="200"/>
                      <a:pt x="207" y="231"/>
                      <a:pt x="169" y="231"/>
                    </a:cubicBezTo>
                    <a:cubicBezTo>
                      <a:pt x="131" y="231"/>
                      <a:pt x="100" y="200"/>
                      <a:pt x="100" y="162"/>
                    </a:cubicBezTo>
                    <a:cubicBezTo>
                      <a:pt x="100" y="124"/>
                      <a:pt x="131" y="93"/>
                      <a:pt x="169" y="93"/>
                    </a:cubicBezTo>
                    <a:cubicBezTo>
                      <a:pt x="207" y="93"/>
                      <a:pt x="238" y="124"/>
                      <a:pt x="238" y="162"/>
                    </a:cubicBezTo>
                    <a:close/>
                    <a:moveTo>
                      <a:pt x="331" y="118"/>
                    </a:moveTo>
                    <a:cubicBezTo>
                      <a:pt x="326" y="118"/>
                      <a:pt x="323" y="121"/>
                      <a:pt x="323" y="126"/>
                    </a:cubicBezTo>
                    <a:cubicBezTo>
                      <a:pt x="323" y="240"/>
                      <a:pt x="323" y="240"/>
                      <a:pt x="323" y="240"/>
                    </a:cubicBezTo>
                    <a:cubicBezTo>
                      <a:pt x="323" y="257"/>
                      <a:pt x="309" y="271"/>
                      <a:pt x="292" y="271"/>
                    </a:cubicBezTo>
                    <a:cubicBezTo>
                      <a:pt x="47" y="271"/>
                      <a:pt x="47" y="271"/>
                      <a:pt x="47" y="271"/>
                    </a:cubicBezTo>
                    <a:cubicBezTo>
                      <a:pt x="30" y="271"/>
                      <a:pt x="16" y="257"/>
                      <a:pt x="16" y="240"/>
                    </a:cubicBezTo>
                    <a:cubicBezTo>
                      <a:pt x="16" y="84"/>
                      <a:pt x="16" y="84"/>
                      <a:pt x="16" y="84"/>
                    </a:cubicBezTo>
                    <a:cubicBezTo>
                      <a:pt x="16" y="67"/>
                      <a:pt x="30" y="54"/>
                      <a:pt x="47" y="53"/>
                    </a:cubicBezTo>
                    <a:cubicBezTo>
                      <a:pt x="292" y="53"/>
                      <a:pt x="292" y="53"/>
                      <a:pt x="292" y="53"/>
                    </a:cubicBezTo>
                    <a:cubicBezTo>
                      <a:pt x="309" y="54"/>
                      <a:pt x="323" y="67"/>
                      <a:pt x="323" y="84"/>
                    </a:cubicBezTo>
                    <a:cubicBezTo>
                      <a:pt x="323" y="94"/>
                      <a:pt x="323" y="94"/>
                      <a:pt x="323" y="94"/>
                    </a:cubicBezTo>
                    <a:cubicBezTo>
                      <a:pt x="323" y="99"/>
                      <a:pt x="326" y="102"/>
                      <a:pt x="331" y="102"/>
                    </a:cubicBezTo>
                    <a:cubicBezTo>
                      <a:pt x="335" y="102"/>
                      <a:pt x="339" y="99"/>
                      <a:pt x="339" y="94"/>
                    </a:cubicBezTo>
                    <a:cubicBezTo>
                      <a:pt x="339" y="84"/>
                      <a:pt x="339" y="84"/>
                      <a:pt x="339" y="84"/>
                    </a:cubicBezTo>
                    <a:cubicBezTo>
                      <a:pt x="339" y="58"/>
                      <a:pt x="318" y="37"/>
                      <a:pt x="292" y="37"/>
                    </a:cubicBezTo>
                    <a:cubicBezTo>
                      <a:pt x="96" y="37"/>
                      <a:pt x="96" y="37"/>
                      <a:pt x="96" y="37"/>
                    </a:cubicBezTo>
                    <a:cubicBezTo>
                      <a:pt x="98" y="35"/>
                      <a:pt x="98" y="33"/>
                      <a:pt x="98" y="30"/>
                    </a:cubicBezTo>
                    <a:cubicBezTo>
                      <a:pt x="98" y="16"/>
                      <a:pt x="98" y="16"/>
                      <a:pt x="98" y="16"/>
                    </a:cubicBezTo>
                    <a:cubicBezTo>
                      <a:pt x="98" y="7"/>
                      <a:pt x="91" y="0"/>
                      <a:pt x="83" y="0"/>
                    </a:cubicBezTo>
                    <a:cubicBezTo>
                      <a:pt x="62" y="0"/>
                      <a:pt x="62" y="0"/>
                      <a:pt x="62" y="0"/>
                    </a:cubicBezTo>
                    <a:cubicBezTo>
                      <a:pt x="53" y="0"/>
                      <a:pt x="46" y="7"/>
                      <a:pt x="46" y="16"/>
                    </a:cubicBezTo>
                    <a:cubicBezTo>
                      <a:pt x="46" y="30"/>
                      <a:pt x="46" y="30"/>
                      <a:pt x="46" y="30"/>
                    </a:cubicBezTo>
                    <a:cubicBezTo>
                      <a:pt x="46" y="33"/>
                      <a:pt x="47" y="35"/>
                      <a:pt x="48" y="37"/>
                    </a:cubicBezTo>
                    <a:cubicBezTo>
                      <a:pt x="47" y="37"/>
                      <a:pt x="47" y="37"/>
                      <a:pt x="47" y="37"/>
                    </a:cubicBezTo>
                    <a:cubicBezTo>
                      <a:pt x="21" y="37"/>
                      <a:pt x="0" y="58"/>
                      <a:pt x="0" y="84"/>
                    </a:cubicBezTo>
                    <a:cubicBezTo>
                      <a:pt x="0" y="240"/>
                      <a:pt x="0" y="240"/>
                      <a:pt x="0" y="240"/>
                    </a:cubicBezTo>
                    <a:cubicBezTo>
                      <a:pt x="0" y="266"/>
                      <a:pt x="21" y="287"/>
                      <a:pt x="47" y="287"/>
                    </a:cubicBezTo>
                    <a:cubicBezTo>
                      <a:pt x="292" y="287"/>
                      <a:pt x="292" y="287"/>
                      <a:pt x="292" y="287"/>
                    </a:cubicBezTo>
                    <a:cubicBezTo>
                      <a:pt x="318" y="287"/>
                      <a:pt x="339" y="266"/>
                      <a:pt x="339" y="240"/>
                    </a:cubicBezTo>
                    <a:cubicBezTo>
                      <a:pt x="339" y="126"/>
                      <a:pt x="339" y="126"/>
                      <a:pt x="339" y="126"/>
                    </a:cubicBezTo>
                    <a:cubicBezTo>
                      <a:pt x="339" y="121"/>
                      <a:pt x="335" y="118"/>
                      <a:pt x="331"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88" name="Freeform 3"/>
              <p:cNvSpPr>
                <a:spLocks noChangeAspect="1" noEditPoints="1"/>
              </p:cNvSpPr>
              <p:nvPr/>
            </p:nvSpPr>
            <p:spPr bwMode="auto">
              <a:xfrm>
                <a:off x="5290100" y="3267764"/>
                <a:ext cx="190684" cy="71171"/>
              </a:xfrm>
              <a:custGeom>
                <a:avLst/>
                <a:gdLst>
                  <a:gd name="T0" fmla="*/ 2147483647 w 482"/>
                  <a:gd name="T1" fmla="*/ 2147483647 h 184"/>
                  <a:gd name="T2" fmla="*/ 2147483647 w 482"/>
                  <a:gd name="T3" fmla="*/ 2147483647 h 184"/>
                  <a:gd name="T4" fmla="*/ 2147483647 w 482"/>
                  <a:gd name="T5" fmla="*/ 2147483647 h 184"/>
                  <a:gd name="T6" fmla="*/ 2147483647 w 482"/>
                  <a:gd name="T7" fmla="*/ 2147483647 h 184"/>
                  <a:gd name="T8" fmla="*/ 2147483647 w 482"/>
                  <a:gd name="T9" fmla="*/ 2147483647 h 184"/>
                  <a:gd name="T10" fmla="*/ 2147483647 w 482"/>
                  <a:gd name="T11" fmla="*/ 2147483647 h 184"/>
                  <a:gd name="T12" fmla="*/ 2147483647 w 482"/>
                  <a:gd name="T13" fmla="*/ 2147483647 h 184"/>
                  <a:gd name="T14" fmla="*/ 2147483647 w 482"/>
                  <a:gd name="T15" fmla="*/ 0 h 184"/>
                  <a:gd name="T16" fmla="*/ 0 w 482"/>
                  <a:gd name="T17" fmla="*/ 2147483647 h 184"/>
                  <a:gd name="T18" fmla="*/ 2147483647 w 482"/>
                  <a:gd name="T19" fmla="*/ 2147483647 h 184"/>
                  <a:gd name="T20" fmla="*/ 2147483647 w 482"/>
                  <a:gd name="T21" fmla="*/ 2147483647 h 184"/>
                  <a:gd name="T22" fmla="*/ 2147483647 w 482"/>
                  <a:gd name="T23" fmla="*/ 2147483647 h 184"/>
                  <a:gd name="T24" fmla="*/ 2147483647 w 482"/>
                  <a:gd name="T25" fmla="*/ 2147483647 h 184"/>
                  <a:gd name="T26" fmla="*/ 2147483647 w 482"/>
                  <a:gd name="T27" fmla="*/ 2147483647 h 184"/>
                  <a:gd name="T28" fmla="*/ 2147483647 w 482"/>
                  <a:gd name="T29" fmla="*/ 2147483647 h 184"/>
                  <a:gd name="T30" fmla="*/ 2147483647 w 482"/>
                  <a:gd name="T31" fmla="*/ 2147483647 h 184"/>
                  <a:gd name="T32" fmla="*/ 2147483647 w 482"/>
                  <a:gd name="T33" fmla="*/ 2147483647 h 184"/>
                  <a:gd name="T34" fmla="*/ 2147483647 w 482"/>
                  <a:gd name="T35" fmla="*/ 2147483647 h 184"/>
                  <a:gd name="T36" fmla="*/ 2147483647 w 482"/>
                  <a:gd name="T37" fmla="*/ 2147483647 h 184"/>
                  <a:gd name="T38" fmla="*/ 2147483647 w 482"/>
                  <a:gd name="T39" fmla="*/ 2147483647 h 184"/>
                  <a:gd name="T40" fmla="*/ 2147483647 w 482"/>
                  <a:gd name="T41" fmla="*/ 2147483647 h 184"/>
                  <a:gd name="T42" fmla="*/ 2147483647 w 482"/>
                  <a:gd name="T43" fmla="*/ 2147483647 h 184"/>
                  <a:gd name="T44" fmla="*/ 2147483647 w 482"/>
                  <a:gd name="T45" fmla="*/ 2147483647 h 184"/>
                  <a:gd name="T46" fmla="*/ 2147483647 w 482"/>
                  <a:gd name="T47" fmla="*/ 2147483647 h 184"/>
                  <a:gd name="T48" fmla="*/ 2147483647 w 482"/>
                  <a:gd name="T49" fmla="*/ 2147483647 h 184"/>
                  <a:gd name="T50" fmla="*/ 2147483647 w 482"/>
                  <a:gd name="T51" fmla="*/ 2147483647 h 184"/>
                  <a:gd name="T52" fmla="*/ 2147483647 w 482"/>
                  <a:gd name="T53" fmla="*/ 2147483647 h 184"/>
                  <a:gd name="T54" fmla="*/ 2147483647 w 482"/>
                  <a:gd name="T55" fmla="*/ 2147483647 h 184"/>
                  <a:gd name="T56" fmla="*/ 2147483647 w 482"/>
                  <a:gd name="T57" fmla="*/ 2147483647 h 184"/>
                  <a:gd name="T58" fmla="*/ 2147483647 w 482"/>
                  <a:gd name="T59" fmla="*/ 2147483647 h 184"/>
                  <a:gd name="T60" fmla="*/ 2147483647 w 482"/>
                  <a:gd name="T61" fmla="*/ 2147483647 h 184"/>
                  <a:gd name="T62" fmla="*/ 2147483647 w 482"/>
                  <a:gd name="T63" fmla="*/ 2147483647 h 184"/>
                  <a:gd name="T64" fmla="*/ 2147483647 w 482"/>
                  <a:gd name="T65" fmla="*/ 2147483647 h 184"/>
                  <a:gd name="T66" fmla="*/ 2147483647 w 482"/>
                  <a:gd name="T67" fmla="*/ 2147483647 h 18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482" h="184">
                    <a:moveTo>
                      <a:pt x="46" y="134"/>
                    </a:moveTo>
                    <a:cubicBezTo>
                      <a:pt x="436" y="134"/>
                      <a:pt x="436" y="134"/>
                      <a:pt x="436" y="134"/>
                    </a:cubicBezTo>
                    <a:cubicBezTo>
                      <a:pt x="441" y="134"/>
                      <a:pt x="444" y="131"/>
                      <a:pt x="444" y="126"/>
                    </a:cubicBezTo>
                    <a:cubicBezTo>
                      <a:pt x="444" y="122"/>
                      <a:pt x="441" y="118"/>
                      <a:pt x="436" y="118"/>
                    </a:cubicBezTo>
                    <a:cubicBezTo>
                      <a:pt x="46" y="118"/>
                      <a:pt x="46" y="118"/>
                      <a:pt x="46" y="118"/>
                    </a:cubicBezTo>
                    <a:cubicBezTo>
                      <a:pt x="42" y="118"/>
                      <a:pt x="38" y="122"/>
                      <a:pt x="38" y="126"/>
                    </a:cubicBezTo>
                    <a:cubicBezTo>
                      <a:pt x="38" y="131"/>
                      <a:pt x="42" y="134"/>
                      <a:pt x="46" y="134"/>
                    </a:cubicBezTo>
                    <a:close/>
                    <a:moveTo>
                      <a:pt x="142" y="46"/>
                    </a:moveTo>
                    <a:cubicBezTo>
                      <a:pt x="142" y="36"/>
                      <a:pt x="134" y="28"/>
                      <a:pt x="124" y="28"/>
                    </a:cubicBezTo>
                    <a:cubicBezTo>
                      <a:pt x="113" y="28"/>
                      <a:pt x="105" y="36"/>
                      <a:pt x="105" y="46"/>
                    </a:cubicBezTo>
                    <a:cubicBezTo>
                      <a:pt x="105" y="56"/>
                      <a:pt x="113" y="65"/>
                      <a:pt x="124" y="65"/>
                    </a:cubicBezTo>
                    <a:cubicBezTo>
                      <a:pt x="134" y="65"/>
                      <a:pt x="142" y="56"/>
                      <a:pt x="142" y="46"/>
                    </a:cubicBezTo>
                    <a:close/>
                    <a:moveTo>
                      <a:pt x="474" y="48"/>
                    </a:moveTo>
                    <a:cubicBezTo>
                      <a:pt x="479" y="48"/>
                      <a:pt x="482" y="45"/>
                      <a:pt x="482" y="40"/>
                    </a:cubicBezTo>
                    <a:cubicBezTo>
                      <a:pt x="482" y="16"/>
                      <a:pt x="482" y="16"/>
                      <a:pt x="482" y="16"/>
                    </a:cubicBezTo>
                    <a:cubicBezTo>
                      <a:pt x="482" y="7"/>
                      <a:pt x="475" y="0"/>
                      <a:pt x="466" y="0"/>
                    </a:cubicBezTo>
                    <a:cubicBezTo>
                      <a:pt x="16" y="0"/>
                      <a:pt x="16" y="0"/>
                      <a:pt x="16" y="0"/>
                    </a:cubicBezTo>
                    <a:cubicBezTo>
                      <a:pt x="7" y="0"/>
                      <a:pt x="0" y="7"/>
                      <a:pt x="0" y="16"/>
                    </a:cubicBezTo>
                    <a:cubicBezTo>
                      <a:pt x="0" y="147"/>
                      <a:pt x="0" y="147"/>
                      <a:pt x="0" y="147"/>
                    </a:cubicBezTo>
                    <a:cubicBezTo>
                      <a:pt x="0" y="156"/>
                      <a:pt x="7" y="163"/>
                      <a:pt x="16" y="163"/>
                    </a:cubicBezTo>
                    <a:cubicBezTo>
                      <a:pt x="42" y="163"/>
                      <a:pt x="42" y="163"/>
                      <a:pt x="42" y="163"/>
                    </a:cubicBezTo>
                    <a:cubicBezTo>
                      <a:pt x="42" y="174"/>
                      <a:pt x="42" y="174"/>
                      <a:pt x="42" y="174"/>
                    </a:cubicBezTo>
                    <a:cubicBezTo>
                      <a:pt x="42" y="179"/>
                      <a:pt x="46" y="184"/>
                      <a:pt x="52" y="184"/>
                    </a:cubicBezTo>
                    <a:cubicBezTo>
                      <a:pt x="90" y="184"/>
                      <a:pt x="90" y="184"/>
                      <a:pt x="90" y="184"/>
                    </a:cubicBezTo>
                    <a:cubicBezTo>
                      <a:pt x="96" y="184"/>
                      <a:pt x="100" y="179"/>
                      <a:pt x="100" y="174"/>
                    </a:cubicBezTo>
                    <a:cubicBezTo>
                      <a:pt x="100" y="163"/>
                      <a:pt x="100" y="163"/>
                      <a:pt x="100" y="163"/>
                    </a:cubicBezTo>
                    <a:cubicBezTo>
                      <a:pt x="382" y="163"/>
                      <a:pt x="382" y="163"/>
                      <a:pt x="382" y="163"/>
                    </a:cubicBezTo>
                    <a:cubicBezTo>
                      <a:pt x="382" y="174"/>
                      <a:pt x="382" y="174"/>
                      <a:pt x="382" y="174"/>
                    </a:cubicBezTo>
                    <a:cubicBezTo>
                      <a:pt x="382" y="179"/>
                      <a:pt x="386" y="184"/>
                      <a:pt x="392" y="184"/>
                    </a:cubicBezTo>
                    <a:cubicBezTo>
                      <a:pt x="430" y="184"/>
                      <a:pt x="430" y="184"/>
                      <a:pt x="430" y="184"/>
                    </a:cubicBezTo>
                    <a:cubicBezTo>
                      <a:pt x="436" y="184"/>
                      <a:pt x="440" y="179"/>
                      <a:pt x="440" y="174"/>
                    </a:cubicBezTo>
                    <a:cubicBezTo>
                      <a:pt x="440" y="163"/>
                      <a:pt x="440" y="163"/>
                      <a:pt x="440" y="163"/>
                    </a:cubicBezTo>
                    <a:cubicBezTo>
                      <a:pt x="466" y="163"/>
                      <a:pt x="466" y="163"/>
                      <a:pt x="466" y="163"/>
                    </a:cubicBezTo>
                    <a:cubicBezTo>
                      <a:pt x="475" y="163"/>
                      <a:pt x="482" y="156"/>
                      <a:pt x="482" y="147"/>
                    </a:cubicBezTo>
                    <a:cubicBezTo>
                      <a:pt x="482" y="72"/>
                      <a:pt x="482" y="72"/>
                      <a:pt x="482" y="72"/>
                    </a:cubicBezTo>
                    <a:cubicBezTo>
                      <a:pt x="482" y="67"/>
                      <a:pt x="479" y="64"/>
                      <a:pt x="474" y="64"/>
                    </a:cubicBezTo>
                    <a:cubicBezTo>
                      <a:pt x="470" y="64"/>
                      <a:pt x="466" y="67"/>
                      <a:pt x="466" y="72"/>
                    </a:cubicBezTo>
                    <a:cubicBezTo>
                      <a:pt x="466" y="72"/>
                      <a:pt x="466" y="72"/>
                      <a:pt x="466" y="72"/>
                    </a:cubicBezTo>
                    <a:cubicBezTo>
                      <a:pt x="466" y="147"/>
                      <a:pt x="466" y="147"/>
                      <a:pt x="466" y="147"/>
                    </a:cubicBezTo>
                    <a:cubicBezTo>
                      <a:pt x="16" y="147"/>
                      <a:pt x="16" y="147"/>
                      <a:pt x="16" y="147"/>
                    </a:cubicBezTo>
                    <a:cubicBezTo>
                      <a:pt x="16" y="16"/>
                      <a:pt x="16" y="16"/>
                      <a:pt x="16" y="16"/>
                    </a:cubicBezTo>
                    <a:cubicBezTo>
                      <a:pt x="466" y="16"/>
                      <a:pt x="466" y="16"/>
                      <a:pt x="466" y="16"/>
                    </a:cubicBezTo>
                    <a:cubicBezTo>
                      <a:pt x="466" y="40"/>
                      <a:pt x="466" y="40"/>
                      <a:pt x="466" y="40"/>
                    </a:cubicBezTo>
                    <a:cubicBezTo>
                      <a:pt x="466" y="45"/>
                      <a:pt x="470" y="48"/>
                      <a:pt x="474" y="48"/>
                    </a:cubicBezTo>
                    <a:close/>
                    <a:moveTo>
                      <a:pt x="49" y="88"/>
                    </a:moveTo>
                    <a:cubicBezTo>
                      <a:pt x="78" y="88"/>
                      <a:pt x="78" y="88"/>
                      <a:pt x="78" y="88"/>
                    </a:cubicBezTo>
                    <a:cubicBezTo>
                      <a:pt x="82" y="88"/>
                      <a:pt x="86" y="84"/>
                      <a:pt x="86" y="80"/>
                    </a:cubicBezTo>
                    <a:cubicBezTo>
                      <a:pt x="86" y="36"/>
                      <a:pt x="86" y="36"/>
                      <a:pt x="86" y="36"/>
                    </a:cubicBezTo>
                    <a:cubicBezTo>
                      <a:pt x="86" y="32"/>
                      <a:pt x="82" y="28"/>
                      <a:pt x="78" y="28"/>
                    </a:cubicBezTo>
                    <a:cubicBezTo>
                      <a:pt x="49" y="28"/>
                      <a:pt x="49" y="28"/>
                      <a:pt x="49" y="28"/>
                    </a:cubicBezTo>
                    <a:cubicBezTo>
                      <a:pt x="44" y="28"/>
                      <a:pt x="41" y="32"/>
                      <a:pt x="41" y="36"/>
                    </a:cubicBezTo>
                    <a:cubicBezTo>
                      <a:pt x="41" y="80"/>
                      <a:pt x="41" y="80"/>
                      <a:pt x="41" y="80"/>
                    </a:cubicBezTo>
                    <a:cubicBezTo>
                      <a:pt x="41" y="84"/>
                      <a:pt x="44" y="88"/>
                      <a:pt x="49" y="88"/>
                    </a:cubicBezTo>
                    <a:close/>
                    <a:moveTo>
                      <a:pt x="310" y="46"/>
                    </a:moveTo>
                    <a:cubicBezTo>
                      <a:pt x="310" y="36"/>
                      <a:pt x="302" y="28"/>
                      <a:pt x="292" y="28"/>
                    </a:cubicBezTo>
                    <a:cubicBezTo>
                      <a:pt x="281" y="28"/>
                      <a:pt x="273" y="36"/>
                      <a:pt x="273" y="46"/>
                    </a:cubicBezTo>
                    <a:cubicBezTo>
                      <a:pt x="273" y="56"/>
                      <a:pt x="281" y="65"/>
                      <a:pt x="292" y="65"/>
                    </a:cubicBezTo>
                    <a:cubicBezTo>
                      <a:pt x="302" y="65"/>
                      <a:pt x="310" y="56"/>
                      <a:pt x="310" y="46"/>
                    </a:cubicBezTo>
                    <a:close/>
                    <a:moveTo>
                      <a:pt x="254" y="46"/>
                    </a:moveTo>
                    <a:cubicBezTo>
                      <a:pt x="254" y="36"/>
                      <a:pt x="246" y="28"/>
                      <a:pt x="236" y="28"/>
                    </a:cubicBezTo>
                    <a:cubicBezTo>
                      <a:pt x="225" y="28"/>
                      <a:pt x="217" y="36"/>
                      <a:pt x="217" y="46"/>
                    </a:cubicBezTo>
                    <a:cubicBezTo>
                      <a:pt x="217" y="56"/>
                      <a:pt x="225" y="65"/>
                      <a:pt x="236" y="65"/>
                    </a:cubicBezTo>
                    <a:cubicBezTo>
                      <a:pt x="246" y="65"/>
                      <a:pt x="254" y="56"/>
                      <a:pt x="254" y="46"/>
                    </a:cubicBezTo>
                    <a:close/>
                    <a:moveTo>
                      <a:pt x="198" y="46"/>
                    </a:moveTo>
                    <a:cubicBezTo>
                      <a:pt x="198" y="36"/>
                      <a:pt x="190" y="28"/>
                      <a:pt x="180" y="28"/>
                    </a:cubicBezTo>
                    <a:cubicBezTo>
                      <a:pt x="169" y="28"/>
                      <a:pt x="161" y="36"/>
                      <a:pt x="161" y="46"/>
                    </a:cubicBezTo>
                    <a:cubicBezTo>
                      <a:pt x="161" y="56"/>
                      <a:pt x="169" y="65"/>
                      <a:pt x="180" y="65"/>
                    </a:cubicBezTo>
                    <a:cubicBezTo>
                      <a:pt x="190" y="65"/>
                      <a:pt x="198" y="56"/>
                      <a:pt x="198"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89" name="Freeform 3"/>
              <p:cNvSpPr>
                <a:spLocks noChangeAspect="1" noEditPoints="1"/>
              </p:cNvSpPr>
              <p:nvPr/>
            </p:nvSpPr>
            <p:spPr bwMode="auto">
              <a:xfrm>
                <a:off x="4657589" y="3379774"/>
                <a:ext cx="189681" cy="180065"/>
              </a:xfrm>
              <a:custGeom>
                <a:avLst/>
                <a:gdLst>
                  <a:gd name="T0" fmla="*/ 2147483647 w 479"/>
                  <a:gd name="T1" fmla="*/ 2147483647 h 465"/>
                  <a:gd name="T2" fmla="*/ 2147483647 w 479"/>
                  <a:gd name="T3" fmla="*/ 0 h 465"/>
                  <a:gd name="T4" fmla="*/ 2147483647 w 479"/>
                  <a:gd name="T5" fmla="*/ 2147483647 h 465"/>
                  <a:gd name="T6" fmla="*/ 2147483647 w 479"/>
                  <a:gd name="T7" fmla="*/ 2147483647 h 465"/>
                  <a:gd name="T8" fmla="*/ 2147483647 w 479"/>
                  <a:gd name="T9" fmla="*/ 2147483647 h 465"/>
                  <a:gd name="T10" fmla="*/ 2147483647 w 479"/>
                  <a:gd name="T11" fmla="*/ 2147483647 h 465"/>
                  <a:gd name="T12" fmla="*/ 2147483647 w 479"/>
                  <a:gd name="T13" fmla="*/ 2147483647 h 465"/>
                  <a:gd name="T14" fmla="*/ 2147483647 w 479"/>
                  <a:gd name="T15" fmla="*/ 2147483647 h 465"/>
                  <a:gd name="T16" fmla="*/ 2147483647 w 479"/>
                  <a:gd name="T17" fmla="*/ 2147483647 h 465"/>
                  <a:gd name="T18" fmla="*/ 2147483647 w 479"/>
                  <a:gd name="T19" fmla="*/ 2147483647 h 465"/>
                  <a:gd name="T20" fmla="*/ 2147483647 w 479"/>
                  <a:gd name="T21" fmla="*/ 2147483647 h 465"/>
                  <a:gd name="T22" fmla="*/ 2147483647 w 479"/>
                  <a:gd name="T23" fmla="*/ 2147483647 h 465"/>
                  <a:gd name="T24" fmla="*/ 2147483647 w 479"/>
                  <a:gd name="T25" fmla="*/ 2147483647 h 465"/>
                  <a:gd name="T26" fmla="*/ 2147483647 w 479"/>
                  <a:gd name="T27" fmla="*/ 2147483647 h 465"/>
                  <a:gd name="T28" fmla="*/ 2147483647 w 479"/>
                  <a:gd name="T29" fmla="*/ 2147483647 h 465"/>
                  <a:gd name="T30" fmla="*/ 2147483647 w 479"/>
                  <a:gd name="T31" fmla="*/ 2147483647 h 465"/>
                  <a:gd name="T32" fmla="*/ 2147483647 w 479"/>
                  <a:gd name="T33" fmla="*/ 2147483647 h 465"/>
                  <a:gd name="T34" fmla="*/ 2147483647 w 479"/>
                  <a:gd name="T35" fmla="*/ 2147483647 h 465"/>
                  <a:gd name="T36" fmla="*/ 2147483647 w 479"/>
                  <a:gd name="T37" fmla="*/ 2147483647 h 465"/>
                  <a:gd name="T38" fmla="*/ 2147483647 w 479"/>
                  <a:gd name="T39" fmla="*/ 2147483647 h 465"/>
                  <a:gd name="T40" fmla="*/ 2147483647 w 479"/>
                  <a:gd name="T41" fmla="*/ 2147483647 h 465"/>
                  <a:gd name="T42" fmla="*/ 2147483647 w 479"/>
                  <a:gd name="T43" fmla="*/ 2147483647 h 465"/>
                  <a:gd name="T44" fmla="*/ 2147483647 w 479"/>
                  <a:gd name="T45" fmla="*/ 2147483647 h 465"/>
                  <a:gd name="T46" fmla="*/ 2147483647 w 479"/>
                  <a:gd name="T47" fmla="*/ 2147483647 h 465"/>
                  <a:gd name="T48" fmla="*/ 2147483647 w 479"/>
                  <a:gd name="T49" fmla="*/ 2147483647 h 465"/>
                  <a:gd name="T50" fmla="*/ 2147483647 w 479"/>
                  <a:gd name="T51" fmla="*/ 2147483647 h 465"/>
                  <a:gd name="T52" fmla="*/ 2147483647 w 479"/>
                  <a:gd name="T53" fmla="*/ 2147483647 h 465"/>
                  <a:gd name="T54" fmla="*/ 2147483647 w 479"/>
                  <a:gd name="T55" fmla="*/ 2147483647 h 465"/>
                  <a:gd name="T56" fmla="*/ 2147483647 w 479"/>
                  <a:gd name="T57" fmla="*/ 2147483647 h 465"/>
                  <a:gd name="T58" fmla="*/ 2147483647 w 479"/>
                  <a:gd name="T59" fmla="*/ 2147483647 h 465"/>
                  <a:gd name="T60" fmla="*/ 2147483647 w 479"/>
                  <a:gd name="T61" fmla="*/ 2147483647 h 465"/>
                  <a:gd name="T62" fmla="*/ 2147483647 w 479"/>
                  <a:gd name="T63" fmla="*/ 2147483647 h 465"/>
                  <a:gd name="T64" fmla="*/ 2147483647 w 479"/>
                  <a:gd name="T65" fmla="*/ 2147483647 h 465"/>
                  <a:gd name="T66" fmla="*/ 2147483647 w 479"/>
                  <a:gd name="T67" fmla="*/ 2147483647 h 465"/>
                  <a:gd name="T68" fmla="*/ 2147483647 w 479"/>
                  <a:gd name="T69" fmla="*/ 2147483647 h 465"/>
                  <a:gd name="T70" fmla="*/ 2147483647 w 479"/>
                  <a:gd name="T71" fmla="*/ 2147483647 h 465"/>
                  <a:gd name="T72" fmla="*/ 2147483647 w 479"/>
                  <a:gd name="T73" fmla="*/ 2147483647 h 465"/>
                  <a:gd name="T74" fmla="*/ 2147483647 w 479"/>
                  <a:gd name="T75" fmla="*/ 2147483647 h 465"/>
                  <a:gd name="T76" fmla="*/ 2147483647 w 479"/>
                  <a:gd name="T77" fmla="*/ 2147483647 h 465"/>
                  <a:gd name="T78" fmla="*/ 2147483647 w 479"/>
                  <a:gd name="T79" fmla="*/ 2147483647 h 465"/>
                  <a:gd name="T80" fmla="*/ 2147483647 w 479"/>
                  <a:gd name="T81" fmla="*/ 2147483647 h 465"/>
                  <a:gd name="T82" fmla="*/ 2147483647 w 479"/>
                  <a:gd name="T83" fmla="*/ 2147483647 h 465"/>
                  <a:gd name="T84" fmla="*/ 2147483647 w 479"/>
                  <a:gd name="T85" fmla="*/ 2147483647 h 465"/>
                  <a:gd name="T86" fmla="*/ 2147483647 w 479"/>
                  <a:gd name="T87" fmla="*/ 2147483647 h 465"/>
                  <a:gd name="T88" fmla="*/ 2147483647 w 479"/>
                  <a:gd name="T89" fmla="*/ 2147483647 h 465"/>
                  <a:gd name="T90" fmla="*/ 2147483647 w 479"/>
                  <a:gd name="T91" fmla="*/ 2147483647 h 465"/>
                  <a:gd name="T92" fmla="*/ 2147483647 w 479"/>
                  <a:gd name="T93" fmla="*/ 2147483647 h 465"/>
                  <a:gd name="T94" fmla="*/ 2147483647 w 479"/>
                  <a:gd name="T95" fmla="*/ 2147483647 h 465"/>
                  <a:gd name="T96" fmla="*/ 2147483647 w 479"/>
                  <a:gd name="T97" fmla="*/ 2147483647 h 465"/>
                  <a:gd name="T98" fmla="*/ 2147483647 w 479"/>
                  <a:gd name="T99" fmla="*/ 2147483647 h 465"/>
                  <a:gd name="T100" fmla="*/ 2147483647 w 479"/>
                  <a:gd name="T101" fmla="*/ 2147483647 h 465"/>
                  <a:gd name="T102" fmla="*/ 2147483647 w 479"/>
                  <a:gd name="T103" fmla="*/ 2147483647 h 465"/>
                  <a:gd name="T104" fmla="*/ 2147483647 w 479"/>
                  <a:gd name="T105" fmla="*/ 2147483647 h 465"/>
                  <a:gd name="T106" fmla="*/ 2147483647 w 479"/>
                  <a:gd name="T107" fmla="*/ 2147483647 h 465"/>
                  <a:gd name="T108" fmla="*/ 2147483647 w 479"/>
                  <a:gd name="T109" fmla="*/ 2147483647 h 465"/>
                  <a:gd name="T110" fmla="*/ 2147483647 w 479"/>
                  <a:gd name="T111" fmla="*/ 2147483647 h 465"/>
                  <a:gd name="T112" fmla="*/ 2147483647 w 479"/>
                  <a:gd name="T113" fmla="*/ 2147483647 h 465"/>
                  <a:gd name="T114" fmla="*/ 2147483647 w 479"/>
                  <a:gd name="T115" fmla="*/ 2147483647 h 465"/>
                  <a:gd name="T116" fmla="*/ 2147483647 w 479"/>
                  <a:gd name="T117" fmla="*/ 2147483647 h 46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479" h="465">
                    <a:moveTo>
                      <a:pt x="316" y="16"/>
                    </a:moveTo>
                    <a:cubicBezTo>
                      <a:pt x="316" y="16"/>
                      <a:pt x="316" y="16"/>
                      <a:pt x="316" y="16"/>
                    </a:cubicBezTo>
                    <a:cubicBezTo>
                      <a:pt x="382" y="17"/>
                      <a:pt x="436" y="70"/>
                      <a:pt x="436" y="137"/>
                    </a:cubicBezTo>
                    <a:cubicBezTo>
                      <a:pt x="436" y="141"/>
                      <a:pt x="440" y="145"/>
                      <a:pt x="444" y="145"/>
                    </a:cubicBezTo>
                    <a:cubicBezTo>
                      <a:pt x="448" y="145"/>
                      <a:pt x="452" y="141"/>
                      <a:pt x="452" y="137"/>
                    </a:cubicBezTo>
                    <a:cubicBezTo>
                      <a:pt x="452" y="62"/>
                      <a:pt x="391" y="0"/>
                      <a:pt x="316" y="0"/>
                    </a:cubicBezTo>
                    <a:cubicBezTo>
                      <a:pt x="311" y="0"/>
                      <a:pt x="308" y="4"/>
                      <a:pt x="308" y="8"/>
                    </a:cubicBezTo>
                    <a:cubicBezTo>
                      <a:pt x="308" y="13"/>
                      <a:pt x="311" y="16"/>
                      <a:pt x="316" y="16"/>
                    </a:cubicBezTo>
                    <a:close/>
                    <a:moveTo>
                      <a:pt x="316" y="93"/>
                    </a:moveTo>
                    <a:cubicBezTo>
                      <a:pt x="316" y="93"/>
                      <a:pt x="316" y="93"/>
                      <a:pt x="316" y="93"/>
                    </a:cubicBezTo>
                    <a:cubicBezTo>
                      <a:pt x="340" y="93"/>
                      <a:pt x="359" y="113"/>
                      <a:pt x="359" y="137"/>
                    </a:cubicBezTo>
                    <a:cubicBezTo>
                      <a:pt x="359" y="141"/>
                      <a:pt x="363" y="145"/>
                      <a:pt x="367" y="145"/>
                    </a:cubicBezTo>
                    <a:cubicBezTo>
                      <a:pt x="371" y="145"/>
                      <a:pt x="375" y="141"/>
                      <a:pt x="375" y="137"/>
                    </a:cubicBezTo>
                    <a:cubicBezTo>
                      <a:pt x="375" y="104"/>
                      <a:pt x="348" y="77"/>
                      <a:pt x="316" y="77"/>
                    </a:cubicBezTo>
                    <a:cubicBezTo>
                      <a:pt x="311" y="77"/>
                      <a:pt x="308" y="81"/>
                      <a:pt x="308" y="85"/>
                    </a:cubicBezTo>
                    <a:cubicBezTo>
                      <a:pt x="308" y="90"/>
                      <a:pt x="311" y="93"/>
                      <a:pt x="316" y="93"/>
                    </a:cubicBezTo>
                    <a:close/>
                    <a:moveTo>
                      <a:pt x="316" y="55"/>
                    </a:moveTo>
                    <a:cubicBezTo>
                      <a:pt x="316" y="55"/>
                      <a:pt x="316" y="55"/>
                      <a:pt x="316" y="55"/>
                    </a:cubicBezTo>
                    <a:cubicBezTo>
                      <a:pt x="361" y="55"/>
                      <a:pt x="397" y="92"/>
                      <a:pt x="398" y="137"/>
                    </a:cubicBezTo>
                    <a:cubicBezTo>
                      <a:pt x="398" y="141"/>
                      <a:pt x="401" y="145"/>
                      <a:pt x="406" y="145"/>
                    </a:cubicBezTo>
                    <a:cubicBezTo>
                      <a:pt x="410" y="145"/>
                      <a:pt x="414" y="141"/>
                      <a:pt x="414" y="137"/>
                    </a:cubicBezTo>
                    <a:cubicBezTo>
                      <a:pt x="414" y="83"/>
                      <a:pt x="370" y="39"/>
                      <a:pt x="316" y="39"/>
                    </a:cubicBezTo>
                    <a:cubicBezTo>
                      <a:pt x="311" y="39"/>
                      <a:pt x="308" y="43"/>
                      <a:pt x="308" y="47"/>
                    </a:cubicBezTo>
                    <a:cubicBezTo>
                      <a:pt x="308" y="51"/>
                      <a:pt x="311" y="55"/>
                      <a:pt x="316" y="55"/>
                    </a:cubicBezTo>
                    <a:close/>
                    <a:moveTo>
                      <a:pt x="119" y="222"/>
                    </a:moveTo>
                    <a:cubicBezTo>
                      <a:pt x="119" y="258"/>
                      <a:pt x="148" y="287"/>
                      <a:pt x="184" y="287"/>
                    </a:cubicBezTo>
                    <a:cubicBezTo>
                      <a:pt x="221" y="287"/>
                      <a:pt x="250" y="258"/>
                      <a:pt x="250" y="222"/>
                    </a:cubicBezTo>
                    <a:cubicBezTo>
                      <a:pt x="250" y="185"/>
                      <a:pt x="221" y="156"/>
                      <a:pt x="184" y="156"/>
                    </a:cubicBezTo>
                    <a:cubicBezTo>
                      <a:pt x="148" y="156"/>
                      <a:pt x="119" y="185"/>
                      <a:pt x="119" y="222"/>
                    </a:cubicBezTo>
                    <a:close/>
                    <a:moveTo>
                      <a:pt x="201" y="186"/>
                    </a:moveTo>
                    <a:cubicBezTo>
                      <a:pt x="201" y="205"/>
                      <a:pt x="201" y="205"/>
                      <a:pt x="201" y="205"/>
                    </a:cubicBezTo>
                    <a:cubicBezTo>
                      <a:pt x="220" y="205"/>
                      <a:pt x="220" y="205"/>
                      <a:pt x="220" y="205"/>
                    </a:cubicBezTo>
                    <a:cubicBezTo>
                      <a:pt x="225" y="205"/>
                      <a:pt x="230" y="210"/>
                      <a:pt x="230" y="215"/>
                    </a:cubicBezTo>
                    <a:cubicBezTo>
                      <a:pt x="230" y="228"/>
                      <a:pt x="230" y="228"/>
                      <a:pt x="230" y="228"/>
                    </a:cubicBezTo>
                    <a:cubicBezTo>
                      <a:pt x="230" y="234"/>
                      <a:pt x="225" y="238"/>
                      <a:pt x="220" y="238"/>
                    </a:cubicBezTo>
                    <a:cubicBezTo>
                      <a:pt x="201" y="238"/>
                      <a:pt x="201" y="238"/>
                      <a:pt x="201" y="238"/>
                    </a:cubicBezTo>
                    <a:cubicBezTo>
                      <a:pt x="201" y="257"/>
                      <a:pt x="201" y="257"/>
                      <a:pt x="201" y="257"/>
                    </a:cubicBezTo>
                    <a:cubicBezTo>
                      <a:pt x="201" y="263"/>
                      <a:pt x="196" y="267"/>
                      <a:pt x="191" y="267"/>
                    </a:cubicBezTo>
                    <a:cubicBezTo>
                      <a:pt x="178" y="267"/>
                      <a:pt x="178" y="267"/>
                      <a:pt x="178" y="267"/>
                    </a:cubicBezTo>
                    <a:cubicBezTo>
                      <a:pt x="172" y="267"/>
                      <a:pt x="168" y="263"/>
                      <a:pt x="168" y="257"/>
                    </a:cubicBezTo>
                    <a:cubicBezTo>
                      <a:pt x="168" y="238"/>
                      <a:pt x="168" y="238"/>
                      <a:pt x="168" y="238"/>
                    </a:cubicBezTo>
                    <a:cubicBezTo>
                      <a:pt x="149" y="238"/>
                      <a:pt x="149" y="238"/>
                      <a:pt x="149" y="238"/>
                    </a:cubicBezTo>
                    <a:cubicBezTo>
                      <a:pt x="143" y="238"/>
                      <a:pt x="139" y="234"/>
                      <a:pt x="139" y="228"/>
                    </a:cubicBezTo>
                    <a:cubicBezTo>
                      <a:pt x="139" y="215"/>
                      <a:pt x="139" y="215"/>
                      <a:pt x="139" y="215"/>
                    </a:cubicBezTo>
                    <a:cubicBezTo>
                      <a:pt x="139" y="210"/>
                      <a:pt x="143" y="205"/>
                      <a:pt x="149" y="205"/>
                    </a:cubicBezTo>
                    <a:cubicBezTo>
                      <a:pt x="168" y="205"/>
                      <a:pt x="168" y="205"/>
                      <a:pt x="168" y="205"/>
                    </a:cubicBezTo>
                    <a:cubicBezTo>
                      <a:pt x="168" y="186"/>
                      <a:pt x="168" y="186"/>
                      <a:pt x="168" y="186"/>
                    </a:cubicBezTo>
                    <a:cubicBezTo>
                      <a:pt x="168" y="181"/>
                      <a:pt x="172" y="176"/>
                      <a:pt x="178" y="176"/>
                    </a:cubicBezTo>
                    <a:cubicBezTo>
                      <a:pt x="191" y="176"/>
                      <a:pt x="191" y="176"/>
                      <a:pt x="191" y="176"/>
                    </a:cubicBezTo>
                    <a:cubicBezTo>
                      <a:pt x="196" y="176"/>
                      <a:pt x="201" y="181"/>
                      <a:pt x="201" y="186"/>
                    </a:cubicBezTo>
                    <a:close/>
                    <a:moveTo>
                      <a:pt x="468" y="372"/>
                    </a:moveTo>
                    <a:cubicBezTo>
                      <a:pt x="462" y="364"/>
                      <a:pt x="451" y="359"/>
                      <a:pt x="440" y="359"/>
                    </a:cubicBezTo>
                    <a:cubicBezTo>
                      <a:pt x="433" y="359"/>
                      <a:pt x="427" y="361"/>
                      <a:pt x="420" y="364"/>
                    </a:cubicBezTo>
                    <a:cubicBezTo>
                      <a:pt x="414" y="366"/>
                      <a:pt x="409" y="368"/>
                      <a:pt x="404" y="370"/>
                    </a:cubicBezTo>
                    <a:cubicBezTo>
                      <a:pt x="450" y="322"/>
                      <a:pt x="450" y="322"/>
                      <a:pt x="450" y="322"/>
                    </a:cubicBezTo>
                    <a:cubicBezTo>
                      <a:pt x="452" y="319"/>
                      <a:pt x="452" y="314"/>
                      <a:pt x="450" y="311"/>
                    </a:cubicBezTo>
                    <a:cubicBezTo>
                      <a:pt x="448" y="308"/>
                      <a:pt x="443" y="307"/>
                      <a:pt x="440" y="309"/>
                    </a:cubicBezTo>
                    <a:cubicBezTo>
                      <a:pt x="400" y="330"/>
                      <a:pt x="400" y="330"/>
                      <a:pt x="400" y="330"/>
                    </a:cubicBezTo>
                    <a:cubicBezTo>
                      <a:pt x="413" y="311"/>
                      <a:pt x="413" y="311"/>
                      <a:pt x="413" y="311"/>
                    </a:cubicBezTo>
                    <a:cubicBezTo>
                      <a:pt x="415" y="308"/>
                      <a:pt x="415" y="304"/>
                      <a:pt x="412" y="301"/>
                    </a:cubicBezTo>
                    <a:cubicBezTo>
                      <a:pt x="410" y="298"/>
                      <a:pt x="406" y="297"/>
                      <a:pt x="403" y="299"/>
                    </a:cubicBezTo>
                    <a:cubicBezTo>
                      <a:pt x="355" y="320"/>
                      <a:pt x="355" y="320"/>
                      <a:pt x="355" y="320"/>
                    </a:cubicBezTo>
                    <a:cubicBezTo>
                      <a:pt x="400" y="276"/>
                      <a:pt x="400" y="276"/>
                      <a:pt x="400" y="276"/>
                    </a:cubicBezTo>
                    <a:cubicBezTo>
                      <a:pt x="403" y="273"/>
                      <a:pt x="403" y="269"/>
                      <a:pt x="401" y="265"/>
                    </a:cubicBezTo>
                    <a:cubicBezTo>
                      <a:pt x="399" y="262"/>
                      <a:pt x="394" y="261"/>
                      <a:pt x="391" y="263"/>
                    </a:cubicBezTo>
                    <a:cubicBezTo>
                      <a:pt x="345" y="285"/>
                      <a:pt x="345" y="285"/>
                      <a:pt x="345" y="285"/>
                    </a:cubicBezTo>
                    <a:cubicBezTo>
                      <a:pt x="332" y="273"/>
                      <a:pt x="323" y="268"/>
                      <a:pt x="317" y="266"/>
                    </a:cubicBezTo>
                    <a:cubicBezTo>
                      <a:pt x="317" y="197"/>
                      <a:pt x="317" y="197"/>
                      <a:pt x="317" y="197"/>
                    </a:cubicBezTo>
                    <a:cubicBezTo>
                      <a:pt x="317" y="193"/>
                      <a:pt x="313" y="189"/>
                      <a:pt x="309" y="189"/>
                    </a:cubicBezTo>
                    <a:cubicBezTo>
                      <a:pt x="305" y="189"/>
                      <a:pt x="301" y="193"/>
                      <a:pt x="301" y="197"/>
                    </a:cubicBezTo>
                    <a:cubicBezTo>
                      <a:pt x="301" y="197"/>
                      <a:pt x="301" y="197"/>
                      <a:pt x="301" y="197"/>
                    </a:cubicBezTo>
                    <a:cubicBezTo>
                      <a:pt x="301" y="298"/>
                      <a:pt x="301" y="298"/>
                      <a:pt x="301" y="298"/>
                    </a:cubicBezTo>
                    <a:cubicBezTo>
                      <a:pt x="301" y="300"/>
                      <a:pt x="300" y="301"/>
                      <a:pt x="298" y="301"/>
                    </a:cubicBezTo>
                    <a:cubicBezTo>
                      <a:pt x="70" y="301"/>
                      <a:pt x="70" y="301"/>
                      <a:pt x="70" y="301"/>
                    </a:cubicBezTo>
                    <a:cubicBezTo>
                      <a:pt x="69" y="301"/>
                      <a:pt x="68" y="300"/>
                      <a:pt x="68" y="298"/>
                    </a:cubicBezTo>
                    <a:cubicBezTo>
                      <a:pt x="68" y="145"/>
                      <a:pt x="68" y="145"/>
                      <a:pt x="68" y="145"/>
                    </a:cubicBezTo>
                    <a:cubicBezTo>
                      <a:pt x="68" y="144"/>
                      <a:pt x="69" y="142"/>
                      <a:pt x="70" y="142"/>
                    </a:cubicBezTo>
                    <a:cubicBezTo>
                      <a:pt x="298" y="142"/>
                      <a:pt x="298" y="142"/>
                      <a:pt x="298" y="142"/>
                    </a:cubicBezTo>
                    <a:cubicBezTo>
                      <a:pt x="300" y="142"/>
                      <a:pt x="301" y="144"/>
                      <a:pt x="301" y="145"/>
                    </a:cubicBezTo>
                    <a:cubicBezTo>
                      <a:pt x="301" y="165"/>
                      <a:pt x="301" y="165"/>
                      <a:pt x="301" y="165"/>
                    </a:cubicBezTo>
                    <a:cubicBezTo>
                      <a:pt x="301" y="169"/>
                      <a:pt x="305" y="173"/>
                      <a:pt x="309" y="173"/>
                    </a:cubicBezTo>
                    <a:cubicBezTo>
                      <a:pt x="313" y="173"/>
                      <a:pt x="317" y="169"/>
                      <a:pt x="317" y="165"/>
                    </a:cubicBezTo>
                    <a:cubicBezTo>
                      <a:pt x="317" y="145"/>
                      <a:pt x="317" y="145"/>
                      <a:pt x="317" y="145"/>
                    </a:cubicBezTo>
                    <a:cubicBezTo>
                      <a:pt x="317" y="135"/>
                      <a:pt x="309" y="126"/>
                      <a:pt x="298" y="126"/>
                    </a:cubicBezTo>
                    <a:cubicBezTo>
                      <a:pt x="235" y="126"/>
                      <a:pt x="235" y="126"/>
                      <a:pt x="235" y="126"/>
                    </a:cubicBezTo>
                    <a:cubicBezTo>
                      <a:pt x="235" y="120"/>
                      <a:pt x="235" y="120"/>
                      <a:pt x="235" y="120"/>
                    </a:cubicBezTo>
                    <a:cubicBezTo>
                      <a:pt x="235" y="110"/>
                      <a:pt x="227" y="102"/>
                      <a:pt x="217" y="102"/>
                    </a:cubicBezTo>
                    <a:cubicBezTo>
                      <a:pt x="151" y="102"/>
                      <a:pt x="151" y="102"/>
                      <a:pt x="151" y="102"/>
                    </a:cubicBezTo>
                    <a:cubicBezTo>
                      <a:pt x="142" y="102"/>
                      <a:pt x="133" y="110"/>
                      <a:pt x="133" y="120"/>
                    </a:cubicBezTo>
                    <a:cubicBezTo>
                      <a:pt x="133" y="126"/>
                      <a:pt x="133" y="126"/>
                      <a:pt x="133" y="126"/>
                    </a:cubicBezTo>
                    <a:cubicBezTo>
                      <a:pt x="70" y="126"/>
                      <a:pt x="70" y="126"/>
                      <a:pt x="70" y="126"/>
                    </a:cubicBezTo>
                    <a:cubicBezTo>
                      <a:pt x="60" y="126"/>
                      <a:pt x="52" y="135"/>
                      <a:pt x="52" y="145"/>
                    </a:cubicBezTo>
                    <a:cubicBezTo>
                      <a:pt x="52" y="298"/>
                      <a:pt x="52" y="298"/>
                      <a:pt x="52" y="298"/>
                    </a:cubicBezTo>
                    <a:cubicBezTo>
                      <a:pt x="52" y="309"/>
                      <a:pt x="60" y="317"/>
                      <a:pt x="70" y="317"/>
                    </a:cubicBezTo>
                    <a:cubicBezTo>
                      <a:pt x="298" y="317"/>
                      <a:pt x="298" y="317"/>
                      <a:pt x="298" y="317"/>
                    </a:cubicBezTo>
                    <a:cubicBezTo>
                      <a:pt x="309" y="317"/>
                      <a:pt x="317" y="309"/>
                      <a:pt x="317" y="298"/>
                    </a:cubicBezTo>
                    <a:cubicBezTo>
                      <a:pt x="317" y="283"/>
                      <a:pt x="317" y="283"/>
                      <a:pt x="317" y="283"/>
                    </a:cubicBezTo>
                    <a:cubicBezTo>
                      <a:pt x="322" y="286"/>
                      <a:pt x="328" y="291"/>
                      <a:pt x="337" y="300"/>
                    </a:cubicBezTo>
                    <a:cubicBezTo>
                      <a:pt x="340" y="302"/>
                      <a:pt x="343" y="303"/>
                      <a:pt x="346" y="301"/>
                    </a:cubicBezTo>
                    <a:cubicBezTo>
                      <a:pt x="356" y="297"/>
                      <a:pt x="356" y="297"/>
                      <a:pt x="356" y="297"/>
                    </a:cubicBezTo>
                    <a:cubicBezTo>
                      <a:pt x="313" y="340"/>
                      <a:pt x="313" y="340"/>
                      <a:pt x="313" y="340"/>
                    </a:cubicBezTo>
                    <a:cubicBezTo>
                      <a:pt x="311" y="342"/>
                      <a:pt x="310" y="347"/>
                      <a:pt x="312" y="350"/>
                    </a:cubicBezTo>
                    <a:cubicBezTo>
                      <a:pt x="315" y="353"/>
                      <a:pt x="319" y="354"/>
                      <a:pt x="322" y="353"/>
                    </a:cubicBezTo>
                    <a:cubicBezTo>
                      <a:pt x="383" y="325"/>
                      <a:pt x="383" y="325"/>
                      <a:pt x="383" y="325"/>
                    </a:cubicBezTo>
                    <a:cubicBezTo>
                      <a:pt x="368" y="347"/>
                      <a:pt x="368" y="347"/>
                      <a:pt x="368" y="347"/>
                    </a:cubicBezTo>
                    <a:cubicBezTo>
                      <a:pt x="366" y="350"/>
                      <a:pt x="366" y="354"/>
                      <a:pt x="369" y="357"/>
                    </a:cubicBezTo>
                    <a:cubicBezTo>
                      <a:pt x="371" y="360"/>
                      <a:pt x="375" y="360"/>
                      <a:pt x="378" y="359"/>
                    </a:cubicBezTo>
                    <a:cubicBezTo>
                      <a:pt x="407" y="344"/>
                      <a:pt x="407" y="344"/>
                      <a:pt x="407" y="344"/>
                    </a:cubicBezTo>
                    <a:cubicBezTo>
                      <a:pt x="369" y="385"/>
                      <a:pt x="369" y="385"/>
                      <a:pt x="369" y="385"/>
                    </a:cubicBezTo>
                    <a:cubicBezTo>
                      <a:pt x="367" y="387"/>
                      <a:pt x="366" y="390"/>
                      <a:pt x="367" y="393"/>
                    </a:cubicBezTo>
                    <a:cubicBezTo>
                      <a:pt x="369" y="396"/>
                      <a:pt x="372" y="398"/>
                      <a:pt x="375" y="398"/>
                    </a:cubicBezTo>
                    <a:cubicBezTo>
                      <a:pt x="375" y="398"/>
                      <a:pt x="375" y="398"/>
                      <a:pt x="375" y="398"/>
                    </a:cubicBezTo>
                    <a:cubicBezTo>
                      <a:pt x="377" y="398"/>
                      <a:pt x="377" y="398"/>
                      <a:pt x="379" y="397"/>
                    </a:cubicBezTo>
                    <a:cubicBezTo>
                      <a:pt x="382" y="396"/>
                      <a:pt x="392" y="393"/>
                      <a:pt x="426" y="379"/>
                    </a:cubicBezTo>
                    <a:cubicBezTo>
                      <a:pt x="431" y="376"/>
                      <a:pt x="436" y="375"/>
                      <a:pt x="440" y="375"/>
                    </a:cubicBezTo>
                    <a:cubicBezTo>
                      <a:pt x="454" y="375"/>
                      <a:pt x="462" y="387"/>
                      <a:pt x="462" y="399"/>
                    </a:cubicBezTo>
                    <a:cubicBezTo>
                      <a:pt x="462" y="409"/>
                      <a:pt x="458" y="419"/>
                      <a:pt x="445" y="424"/>
                    </a:cubicBezTo>
                    <a:cubicBezTo>
                      <a:pt x="412" y="438"/>
                      <a:pt x="389" y="448"/>
                      <a:pt x="358" y="448"/>
                    </a:cubicBezTo>
                    <a:cubicBezTo>
                      <a:pt x="350" y="448"/>
                      <a:pt x="341" y="447"/>
                      <a:pt x="332" y="446"/>
                    </a:cubicBezTo>
                    <a:cubicBezTo>
                      <a:pt x="309" y="442"/>
                      <a:pt x="293" y="430"/>
                      <a:pt x="276" y="418"/>
                    </a:cubicBezTo>
                    <a:cubicBezTo>
                      <a:pt x="260" y="407"/>
                      <a:pt x="244" y="396"/>
                      <a:pt x="222" y="394"/>
                    </a:cubicBezTo>
                    <a:cubicBezTo>
                      <a:pt x="222" y="367"/>
                      <a:pt x="222" y="367"/>
                      <a:pt x="222" y="367"/>
                    </a:cubicBezTo>
                    <a:cubicBezTo>
                      <a:pt x="222" y="354"/>
                      <a:pt x="211" y="343"/>
                      <a:pt x="198" y="343"/>
                    </a:cubicBezTo>
                    <a:cubicBezTo>
                      <a:pt x="76" y="343"/>
                      <a:pt x="76" y="343"/>
                      <a:pt x="76" y="343"/>
                    </a:cubicBezTo>
                    <a:cubicBezTo>
                      <a:pt x="65" y="343"/>
                      <a:pt x="56" y="350"/>
                      <a:pt x="53" y="359"/>
                    </a:cubicBezTo>
                    <a:cubicBezTo>
                      <a:pt x="16" y="359"/>
                      <a:pt x="16" y="359"/>
                      <a:pt x="16" y="359"/>
                    </a:cubicBezTo>
                    <a:cubicBezTo>
                      <a:pt x="7" y="359"/>
                      <a:pt x="0" y="366"/>
                      <a:pt x="0" y="375"/>
                    </a:cubicBezTo>
                    <a:cubicBezTo>
                      <a:pt x="0" y="433"/>
                      <a:pt x="0" y="433"/>
                      <a:pt x="0" y="433"/>
                    </a:cubicBezTo>
                    <a:cubicBezTo>
                      <a:pt x="0" y="442"/>
                      <a:pt x="7" y="449"/>
                      <a:pt x="16" y="449"/>
                    </a:cubicBezTo>
                    <a:cubicBezTo>
                      <a:pt x="53" y="449"/>
                      <a:pt x="53" y="449"/>
                      <a:pt x="53" y="449"/>
                    </a:cubicBezTo>
                    <a:cubicBezTo>
                      <a:pt x="56" y="458"/>
                      <a:pt x="65" y="465"/>
                      <a:pt x="76" y="465"/>
                    </a:cubicBezTo>
                    <a:cubicBezTo>
                      <a:pt x="198" y="465"/>
                      <a:pt x="198" y="465"/>
                      <a:pt x="198" y="465"/>
                    </a:cubicBezTo>
                    <a:cubicBezTo>
                      <a:pt x="211" y="465"/>
                      <a:pt x="222" y="454"/>
                      <a:pt x="222" y="441"/>
                    </a:cubicBezTo>
                    <a:cubicBezTo>
                      <a:pt x="222" y="410"/>
                      <a:pt x="222" y="410"/>
                      <a:pt x="222" y="410"/>
                    </a:cubicBezTo>
                    <a:cubicBezTo>
                      <a:pt x="238" y="412"/>
                      <a:pt x="252" y="421"/>
                      <a:pt x="267" y="431"/>
                    </a:cubicBezTo>
                    <a:cubicBezTo>
                      <a:pt x="284" y="443"/>
                      <a:pt x="302" y="457"/>
                      <a:pt x="329" y="462"/>
                    </a:cubicBezTo>
                    <a:cubicBezTo>
                      <a:pt x="340" y="463"/>
                      <a:pt x="349" y="464"/>
                      <a:pt x="358" y="464"/>
                    </a:cubicBezTo>
                    <a:cubicBezTo>
                      <a:pt x="358" y="464"/>
                      <a:pt x="358" y="464"/>
                      <a:pt x="358" y="464"/>
                    </a:cubicBezTo>
                    <a:cubicBezTo>
                      <a:pt x="393" y="464"/>
                      <a:pt x="419" y="453"/>
                      <a:pt x="451" y="439"/>
                    </a:cubicBezTo>
                    <a:cubicBezTo>
                      <a:pt x="470" y="431"/>
                      <a:pt x="479" y="415"/>
                      <a:pt x="478" y="399"/>
                    </a:cubicBezTo>
                    <a:cubicBezTo>
                      <a:pt x="478" y="389"/>
                      <a:pt x="475" y="380"/>
                      <a:pt x="468" y="372"/>
                    </a:cubicBezTo>
                    <a:close/>
                    <a:moveTo>
                      <a:pt x="149" y="120"/>
                    </a:moveTo>
                    <a:cubicBezTo>
                      <a:pt x="149" y="119"/>
                      <a:pt x="150" y="118"/>
                      <a:pt x="151" y="118"/>
                    </a:cubicBezTo>
                    <a:cubicBezTo>
                      <a:pt x="217" y="118"/>
                      <a:pt x="217" y="118"/>
                      <a:pt x="217" y="118"/>
                    </a:cubicBezTo>
                    <a:cubicBezTo>
                      <a:pt x="218" y="118"/>
                      <a:pt x="219" y="119"/>
                      <a:pt x="219" y="120"/>
                    </a:cubicBezTo>
                    <a:cubicBezTo>
                      <a:pt x="219" y="126"/>
                      <a:pt x="219" y="126"/>
                      <a:pt x="219" y="126"/>
                    </a:cubicBezTo>
                    <a:cubicBezTo>
                      <a:pt x="149" y="126"/>
                      <a:pt x="149" y="126"/>
                      <a:pt x="149" y="126"/>
                    </a:cubicBezTo>
                    <a:lnTo>
                      <a:pt x="149" y="120"/>
                    </a:lnTo>
                    <a:close/>
                    <a:moveTo>
                      <a:pt x="50" y="432"/>
                    </a:moveTo>
                    <a:cubicBezTo>
                      <a:pt x="50" y="435"/>
                      <a:pt x="48" y="437"/>
                      <a:pt x="45" y="437"/>
                    </a:cubicBezTo>
                    <a:cubicBezTo>
                      <a:pt x="32" y="437"/>
                      <a:pt x="32" y="437"/>
                      <a:pt x="32" y="437"/>
                    </a:cubicBezTo>
                    <a:cubicBezTo>
                      <a:pt x="29" y="437"/>
                      <a:pt x="27" y="435"/>
                      <a:pt x="27" y="432"/>
                    </a:cubicBezTo>
                    <a:cubicBezTo>
                      <a:pt x="27" y="417"/>
                      <a:pt x="27" y="417"/>
                      <a:pt x="27" y="417"/>
                    </a:cubicBezTo>
                    <a:cubicBezTo>
                      <a:pt x="27" y="415"/>
                      <a:pt x="29" y="412"/>
                      <a:pt x="32" y="412"/>
                    </a:cubicBezTo>
                    <a:cubicBezTo>
                      <a:pt x="45" y="412"/>
                      <a:pt x="45" y="412"/>
                      <a:pt x="45" y="412"/>
                    </a:cubicBezTo>
                    <a:cubicBezTo>
                      <a:pt x="48" y="412"/>
                      <a:pt x="50" y="415"/>
                      <a:pt x="50" y="417"/>
                    </a:cubicBezTo>
                    <a:lnTo>
                      <a:pt x="50" y="432"/>
                    </a:lnTo>
                    <a:close/>
                    <a:moveTo>
                      <a:pt x="50" y="391"/>
                    </a:moveTo>
                    <a:cubicBezTo>
                      <a:pt x="50" y="394"/>
                      <a:pt x="48" y="396"/>
                      <a:pt x="45" y="396"/>
                    </a:cubicBezTo>
                    <a:cubicBezTo>
                      <a:pt x="32" y="396"/>
                      <a:pt x="32" y="396"/>
                      <a:pt x="32" y="396"/>
                    </a:cubicBezTo>
                    <a:cubicBezTo>
                      <a:pt x="29" y="396"/>
                      <a:pt x="27" y="394"/>
                      <a:pt x="27" y="391"/>
                    </a:cubicBezTo>
                    <a:cubicBezTo>
                      <a:pt x="27" y="376"/>
                      <a:pt x="27" y="376"/>
                      <a:pt x="27" y="376"/>
                    </a:cubicBezTo>
                    <a:cubicBezTo>
                      <a:pt x="27" y="374"/>
                      <a:pt x="29" y="372"/>
                      <a:pt x="32" y="372"/>
                    </a:cubicBezTo>
                    <a:cubicBezTo>
                      <a:pt x="45" y="372"/>
                      <a:pt x="45" y="372"/>
                      <a:pt x="45" y="372"/>
                    </a:cubicBezTo>
                    <a:cubicBezTo>
                      <a:pt x="48" y="372"/>
                      <a:pt x="50" y="374"/>
                      <a:pt x="50" y="376"/>
                    </a:cubicBezTo>
                    <a:lnTo>
                      <a:pt x="50" y="391"/>
                    </a:lnTo>
                    <a:close/>
                    <a:moveTo>
                      <a:pt x="206" y="401"/>
                    </a:moveTo>
                    <a:cubicBezTo>
                      <a:pt x="206" y="401"/>
                      <a:pt x="206" y="401"/>
                      <a:pt x="206" y="401"/>
                    </a:cubicBezTo>
                    <a:cubicBezTo>
                      <a:pt x="206" y="401"/>
                      <a:pt x="206" y="401"/>
                      <a:pt x="206" y="401"/>
                    </a:cubicBezTo>
                    <a:cubicBezTo>
                      <a:pt x="206" y="441"/>
                      <a:pt x="206" y="441"/>
                      <a:pt x="206" y="441"/>
                    </a:cubicBezTo>
                    <a:cubicBezTo>
                      <a:pt x="206" y="446"/>
                      <a:pt x="202" y="449"/>
                      <a:pt x="198" y="449"/>
                    </a:cubicBezTo>
                    <a:cubicBezTo>
                      <a:pt x="76" y="449"/>
                      <a:pt x="76" y="449"/>
                      <a:pt x="76" y="449"/>
                    </a:cubicBezTo>
                    <a:cubicBezTo>
                      <a:pt x="71" y="449"/>
                      <a:pt x="68" y="446"/>
                      <a:pt x="68" y="441"/>
                    </a:cubicBezTo>
                    <a:cubicBezTo>
                      <a:pt x="68" y="367"/>
                      <a:pt x="68" y="367"/>
                      <a:pt x="68" y="367"/>
                    </a:cubicBezTo>
                    <a:cubicBezTo>
                      <a:pt x="68" y="363"/>
                      <a:pt x="71" y="359"/>
                      <a:pt x="76" y="359"/>
                    </a:cubicBezTo>
                    <a:cubicBezTo>
                      <a:pt x="198" y="359"/>
                      <a:pt x="198" y="359"/>
                      <a:pt x="198" y="359"/>
                    </a:cubicBezTo>
                    <a:cubicBezTo>
                      <a:pt x="202" y="359"/>
                      <a:pt x="206" y="363"/>
                      <a:pt x="206" y="367"/>
                    </a:cubicBezTo>
                    <a:lnTo>
                      <a:pt x="206" y="4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90" name="Freeform 3"/>
              <p:cNvSpPr>
                <a:spLocks noChangeAspect="1" noEditPoints="1"/>
              </p:cNvSpPr>
              <p:nvPr/>
            </p:nvSpPr>
            <p:spPr bwMode="auto">
              <a:xfrm>
                <a:off x="4920656" y="3380592"/>
                <a:ext cx="91824" cy="156942"/>
              </a:xfrm>
              <a:custGeom>
                <a:avLst/>
                <a:gdLst>
                  <a:gd name="T0" fmla="*/ 2147483647 w 232"/>
                  <a:gd name="T1" fmla="*/ 2147483647 h 405"/>
                  <a:gd name="T2" fmla="*/ 2147483647 w 232"/>
                  <a:gd name="T3" fmla="*/ 2147483647 h 405"/>
                  <a:gd name="T4" fmla="*/ 2147483647 w 232"/>
                  <a:gd name="T5" fmla="*/ 2147483647 h 405"/>
                  <a:gd name="T6" fmla="*/ 2147483647 w 232"/>
                  <a:gd name="T7" fmla="*/ 2147483647 h 405"/>
                  <a:gd name="T8" fmla="*/ 2147483647 w 232"/>
                  <a:gd name="T9" fmla="*/ 2147483647 h 405"/>
                  <a:gd name="T10" fmla="*/ 2147483647 w 232"/>
                  <a:gd name="T11" fmla="*/ 2147483647 h 405"/>
                  <a:gd name="T12" fmla="*/ 2147483647 w 232"/>
                  <a:gd name="T13" fmla="*/ 2147483647 h 405"/>
                  <a:gd name="T14" fmla="*/ 2147483647 w 232"/>
                  <a:gd name="T15" fmla="*/ 2147483647 h 405"/>
                  <a:gd name="T16" fmla="*/ 2147483647 w 232"/>
                  <a:gd name="T17" fmla="*/ 2147483647 h 405"/>
                  <a:gd name="T18" fmla="*/ 2147483647 w 232"/>
                  <a:gd name="T19" fmla="*/ 2147483647 h 405"/>
                  <a:gd name="T20" fmla="*/ 2147483647 w 232"/>
                  <a:gd name="T21" fmla="*/ 2147483647 h 405"/>
                  <a:gd name="T22" fmla="*/ 2147483647 w 232"/>
                  <a:gd name="T23" fmla="*/ 2147483647 h 405"/>
                  <a:gd name="T24" fmla="*/ 2147483647 w 232"/>
                  <a:gd name="T25" fmla="*/ 2147483647 h 405"/>
                  <a:gd name="T26" fmla="*/ 2147483647 w 232"/>
                  <a:gd name="T27" fmla="*/ 2147483647 h 405"/>
                  <a:gd name="T28" fmla="*/ 2147483647 w 232"/>
                  <a:gd name="T29" fmla="*/ 2147483647 h 405"/>
                  <a:gd name="T30" fmla="*/ 2147483647 w 232"/>
                  <a:gd name="T31" fmla="*/ 2147483647 h 405"/>
                  <a:gd name="T32" fmla="*/ 2147483647 w 232"/>
                  <a:gd name="T33" fmla="*/ 2147483647 h 405"/>
                  <a:gd name="T34" fmla="*/ 2147483647 w 232"/>
                  <a:gd name="T35" fmla="*/ 2147483647 h 405"/>
                  <a:gd name="T36" fmla="*/ 2147483647 w 232"/>
                  <a:gd name="T37" fmla="*/ 2147483647 h 405"/>
                  <a:gd name="T38" fmla="*/ 2147483647 w 232"/>
                  <a:gd name="T39" fmla="*/ 2147483647 h 405"/>
                  <a:gd name="T40" fmla="*/ 2147483647 w 232"/>
                  <a:gd name="T41" fmla="*/ 2147483647 h 405"/>
                  <a:gd name="T42" fmla="*/ 2147483647 w 232"/>
                  <a:gd name="T43" fmla="*/ 2147483647 h 405"/>
                  <a:gd name="T44" fmla="*/ 2147483647 w 232"/>
                  <a:gd name="T45" fmla="*/ 2147483647 h 405"/>
                  <a:gd name="T46" fmla="*/ 2147483647 w 232"/>
                  <a:gd name="T47" fmla="*/ 2147483647 h 405"/>
                  <a:gd name="T48" fmla="*/ 2147483647 w 232"/>
                  <a:gd name="T49" fmla="*/ 2147483647 h 405"/>
                  <a:gd name="T50" fmla="*/ 2147483647 w 232"/>
                  <a:gd name="T51" fmla="*/ 2147483647 h 405"/>
                  <a:gd name="T52" fmla="*/ 2147483647 w 232"/>
                  <a:gd name="T53" fmla="*/ 2147483647 h 405"/>
                  <a:gd name="T54" fmla="*/ 2147483647 w 232"/>
                  <a:gd name="T55" fmla="*/ 2147483647 h 405"/>
                  <a:gd name="T56" fmla="*/ 2147483647 w 232"/>
                  <a:gd name="T57" fmla="*/ 2147483647 h 405"/>
                  <a:gd name="T58" fmla="*/ 2147483647 w 232"/>
                  <a:gd name="T59" fmla="*/ 2147483647 h 405"/>
                  <a:gd name="T60" fmla="*/ 2147483647 w 232"/>
                  <a:gd name="T61" fmla="*/ 2147483647 h 405"/>
                  <a:gd name="T62" fmla="*/ 2147483647 w 232"/>
                  <a:gd name="T63" fmla="*/ 2147483647 h 405"/>
                  <a:gd name="T64" fmla="*/ 2147483647 w 232"/>
                  <a:gd name="T65" fmla="*/ 2147483647 h 405"/>
                  <a:gd name="T66" fmla="*/ 2147483647 w 232"/>
                  <a:gd name="T67" fmla="*/ 2147483647 h 405"/>
                  <a:gd name="T68" fmla="*/ 2147483647 w 232"/>
                  <a:gd name="T69" fmla="*/ 2147483647 h 405"/>
                  <a:gd name="T70" fmla="*/ 2147483647 w 232"/>
                  <a:gd name="T71" fmla="*/ 2147483647 h 405"/>
                  <a:gd name="T72" fmla="*/ 2147483647 w 232"/>
                  <a:gd name="T73" fmla="*/ 2147483647 h 405"/>
                  <a:gd name="T74" fmla="*/ 2147483647 w 232"/>
                  <a:gd name="T75" fmla="*/ 2147483647 h 405"/>
                  <a:gd name="T76" fmla="*/ 2147483647 w 232"/>
                  <a:gd name="T77" fmla="*/ 2147483647 h 405"/>
                  <a:gd name="T78" fmla="*/ 2147483647 w 232"/>
                  <a:gd name="T79" fmla="*/ 2147483647 h 405"/>
                  <a:gd name="T80" fmla="*/ 2147483647 w 232"/>
                  <a:gd name="T81" fmla="*/ 2147483647 h 405"/>
                  <a:gd name="T82" fmla="*/ 2147483647 w 232"/>
                  <a:gd name="T83" fmla="*/ 2147483647 h 405"/>
                  <a:gd name="T84" fmla="*/ 2147483647 w 232"/>
                  <a:gd name="T85" fmla="*/ 2147483647 h 405"/>
                  <a:gd name="T86" fmla="*/ 2147483647 w 232"/>
                  <a:gd name="T87" fmla="*/ 2147483647 h 405"/>
                  <a:gd name="T88" fmla="*/ 2147483647 w 232"/>
                  <a:gd name="T89" fmla="*/ 2147483647 h 405"/>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32" h="405">
                    <a:moveTo>
                      <a:pt x="218" y="87"/>
                    </a:moveTo>
                    <a:cubicBezTo>
                      <a:pt x="210" y="94"/>
                      <a:pt x="201" y="103"/>
                      <a:pt x="196" y="108"/>
                    </a:cubicBezTo>
                    <a:cubicBezTo>
                      <a:pt x="164" y="75"/>
                      <a:pt x="164" y="75"/>
                      <a:pt x="164" y="75"/>
                    </a:cubicBezTo>
                    <a:cubicBezTo>
                      <a:pt x="187" y="51"/>
                      <a:pt x="228" y="15"/>
                      <a:pt x="228" y="15"/>
                    </a:cubicBezTo>
                    <a:cubicBezTo>
                      <a:pt x="232" y="12"/>
                      <a:pt x="232" y="7"/>
                      <a:pt x="229" y="3"/>
                    </a:cubicBezTo>
                    <a:cubicBezTo>
                      <a:pt x="226" y="0"/>
                      <a:pt x="221" y="0"/>
                      <a:pt x="218" y="3"/>
                    </a:cubicBezTo>
                    <a:cubicBezTo>
                      <a:pt x="216" y="4"/>
                      <a:pt x="173" y="42"/>
                      <a:pt x="149" y="67"/>
                    </a:cubicBezTo>
                    <a:cubicBezTo>
                      <a:pt x="147" y="66"/>
                      <a:pt x="144" y="66"/>
                      <a:pt x="141" y="66"/>
                    </a:cubicBezTo>
                    <a:cubicBezTo>
                      <a:pt x="133" y="66"/>
                      <a:pt x="126" y="69"/>
                      <a:pt x="120" y="75"/>
                    </a:cubicBezTo>
                    <a:cubicBezTo>
                      <a:pt x="82" y="112"/>
                      <a:pt x="82" y="112"/>
                      <a:pt x="82" y="112"/>
                    </a:cubicBezTo>
                    <a:cubicBezTo>
                      <a:pt x="70" y="124"/>
                      <a:pt x="70" y="142"/>
                      <a:pt x="80" y="154"/>
                    </a:cubicBezTo>
                    <a:cubicBezTo>
                      <a:pt x="76" y="160"/>
                      <a:pt x="69" y="172"/>
                      <a:pt x="63" y="182"/>
                    </a:cubicBezTo>
                    <a:cubicBezTo>
                      <a:pt x="56" y="183"/>
                      <a:pt x="51" y="181"/>
                      <a:pt x="47" y="178"/>
                    </a:cubicBezTo>
                    <a:cubicBezTo>
                      <a:pt x="32" y="166"/>
                      <a:pt x="39" y="125"/>
                      <a:pt x="45" y="105"/>
                    </a:cubicBezTo>
                    <a:cubicBezTo>
                      <a:pt x="46" y="106"/>
                      <a:pt x="48" y="106"/>
                      <a:pt x="50" y="106"/>
                    </a:cubicBezTo>
                    <a:cubicBezTo>
                      <a:pt x="50" y="106"/>
                      <a:pt x="50" y="106"/>
                      <a:pt x="50" y="106"/>
                    </a:cubicBezTo>
                    <a:cubicBezTo>
                      <a:pt x="64" y="106"/>
                      <a:pt x="79" y="96"/>
                      <a:pt x="89" y="81"/>
                    </a:cubicBezTo>
                    <a:cubicBezTo>
                      <a:pt x="105" y="60"/>
                      <a:pt x="105" y="34"/>
                      <a:pt x="89" y="23"/>
                    </a:cubicBezTo>
                    <a:cubicBezTo>
                      <a:pt x="85" y="20"/>
                      <a:pt x="79" y="18"/>
                      <a:pt x="73" y="18"/>
                    </a:cubicBezTo>
                    <a:cubicBezTo>
                      <a:pt x="59" y="18"/>
                      <a:pt x="44" y="28"/>
                      <a:pt x="34" y="43"/>
                    </a:cubicBezTo>
                    <a:cubicBezTo>
                      <a:pt x="27" y="52"/>
                      <a:pt x="23" y="64"/>
                      <a:pt x="22" y="74"/>
                    </a:cubicBezTo>
                    <a:cubicBezTo>
                      <a:pt x="22" y="84"/>
                      <a:pt x="25" y="92"/>
                      <a:pt x="30" y="97"/>
                    </a:cubicBezTo>
                    <a:cubicBezTo>
                      <a:pt x="26" y="111"/>
                      <a:pt x="11" y="169"/>
                      <a:pt x="37" y="191"/>
                    </a:cubicBezTo>
                    <a:cubicBezTo>
                      <a:pt x="42" y="195"/>
                      <a:pt x="48" y="197"/>
                      <a:pt x="56" y="198"/>
                    </a:cubicBezTo>
                    <a:cubicBezTo>
                      <a:pt x="51" y="211"/>
                      <a:pt x="45" y="240"/>
                      <a:pt x="40" y="265"/>
                    </a:cubicBezTo>
                    <a:cubicBezTo>
                      <a:pt x="37" y="280"/>
                      <a:pt x="33" y="297"/>
                      <a:pt x="32" y="300"/>
                    </a:cubicBezTo>
                    <a:cubicBezTo>
                      <a:pt x="32" y="300"/>
                      <a:pt x="31" y="302"/>
                      <a:pt x="30" y="304"/>
                    </a:cubicBezTo>
                    <a:cubicBezTo>
                      <a:pt x="22" y="316"/>
                      <a:pt x="0" y="350"/>
                      <a:pt x="13" y="386"/>
                    </a:cubicBezTo>
                    <a:cubicBezTo>
                      <a:pt x="13" y="387"/>
                      <a:pt x="13" y="387"/>
                      <a:pt x="13" y="387"/>
                    </a:cubicBezTo>
                    <a:cubicBezTo>
                      <a:pt x="19" y="401"/>
                      <a:pt x="24" y="405"/>
                      <a:pt x="34" y="405"/>
                    </a:cubicBezTo>
                    <a:cubicBezTo>
                      <a:pt x="43" y="405"/>
                      <a:pt x="53" y="401"/>
                      <a:pt x="56" y="393"/>
                    </a:cubicBezTo>
                    <a:cubicBezTo>
                      <a:pt x="56" y="391"/>
                      <a:pt x="57" y="388"/>
                      <a:pt x="58" y="384"/>
                    </a:cubicBezTo>
                    <a:cubicBezTo>
                      <a:pt x="74" y="385"/>
                      <a:pt x="81" y="380"/>
                      <a:pt x="87" y="355"/>
                    </a:cubicBezTo>
                    <a:cubicBezTo>
                      <a:pt x="89" y="344"/>
                      <a:pt x="83" y="334"/>
                      <a:pt x="79" y="327"/>
                    </a:cubicBezTo>
                    <a:cubicBezTo>
                      <a:pt x="78" y="325"/>
                      <a:pt x="76" y="322"/>
                      <a:pt x="75" y="320"/>
                    </a:cubicBezTo>
                    <a:cubicBezTo>
                      <a:pt x="132" y="201"/>
                      <a:pt x="132" y="201"/>
                      <a:pt x="132" y="201"/>
                    </a:cubicBezTo>
                    <a:cubicBezTo>
                      <a:pt x="135" y="202"/>
                      <a:pt x="138" y="203"/>
                      <a:pt x="141" y="203"/>
                    </a:cubicBezTo>
                    <a:cubicBezTo>
                      <a:pt x="149" y="203"/>
                      <a:pt x="157" y="200"/>
                      <a:pt x="163" y="194"/>
                    </a:cubicBezTo>
                    <a:cubicBezTo>
                      <a:pt x="178" y="179"/>
                      <a:pt x="178" y="179"/>
                      <a:pt x="178" y="179"/>
                    </a:cubicBezTo>
                    <a:cubicBezTo>
                      <a:pt x="181" y="176"/>
                      <a:pt x="181" y="171"/>
                      <a:pt x="178" y="168"/>
                    </a:cubicBezTo>
                    <a:cubicBezTo>
                      <a:pt x="175" y="165"/>
                      <a:pt x="170" y="165"/>
                      <a:pt x="167" y="168"/>
                    </a:cubicBezTo>
                    <a:cubicBezTo>
                      <a:pt x="152" y="182"/>
                      <a:pt x="152" y="182"/>
                      <a:pt x="152" y="182"/>
                    </a:cubicBezTo>
                    <a:cubicBezTo>
                      <a:pt x="146" y="188"/>
                      <a:pt x="137" y="188"/>
                      <a:pt x="131" y="182"/>
                    </a:cubicBezTo>
                    <a:cubicBezTo>
                      <a:pt x="93" y="145"/>
                      <a:pt x="93" y="145"/>
                      <a:pt x="93" y="145"/>
                    </a:cubicBezTo>
                    <a:cubicBezTo>
                      <a:pt x="87" y="139"/>
                      <a:pt x="87" y="130"/>
                      <a:pt x="93" y="124"/>
                    </a:cubicBezTo>
                    <a:cubicBezTo>
                      <a:pt x="131" y="86"/>
                      <a:pt x="131" y="86"/>
                      <a:pt x="131" y="86"/>
                    </a:cubicBezTo>
                    <a:cubicBezTo>
                      <a:pt x="137" y="80"/>
                      <a:pt x="146" y="80"/>
                      <a:pt x="152" y="86"/>
                    </a:cubicBezTo>
                    <a:cubicBezTo>
                      <a:pt x="190" y="124"/>
                      <a:pt x="190" y="124"/>
                      <a:pt x="190" y="124"/>
                    </a:cubicBezTo>
                    <a:cubicBezTo>
                      <a:pt x="195" y="130"/>
                      <a:pt x="195" y="139"/>
                      <a:pt x="190" y="145"/>
                    </a:cubicBezTo>
                    <a:cubicBezTo>
                      <a:pt x="189" y="145"/>
                      <a:pt x="189" y="145"/>
                      <a:pt x="189" y="145"/>
                    </a:cubicBezTo>
                    <a:cubicBezTo>
                      <a:pt x="186" y="148"/>
                      <a:pt x="186" y="153"/>
                      <a:pt x="189" y="157"/>
                    </a:cubicBezTo>
                    <a:cubicBezTo>
                      <a:pt x="192" y="160"/>
                      <a:pt x="197" y="160"/>
                      <a:pt x="200" y="157"/>
                    </a:cubicBezTo>
                    <a:cubicBezTo>
                      <a:pt x="201" y="156"/>
                      <a:pt x="201" y="156"/>
                      <a:pt x="201" y="156"/>
                    </a:cubicBezTo>
                    <a:cubicBezTo>
                      <a:pt x="211" y="146"/>
                      <a:pt x="213" y="131"/>
                      <a:pt x="207" y="120"/>
                    </a:cubicBezTo>
                    <a:cubicBezTo>
                      <a:pt x="210" y="116"/>
                      <a:pt x="219" y="107"/>
                      <a:pt x="228" y="100"/>
                    </a:cubicBezTo>
                    <a:cubicBezTo>
                      <a:pt x="231" y="97"/>
                      <a:pt x="232" y="92"/>
                      <a:pt x="229" y="89"/>
                    </a:cubicBezTo>
                    <a:cubicBezTo>
                      <a:pt x="227" y="85"/>
                      <a:pt x="221" y="85"/>
                      <a:pt x="218" y="87"/>
                    </a:cubicBezTo>
                    <a:close/>
                    <a:moveTo>
                      <a:pt x="38" y="75"/>
                    </a:moveTo>
                    <a:cubicBezTo>
                      <a:pt x="39" y="67"/>
                      <a:pt x="42" y="59"/>
                      <a:pt x="47" y="52"/>
                    </a:cubicBezTo>
                    <a:cubicBezTo>
                      <a:pt x="55" y="40"/>
                      <a:pt x="66" y="34"/>
                      <a:pt x="73" y="34"/>
                    </a:cubicBezTo>
                    <a:cubicBezTo>
                      <a:pt x="76" y="34"/>
                      <a:pt x="78" y="35"/>
                      <a:pt x="80" y="36"/>
                    </a:cubicBezTo>
                    <a:cubicBezTo>
                      <a:pt x="87" y="41"/>
                      <a:pt x="87" y="57"/>
                      <a:pt x="76" y="72"/>
                    </a:cubicBezTo>
                    <a:cubicBezTo>
                      <a:pt x="68" y="84"/>
                      <a:pt x="57" y="90"/>
                      <a:pt x="50" y="90"/>
                    </a:cubicBezTo>
                    <a:cubicBezTo>
                      <a:pt x="47" y="90"/>
                      <a:pt x="45" y="89"/>
                      <a:pt x="43" y="88"/>
                    </a:cubicBezTo>
                    <a:cubicBezTo>
                      <a:pt x="39" y="85"/>
                      <a:pt x="38" y="78"/>
                      <a:pt x="38" y="75"/>
                    </a:cubicBezTo>
                    <a:close/>
                    <a:moveTo>
                      <a:pt x="119" y="193"/>
                    </a:moveTo>
                    <a:cubicBezTo>
                      <a:pt x="60" y="315"/>
                      <a:pt x="60" y="315"/>
                      <a:pt x="60" y="315"/>
                    </a:cubicBezTo>
                    <a:cubicBezTo>
                      <a:pt x="57" y="321"/>
                      <a:pt x="61" y="328"/>
                      <a:pt x="65" y="335"/>
                    </a:cubicBezTo>
                    <a:cubicBezTo>
                      <a:pt x="68" y="340"/>
                      <a:pt x="72" y="347"/>
                      <a:pt x="71" y="352"/>
                    </a:cubicBezTo>
                    <a:cubicBezTo>
                      <a:pt x="68" y="367"/>
                      <a:pt x="67" y="368"/>
                      <a:pt x="60" y="368"/>
                    </a:cubicBezTo>
                    <a:cubicBezTo>
                      <a:pt x="61" y="365"/>
                      <a:pt x="61" y="362"/>
                      <a:pt x="62" y="359"/>
                    </a:cubicBezTo>
                    <a:cubicBezTo>
                      <a:pt x="62" y="354"/>
                      <a:pt x="59" y="350"/>
                      <a:pt x="55" y="350"/>
                    </a:cubicBezTo>
                    <a:cubicBezTo>
                      <a:pt x="50" y="349"/>
                      <a:pt x="46" y="352"/>
                      <a:pt x="46" y="357"/>
                    </a:cubicBezTo>
                    <a:cubicBezTo>
                      <a:pt x="43" y="375"/>
                      <a:pt x="43" y="375"/>
                      <a:pt x="43" y="375"/>
                    </a:cubicBezTo>
                    <a:cubicBezTo>
                      <a:pt x="43" y="375"/>
                      <a:pt x="43" y="375"/>
                      <a:pt x="43" y="376"/>
                    </a:cubicBezTo>
                    <a:cubicBezTo>
                      <a:pt x="42" y="381"/>
                      <a:pt x="42" y="385"/>
                      <a:pt x="41" y="386"/>
                    </a:cubicBezTo>
                    <a:cubicBezTo>
                      <a:pt x="41" y="387"/>
                      <a:pt x="37" y="389"/>
                      <a:pt x="34" y="389"/>
                    </a:cubicBezTo>
                    <a:cubicBezTo>
                      <a:pt x="33" y="389"/>
                      <a:pt x="33" y="389"/>
                      <a:pt x="33" y="389"/>
                    </a:cubicBezTo>
                    <a:cubicBezTo>
                      <a:pt x="33" y="389"/>
                      <a:pt x="31" y="388"/>
                      <a:pt x="28" y="381"/>
                    </a:cubicBezTo>
                    <a:cubicBezTo>
                      <a:pt x="18" y="352"/>
                      <a:pt x="36" y="324"/>
                      <a:pt x="43" y="312"/>
                    </a:cubicBezTo>
                    <a:cubicBezTo>
                      <a:pt x="45" y="310"/>
                      <a:pt x="46" y="308"/>
                      <a:pt x="47" y="307"/>
                    </a:cubicBezTo>
                    <a:cubicBezTo>
                      <a:pt x="48" y="303"/>
                      <a:pt x="50" y="294"/>
                      <a:pt x="56" y="269"/>
                    </a:cubicBezTo>
                    <a:cubicBezTo>
                      <a:pt x="61" y="244"/>
                      <a:pt x="68" y="210"/>
                      <a:pt x="72" y="200"/>
                    </a:cubicBezTo>
                    <a:cubicBezTo>
                      <a:pt x="72" y="199"/>
                      <a:pt x="73" y="198"/>
                      <a:pt x="73" y="197"/>
                    </a:cubicBezTo>
                    <a:cubicBezTo>
                      <a:pt x="84" y="195"/>
                      <a:pt x="96" y="190"/>
                      <a:pt x="109" y="183"/>
                    </a:cubicBezTo>
                    <a:lnTo>
                      <a:pt x="119" y="193"/>
                    </a:lnTo>
                    <a:close/>
                    <a:moveTo>
                      <a:pt x="92" y="166"/>
                    </a:moveTo>
                    <a:cubicBezTo>
                      <a:pt x="97" y="171"/>
                      <a:pt x="97" y="171"/>
                      <a:pt x="97" y="171"/>
                    </a:cubicBezTo>
                    <a:cubicBezTo>
                      <a:pt x="93" y="173"/>
                      <a:pt x="89" y="175"/>
                      <a:pt x="85" y="177"/>
                    </a:cubicBezTo>
                    <a:cubicBezTo>
                      <a:pt x="87" y="173"/>
                      <a:pt x="90" y="169"/>
                      <a:pt x="92" y="1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91" name="Freeform 3"/>
              <p:cNvSpPr>
                <a:spLocks noChangeAspect="1" noEditPoints="1"/>
              </p:cNvSpPr>
              <p:nvPr/>
            </p:nvSpPr>
            <p:spPr bwMode="auto">
              <a:xfrm>
                <a:off x="4669270" y="3599442"/>
                <a:ext cx="152649" cy="149562"/>
              </a:xfrm>
              <a:custGeom>
                <a:avLst/>
                <a:gdLst>
                  <a:gd name="T0" fmla="*/ 2147483647 w 386"/>
                  <a:gd name="T1" fmla="*/ 2147483647 h 386"/>
                  <a:gd name="T2" fmla="*/ 2147483647 w 386"/>
                  <a:gd name="T3" fmla="*/ 2147483647 h 386"/>
                  <a:gd name="T4" fmla="*/ 2147483647 w 386"/>
                  <a:gd name="T5" fmla="*/ 2147483647 h 386"/>
                  <a:gd name="T6" fmla="*/ 2147483647 w 386"/>
                  <a:gd name="T7" fmla="*/ 2147483647 h 386"/>
                  <a:gd name="T8" fmla="*/ 2147483647 w 386"/>
                  <a:gd name="T9" fmla="*/ 2147483647 h 386"/>
                  <a:gd name="T10" fmla="*/ 2147483647 w 386"/>
                  <a:gd name="T11" fmla="*/ 2147483647 h 386"/>
                  <a:gd name="T12" fmla="*/ 2147483647 w 386"/>
                  <a:gd name="T13" fmla="*/ 2147483647 h 386"/>
                  <a:gd name="T14" fmla="*/ 2147483647 w 386"/>
                  <a:gd name="T15" fmla="*/ 2147483647 h 386"/>
                  <a:gd name="T16" fmla="*/ 2147483647 w 386"/>
                  <a:gd name="T17" fmla="*/ 2147483647 h 386"/>
                  <a:gd name="T18" fmla="*/ 2147483647 w 386"/>
                  <a:gd name="T19" fmla="*/ 2147483647 h 386"/>
                  <a:gd name="T20" fmla="*/ 2147483647 w 386"/>
                  <a:gd name="T21" fmla="*/ 2147483647 h 386"/>
                  <a:gd name="T22" fmla="*/ 2147483647 w 386"/>
                  <a:gd name="T23" fmla="*/ 2147483647 h 386"/>
                  <a:gd name="T24" fmla="*/ 2147483647 w 386"/>
                  <a:gd name="T25" fmla="*/ 2147483647 h 386"/>
                  <a:gd name="T26" fmla="*/ 2147483647 w 386"/>
                  <a:gd name="T27" fmla="*/ 2147483647 h 386"/>
                  <a:gd name="T28" fmla="*/ 2147483647 w 386"/>
                  <a:gd name="T29" fmla="*/ 2147483647 h 386"/>
                  <a:gd name="T30" fmla="*/ 2147483647 w 386"/>
                  <a:gd name="T31" fmla="*/ 2147483647 h 386"/>
                  <a:gd name="T32" fmla="*/ 2147483647 w 386"/>
                  <a:gd name="T33" fmla="*/ 2147483647 h 386"/>
                  <a:gd name="T34" fmla="*/ 2147483647 w 386"/>
                  <a:gd name="T35" fmla="*/ 2147483647 h 386"/>
                  <a:gd name="T36" fmla="*/ 2147483647 w 386"/>
                  <a:gd name="T37" fmla="*/ 2147483647 h 386"/>
                  <a:gd name="T38" fmla="*/ 2147483647 w 386"/>
                  <a:gd name="T39" fmla="*/ 2147483647 h 386"/>
                  <a:gd name="T40" fmla="*/ 2147483647 w 386"/>
                  <a:gd name="T41" fmla="*/ 0 h 386"/>
                  <a:gd name="T42" fmla="*/ 0 w 386"/>
                  <a:gd name="T43" fmla="*/ 2147483647 h 386"/>
                  <a:gd name="T44" fmla="*/ 2147483647 w 386"/>
                  <a:gd name="T45" fmla="*/ 2147483647 h 386"/>
                  <a:gd name="T46" fmla="*/ 2147483647 w 386"/>
                  <a:gd name="T47" fmla="*/ 2147483647 h 386"/>
                  <a:gd name="T48" fmla="*/ 2147483647 w 386"/>
                  <a:gd name="T49" fmla="*/ 2147483647 h 386"/>
                  <a:gd name="T50" fmla="*/ 2147483647 w 386"/>
                  <a:gd name="T51" fmla="*/ 2147483647 h 386"/>
                  <a:gd name="T52" fmla="*/ 2147483647 w 386"/>
                  <a:gd name="T53" fmla="*/ 2147483647 h 386"/>
                  <a:gd name="T54" fmla="*/ 2147483647 w 386"/>
                  <a:gd name="T55" fmla="*/ 2147483647 h 386"/>
                  <a:gd name="T56" fmla="*/ 2147483647 w 386"/>
                  <a:gd name="T57" fmla="*/ 2147483647 h 386"/>
                  <a:gd name="T58" fmla="*/ 2147483647 w 386"/>
                  <a:gd name="T59" fmla="*/ 2147483647 h 386"/>
                  <a:gd name="T60" fmla="*/ 2147483647 w 386"/>
                  <a:gd name="T61" fmla="*/ 2147483647 h 386"/>
                  <a:gd name="T62" fmla="*/ 2147483647 w 386"/>
                  <a:gd name="T63" fmla="*/ 2147483647 h 386"/>
                  <a:gd name="T64" fmla="*/ 2147483647 w 386"/>
                  <a:gd name="T65" fmla="*/ 2147483647 h 386"/>
                  <a:gd name="T66" fmla="*/ 2147483647 w 386"/>
                  <a:gd name="T67" fmla="*/ 2147483647 h 386"/>
                  <a:gd name="T68" fmla="*/ 2147483647 w 386"/>
                  <a:gd name="T69" fmla="*/ 2147483647 h 386"/>
                  <a:gd name="T70" fmla="*/ 2147483647 w 386"/>
                  <a:gd name="T71" fmla="*/ 2147483647 h 386"/>
                  <a:gd name="T72" fmla="*/ 2147483647 w 386"/>
                  <a:gd name="T73" fmla="*/ 2147483647 h 386"/>
                  <a:gd name="T74" fmla="*/ 2147483647 w 386"/>
                  <a:gd name="T75" fmla="*/ 2147483647 h 386"/>
                  <a:gd name="T76" fmla="*/ 2147483647 w 386"/>
                  <a:gd name="T77" fmla="*/ 2147483647 h 386"/>
                  <a:gd name="T78" fmla="*/ 2147483647 w 386"/>
                  <a:gd name="T79" fmla="*/ 2147483647 h 386"/>
                  <a:gd name="T80" fmla="*/ 2147483647 w 386"/>
                  <a:gd name="T81" fmla="*/ 2147483647 h 386"/>
                  <a:gd name="T82" fmla="*/ 2147483647 w 386"/>
                  <a:gd name="T83" fmla="*/ 2147483647 h 38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386" h="386">
                    <a:moveTo>
                      <a:pt x="248" y="193"/>
                    </a:moveTo>
                    <a:cubicBezTo>
                      <a:pt x="248" y="162"/>
                      <a:pt x="224" y="137"/>
                      <a:pt x="193" y="137"/>
                    </a:cubicBezTo>
                    <a:cubicBezTo>
                      <a:pt x="163" y="137"/>
                      <a:pt x="138" y="162"/>
                      <a:pt x="138" y="193"/>
                    </a:cubicBezTo>
                    <a:cubicBezTo>
                      <a:pt x="138" y="223"/>
                      <a:pt x="163" y="248"/>
                      <a:pt x="193" y="248"/>
                    </a:cubicBezTo>
                    <a:cubicBezTo>
                      <a:pt x="224" y="248"/>
                      <a:pt x="248" y="223"/>
                      <a:pt x="248" y="193"/>
                    </a:cubicBezTo>
                    <a:moveTo>
                      <a:pt x="154" y="193"/>
                    </a:moveTo>
                    <a:cubicBezTo>
                      <a:pt x="154" y="171"/>
                      <a:pt x="171" y="153"/>
                      <a:pt x="193" y="153"/>
                    </a:cubicBezTo>
                    <a:cubicBezTo>
                      <a:pt x="215" y="153"/>
                      <a:pt x="232" y="171"/>
                      <a:pt x="232" y="193"/>
                    </a:cubicBezTo>
                    <a:cubicBezTo>
                      <a:pt x="232" y="214"/>
                      <a:pt x="215" y="232"/>
                      <a:pt x="193" y="232"/>
                    </a:cubicBezTo>
                    <a:cubicBezTo>
                      <a:pt x="171" y="232"/>
                      <a:pt x="154" y="214"/>
                      <a:pt x="154" y="193"/>
                    </a:cubicBezTo>
                    <a:moveTo>
                      <a:pt x="340" y="69"/>
                    </a:moveTo>
                    <a:cubicBezTo>
                      <a:pt x="338" y="65"/>
                      <a:pt x="333" y="65"/>
                      <a:pt x="329" y="68"/>
                    </a:cubicBezTo>
                    <a:cubicBezTo>
                      <a:pt x="326" y="71"/>
                      <a:pt x="325" y="76"/>
                      <a:pt x="328" y="79"/>
                    </a:cubicBezTo>
                    <a:cubicBezTo>
                      <a:pt x="355" y="111"/>
                      <a:pt x="370" y="151"/>
                      <a:pt x="370" y="193"/>
                    </a:cubicBezTo>
                    <a:cubicBezTo>
                      <a:pt x="370" y="290"/>
                      <a:pt x="290" y="370"/>
                      <a:pt x="193" y="370"/>
                    </a:cubicBezTo>
                    <a:cubicBezTo>
                      <a:pt x="96" y="370"/>
                      <a:pt x="16" y="290"/>
                      <a:pt x="16" y="193"/>
                    </a:cubicBezTo>
                    <a:cubicBezTo>
                      <a:pt x="16" y="95"/>
                      <a:pt x="96" y="16"/>
                      <a:pt x="193" y="16"/>
                    </a:cubicBezTo>
                    <a:cubicBezTo>
                      <a:pt x="235" y="16"/>
                      <a:pt x="275" y="30"/>
                      <a:pt x="307" y="58"/>
                    </a:cubicBezTo>
                    <a:cubicBezTo>
                      <a:pt x="310" y="60"/>
                      <a:pt x="315" y="60"/>
                      <a:pt x="318" y="57"/>
                    </a:cubicBezTo>
                    <a:cubicBezTo>
                      <a:pt x="321" y="53"/>
                      <a:pt x="320" y="48"/>
                      <a:pt x="317" y="45"/>
                    </a:cubicBezTo>
                    <a:cubicBezTo>
                      <a:pt x="282" y="16"/>
                      <a:pt x="239" y="0"/>
                      <a:pt x="193" y="0"/>
                    </a:cubicBezTo>
                    <a:cubicBezTo>
                      <a:pt x="87" y="0"/>
                      <a:pt x="0" y="87"/>
                      <a:pt x="0" y="193"/>
                    </a:cubicBezTo>
                    <a:cubicBezTo>
                      <a:pt x="0" y="299"/>
                      <a:pt x="87" y="386"/>
                      <a:pt x="193" y="386"/>
                    </a:cubicBezTo>
                    <a:cubicBezTo>
                      <a:pt x="299" y="386"/>
                      <a:pt x="386" y="299"/>
                      <a:pt x="386" y="193"/>
                    </a:cubicBezTo>
                    <a:cubicBezTo>
                      <a:pt x="386" y="147"/>
                      <a:pt x="370" y="104"/>
                      <a:pt x="340" y="69"/>
                    </a:cubicBezTo>
                    <a:moveTo>
                      <a:pt x="193" y="355"/>
                    </a:moveTo>
                    <a:cubicBezTo>
                      <a:pt x="283" y="355"/>
                      <a:pt x="355" y="282"/>
                      <a:pt x="355" y="193"/>
                    </a:cubicBezTo>
                    <a:cubicBezTo>
                      <a:pt x="355" y="188"/>
                      <a:pt x="352" y="185"/>
                      <a:pt x="347" y="185"/>
                    </a:cubicBezTo>
                    <a:cubicBezTo>
                      <a:pt x="343" y="185"/>
                      <a:pt x="339" y="188"/>
                      <a:pt x="339" y="193"/>
                    </a:cubicBezTo>
                    <a:cubicBezTo>
                      <a:pt x="339" y="274"/>
                      <a:pt x="274" y="339"/>
                      <a:pt x="193" y="339"/>
                    </a:cubicBezTo>
                    <a:cubicBezTo>
                      <a:pt x="189" y="339"/>
                      <a:pt x="185" y="343"/>
                      <a:pt x="185" y="347"/>
                    </a:cubicBezTo>
                    <a:cubicBezTo>
                      <a:pt x="185" y="352"/>
                      <a:pt x="189" y="355"/>
                      <a:pt x="193" y="355"/>
                    </a:cubicBezTo>
                    <a:moveTo>
                      <a:pt x="222" y="193"/>
                    </a:moveTo>
                    <a:cubicBezTo>
                      <a:pt x="222" y="177"/>
                      <a:pt x="209" y="164"/>
                      <a:pt x="193" y="164"/>
                    </a:cubicBezTo>
                    <a:cubicBezTo>
                      <a:pt x="177" y="164"/>
                      <a:pt x="164" y="177"/>
                      <a:pt x="164" y="193"/>
                    </a:cubicBezTo>
                    <a:cubicBezTo>
                      <a:pt x="164" y="209"/>
                      <a:pt x="177" y="222"/>
                      <a:pt x="193" y="222"/>
                    </a:cubicBezTo>
                    <a:cubicBezTo>
                      <a:pt x="209" y="222"/>
                      <a:pt x="222" y="209"/>
                      <a:pt x="222" y="193"/>
                    </a:cubicBezTo>
                    <a:moveTo>
                      <a:pt x="180" y="193"/>
                    </a:moveTo>
                    <a:cubicBezTo>
                      <a:pt x="180" y="186"/>
                      <a:pt x="186" y="180"/>
                      <a:pt x="193" y="180"/>
                    </a:cubicBezTo>
                    <a:cubicBezTo>
                      <a:pt x="200" y="180"/>
                      <a:pt x="206" y="186"/>
                      <a:pt x="206" y="193"/>
                    </a:cubicBezTo>
                    <a:cubicBezTo>
                      <a:pt x="206" y="200"/>
                      <a:pt x="200" y="206"/>
                      <a:pt x="193" y="206"/>
                    </a:cubicBezTo>
                    <a:cubicBezTo>
                      <a:pt x="186" y="206"/>
                      <a:pt x="180" y="200"/>
                      <a:pt x="180" y="19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92" name="Freeform 3"/>
              <p:cNvSpPr>
                <a:spLocks noChangeAspect="1" noEditPoints="1"/>
              </p:cNvSpPr>
              <p:nvPr/>
            </p:nvSpPr>
            <p:spPr bwMode="auto">
              <a:xfrm>
                <a:off x="5270531" y="3607765"/>
                <a:ext cx="179792" cy="153006"/>
              </a:xfrm>
              <a:custGeom>
                <a:avLst/>
                <a:gdLst>
                  <a:gd name="T0" fmla="*/ 2147483647 w 454"/>
                  <a:gd name="T1" fmla="*/ 2147483647 h 395"/>
                  <a:gd name="T2" fmla="*/ 2147483647 w 454"/>
                  <a:gd name="T3" fmla="*/ 2147483647 h 395"/>
                  <a:gd name="T4" fmla="*/ 2147483647 w 454"/>
                  <a:gd name="T5" fmla="*/ 2147483647 h 395"/>
                  <a:gd name="T6" fmla="*/ 2147483647 w 454"/>
                  <a:gd name="T7" fmla="*/ 2147483647 h 395"/>
                  <a:gd name="T8" fmla="*/ 2147483647 w 454"/>
                  <a:gd name="T9" fmla="*/ 2147483647 h 395"/>
                  <a:gd name="T10" fmla="*/ 2147483647 w 454"/>
                  <a:gd name="T11" fmla="*/ 2147483647 h 395"/>
                  <a:gd name="T12" fmla="*/ 2147483647 w 454"/>
                  <a:gd name="T13" fmla="*/ 2147483647 h 395"/>
                  <a:gd name="T14" fmla="*/ 2147483647 w 454"/>
                  <a:gd name="T15" fmla="*/ 2147483647 h 395"/>
                  <a:gd name="T16" fmla="*/ 0 w 454"/>
                  <a:gd name="T17" fmla="*/ 2147483647 h 395"/>
                  <a:gd name="T18" fmla="*/ 2147483647 w 454"/>
                  <a:gd name="T19" fmla="*/ 2147483647 h 395"/>
                  <a:gd name="T20" fmla="*/ 2147483647 w 454"/>
                  <a:gd name="T21" fmla="*/ 2147483647 h 395"/>
                  <a:gd name="T22" fmla="*/ 2147483647 w 454"/>
                  <a:gd name="T23" fmla="*/ 2147483647 h 395"/>
                  <a:gd name="T24" fmla="*/ 2147483647 w 454"/>
                  <a:gd name="T25" fmla="*/ 2147483647 h 395"/>
                  <a:gd name="T26" fmla="*/ 2147483647 w 454"/>
                  <a:gd name="T27" fmla="*/ 2147483647 h 395"/>
                  <a:gd name="T28" fmla="*/ 2147483647 w 454"/>
                  <a:gd name="T29" fmla="*/ 2147483647 h 395"/>
                  <a:gd name="T30" fmla="*/ 2147483647 w 454"/>
                  <a:gd name="T31" fmla="*/ 2147483647 h 395"/>
                  <a:gd name="T32" fmla="*/ 2147483647 w 454"/>
                  <a:gd name="T33" fmla="*/ 2147483647 h 395"/>
                  <a:gd name="T34" fmla="*/ 2147483647 w 454"/>
                  <a:gd name="T35" fmla="*/ 2147483647 h 395"/>
                  <a:gd name="T36" fmla="*/ 2147483647 w 454"/>
                  <a:gd name="T37" fmla="*/ 2147483647 h 395"/>
                  <a:gd name="T38" fmla="*/ 2147483647 w 454"/>
                  <a:gd name="T39" fmla="*/ 2147483647 h 395"/>
                  <a:gd name="T40" fmla="*/ 2147483647 w 454"/>
                  <a:gd name="T41" fmla="*/ 2147483647 h 395"/>
                  <a:gd name="T42" fmla="*/ 2147483647 w 454"/>
                  <a:gd name="T43" fmla="*/ 2147483647 h 395"/>
                  <a:gd name="T44" fmla="*/ 2147483647 w 454"/>
                  <a:gd name="T45" fmla="*/ 2147483647 h 395"/>
                  <a:gd name="T46" fmla="*/ 2147483647 w 454"/>
                  <a:gd name="T47" fmla="*/ 2147483647 h 395"/>
                  <a:gd name="T48" fmla="*/ 2147483647 w 454"/>
                  <a:gd name="T49" fmla="*/ 2147483647 h 395"/>
                  <a:gd name="T50" fmla="*/ 2147483647 w 454"/>
                  <a:gd name="T51" fmla="*/ 2147483647 h 395"/>
                  <a:gd name="T52" fmla="*/ 2147483647 w 454"/>
                  <a:gd name="T53" fmla="*/ 2147483647 h 395"/>
                  <a:gd name="T54" fmla="*/ 2147483647 w 454"/>
                  <a:gd name="T55" fmla="*/ 2147483647 h 395"/>
                  <a:gd name="T56" fmla="*/ 2147483647 w 454"/>
                  <a:gd name="T57" fmla="*/ 2147483647 h 395"/>
                  <a:gd name="T58" fmla="*/ 2147483647 w 454"/>
                  <a:gd name="T59" fmla="*/ 2147483647 h 395"/>
                  <a:gd name="T60" fmla="*/ 2147483647 w 454"/>
                  <a:gd name="T61" fmla="*/ 2147483647 h 395"/>
                  <a:gd name="T62" fmla="*/ 2147483647 w 454"/>
                  <a:gd name="T63" fmla="*/ 2147483647 h 395"/>
                  <a:gd name="T64" fmla="*/ 2147483647 w 454"/>
                  <a:gd name="T65" fmla="*/ 2147483647 h 39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454" h="395">
                    <a:moveTo>
                      <a:pt x="446" y="82"/>
                    </a:moveTo>
                    <a:cubicBezTo>
                      <a:pt x="436" y="76"/>
                      <a:pt x="351" y="28"/>
                      <a:pt x="350" y="28"/>
                    </a:cubicBezTo>
                    <a:cubicBezTo>
                      <a:pt x="347" y="26"/>
                      <a:pt x="342" y="27"/>
                      <a:pt x="339" y="31"/>
                    </a:cubicBezTo>
                    <a:cubicBezTo>
                      <a:pt x="337" y="35"/>
                      <a:pt x="339" y="39"/>
                      <a:pt x="342" y="42"/>
                    </a:cubicBezTo>
                    <a:cubicBezTo>
                      <a:pt x="343" y="42"/>
                      <a:pt x="415" y="83"/>
                      <a:pt x="434" y="93"/>
                    </a:cubicBezTo>
                    <a:cubicBezTo>
                      <a:pt x="426" y="98"/>
                      <a:pt x="407" y="109"/>
                      <a:pt x="382" y="123"/>
                    </a:cubicBezTo>
                    <a:cubicBezTo>
                      <a:pt x="381" y="123"/>
                      <a:pt x="381" y="123"/>
                      <a:pt x="381" y="123"/>
                    </a:cubicBezTo>
                    <a:cubicBezTo>
                      <a:pt x="245" y="47"/>
                      <a:pt x="245" y="47"/>
                      <a:pt x="245" y="47"/>
                    </a:cubicBezTo>
                    <a:cubicBezTo>
                      <a:pt x="292" y="20"/>
                      <a:pt x="292" y="20"/>
                      <a:pt x="292" y="20"/>
                    </a:cubicBezTo>
                    <a:cubicBezTo>
                      <a:pt x="297" y="17"/>
                      <a:pt x="301" y="20"/>
                      <a:pt x="302" y="20"/>
                    </a:cubicBezTo>
                    <a:cubicBezTo>
                      <a:pt x="302" y="20"/>
                      <a:pt x="302" y="20"/>
                      <a:pt x="302" y="20"/>
                    </a:cubicBezTo>
                    <a:cubicBezTo>
                      <a:pt x="316" y="27"/>
                      <a:pt x="316" y="27"/>
                      <a:pt x="316" y="27"/>
                    </a:cubicBezTo>
                    <a:cubicBezTo>
                      <a:pt x="320" y="30"/>
                      <a:pt x="325" y="28"/>
                      <a:pt x="327" y="24"/>
                    </a:cubicBezTo>
                    <a:cubicBezTo>
                      <a:pt x="329" y="20"/>
                      <a:pt x="328" y="16"/>
                      <a:pt x="324" y="13"/>
                    </a:cubicBezTo>
                    <a:cubicBezTo>
                      <a:pt x="310" y="6"/>
                      <a:pt x="310" y="6"/>
                      <a:pt x="310" y="6"/>
                    </a:cubicBezTo>
                    <a:cubicBezTo>
                      <a:pt x="306" y="3"/>
                      <a:pt x="295" y="0"/>
                      <a:pt x="284" y="6"/>
                    </a:cubicBezTo>
                    <a:cubicBezTo>
                      <a:pt x="9" y="163"/>
                      <a:pt x="9" y="163"/>
                      <a:pt x="9" y="163"/>
                    </a:cubicBezTo>
                    <a:cubicBezTo>
                      <a:pt x="5" y="165"/>
                      <a:pt x="0" y="169"/>
                      <a:pt x="0" y="175"/>
                    </a:cubicBezTo>
                    <a:cubicBezTo>
                      <a:pt x="0" y="178"/>
                      <a:pt x="1" y="183"/>
                      <a:pt x="9" y="188"/>
                    </a:cubicBezTo>
                    <a:cubicBezTo>
                      <a:pt x="73" y="224"/>
                      <a:pt x="73" y="224"/>
                      <a:pt x="73" y="224"/>
                    </a:cubicBezTo>
                    <a:cubicBezTo>
                      <a:pt x="73" y="295"/>
                      <a:pt x="73" y="295"/>
                      <a:pt x="73" y="295"/>
                    </a:cubicBezTo>
                    <a:cubicBezTo>
                      <a:pt x="73" y="300"/>
                      <a:pt x="75" y="309"/>
                      <a:pt x="84" y="314"/>
                    </a:cubicBezTo>
                    <a:cubicBezTo>
                      <a:pt x="219" y="392"/>
                      <a:pt x="219" y="392"/>
                      <a:pt x="219" y="392"/>
                    </a:cubicBezTo>
                    <a:cubicBezTo>
                      <a:pt x="219" y="392"/>
                      <a:pt x="219" y="392"/>
                      <a:pt x="219" y="392"/>
                    </a:cubicBezTo>
                    <a:cubicBezTo>
                      <a:pt x="223" y="394"/>
                      <a:pt x="227" y="395"/>
                      <a:pt x="231" y="395"/>
                    </a:cubicBezTo>
                    <a:cubicBezTo>
                      <a:pt x="231" y="395"/>
                      <a:pt x="231" y="395"/>
                      <a:pt x="231" y="395"/>
                    </a:cubicBezTo>
                    <a:cubicBezTo>
                      <a:pt x="231" y="395"/>
                      <a:pt x="231" y="395"/>
                      <a:pt x="231" y="395"/>
                    </a:cubicBezTo>
                    <a:cubicBezTo>
                      <a:pt x="238" y="395"/>
                      <a:pt x="242" y="393"/>
                      <a:pt x="243" y="392"/>
                    </a:cubicBezTo>
                    <a:cubicBezTo>
                      <a:pt x="243" y="392"/>
                      <a:pt x="244" y="392"/>
                      <a:pt x="244" y="392"/>
                    </a:cubicBezTo>
                    <a:cubicBezTo>
                      <a:pt x="378" y="314"/>
                      <a:pt x="378" y="314"/>
                      <a:pt x="378" y="314"/>
                    </a:cubicBezTo>
                    <a:cubicBezTo>
                      <a:pt x="383" y="312"/>
                      <a:pt x="389" y="306"/>
                      <a:pt x="389" y="295"/>
                    </a:cubicBezTo>
                    <a:cubicBezTo>
                      <a:pt x="389" y="137"/>
                      <a:pt x="389" y="137"/>
                      <a:pt x="389" y="137"/>
                    </a:cubicBezTo>
                    <a:cubicBezTo>
                      <a:pt x="420" y="120"/>
                      <a:pt x="442" y="107"/>
                      <a:pt x="445" y="105"/>
                    </a:cubicBezTo>
                    <a:cubicBezTo>
                      <a:pt x="449" y="103"/>
                      <a:pt x="454" y="99"/>
                      <a:pt x="454" y="94"/>
                    </a:cubicBezTo>
                    <a:cubicBezTo>
                      <a:pt x="454" y="91"/>
                      <a:pt x="453" y="86"/>
                      <a:pt x="446" y="82"/>
                    </a:cubicBezTo>
                    <a:close/>
                    <a:moveTo>
                      <a:pt x="20" y="175"/>
                    </a:moveTo>
                    <a:cubicBezTo>
                      <a:pt x="81" y="140"/>
                      <a:pt x="81" y="140"/>
                      <a:pt x="81" y="140"/>
                    </a:cubicBezTo>
                    <a:cubicBezTo>
                      <a:pt x="215" y="218"/>
                      <a:pt x="215" y="218"/>
                      <a:pt x="215" y="218"/>
                    </a:cubicBezTo>
                    <a:cubicBezTo>
                      <a:pt x="185" y="235"/>
                      <a:pt x="163" y="248"/>
                      <a:pt x="161" y="249"/>
                    </a:cubicBezTo>
                    <a:cubicBezTo>
                      <a:pt x="157" y="251"/>
                      <a:pt x="151" y="249"/>
                      <a:pt x="151" y="249"/>
                    </a:cubicBezTo>
                    <a:cubicBezTo>
                      <a:pt x="151" y="249"/>
                      <a:pt x="151" y="249"/>
                      <a:pt x="151" y="249"/>
                    </a:cubicBezTo>
                    <a:lnTo>
                      <a:pt x="20" y="175"/>
                    </a:lnTo>
                    <a:close/>
                    <a:moveTo>
                      <a:pt x="223" y="376"/>
                    </a:moveTo>
                    <a:cubicBezTo>
                      <a:pt x="92" y="300"/>
                      <a:pt x="92" y="300"/>
                      <a:pt x="92" y="300"/>
                    </a:cubicBezTo>
                    <a:cubicBezTo>
                      <a:pt x="89" y="299"/>
                      <a:pt x="89" y="296"/>
                      <a:pt x="89" y="296"/>
                    </a:cubicBezTo>
                    <a:cubicBezTo>
                      <a:pt x="89" y="233"/>
                      <a:pt x="89" y="233"/>
                      <a:pt x="89" y="233"/>
                    </a:cubicBezTo>
                    <a:cubicBezTo>
                      <a:pt x="144" y="263"/>
                      <a:pt x="144" y="263"/>
                      <a:pt x="144" y="263"/>
                    </a:cubicBezTo>
                    <a:cubicBezTo>
                      <a:pt x="146" y="264"/>
                      <a:pt x="151" y="266"/>
                      <a:pt x="157" y="266"/>
                    </a:cubicBezTo>
                    <a:cubicBezTo>
                      <a:pt x="161" y="266"/>
                      <a:pt x="165" y="265"/>
                      <a:pt x="169" y="263"/>
                    </a:cubicBezTo>
                    <a:cubicBezTo>
                      <a:pt x="171" y="261"/>
                      <a:pt x="193" y="249"/>
                      <a:pt x="223" y="232"/>
                    </a:cubicBezTo>
                    <a:lnTo>
                      <a:pt x="223" y="376"/>
                    </a:lnTo>
                    <a:close/>
                    <a:moveTo>
                      <a:pt x="223" y="204"/>
                    </a:moveTo>
                    <a:cubicBezTo>
                      <a:pt x="97" y="131"/>
                      <a:pt x="97" y="131"/>
                      <a:pt x="97" y="131"/>
                    </a:cubicBezTo>
                    <a:cubicBezTo>
                      <a:pt x="223" y="59"/>
                      <a:pt x="223" y="59"/>
                      <a:pt x="223" y="59"/>
                    </a:cubicBezTo>
                    <a:lnTo>
                      <a:pt x="223" y="204"/>
                    </a:lnTo>
                    <a:close/>
                    <a:moveTo>
                      <a:pt x="239" y="63"/>
                    </a:moveTo>
                    <a:cubicBezTo>
                      <a:pt x="364" y="132"/>
                      <a:pt x="364" y="132"/>
                      <a:pt x="364" y="132"/>
                    </a:cubicBezTo>
                    <a:cubicBezTo>
                      <a:pt x="239" y="204"/>
                      <a:pt x="239" y="204"/>
                      <a:pt x="239" y="204"/>
                    </a:cubicBezTo>
                    <a:lnTo>
                      <a:pt x="239" y="63"/>
                    </a:lnTo>
                    <a:close/>
                    <a:moveTo>
                      <a:pt x="373" y="295"/>
                    </a:moveTo>
                    <a:cubicBezTo>
                      <a:pt x="373" y="299"/>
                      <a:pt x="372" y="300"/>
                      <a:pt x="371" y="300"/>
                    </a:cubicBezTo>
                    <a:cubicBezTo>
                      <a:pt x="371" y="300"/>
                      <a:pt x="371" y="300"/>
                      <a:pt x="371" y="300"/>
                    </a:cubicBezTo>
                    <a:cubicBezTo>
                      <a:pt x="239" y="376"/>
                      <a:pt x="239" y="376"/>
                      <a:pt x="239" y="376"/>
                    </a:cubicBezTo>
                    <a:cubicBezTo>
                      <a:pt x="239" y="223"/>
                      <a:pt x="239" y="223"/>
                      <a:pt x="239" y="223"/>
                    </a:cubicBezTo>
                    <a:cubicBezTo>
                      <a:pt x="280" y="199"/>
                      <a:pt x="332" y="170"/>
                      <a:pt x="373" y="146"/>
                    </a:cubicBezTo>
                    <a:lnTo>
                      <a:pt x="373" y="2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93" name="Freeform 3"/>
              <p:cNvSpPr>
                <a:spLocks noChangeAspect="1" noEditPoints="1"/>
              </p:cNvSpPr>
              <p:nvPr/>
            </p:nvSpPr>
            <p:spPr bwMode="auto">
              <a:xfrm>
                <a:off x="5947937" y="3247202"/>
                <a:ext cx="156671" cy="146119"/>
              </a:xfrm>
              <a:custGeom>
                <a:avLst/>
                <a:gdLst>
                  <a:gd name="T0" fmla="*/ 2147483647 w 396"/>
                  <a:gd name="T1" fmla="*/ 2147483647 h 377"/>
                  <a:gd name="T2" fmla="*/ 2147483647 w 396"/>
                  <a:gd name="T3" fmla="*/ 2147483647 h 377"/>
                  <a:gd name="T4" fmla="*/ 2147483647 w 396"/>
                  <a:gd name="T5" fmla="*/ 2147483647 h 377"/>
                  <a:gd name="T6" fmla="*/ 2147483647 w 396"/>
                  <a:gd name="T7" fmla="*/ 2147483647 h 377"/>
                  <a:gd name="T8" fmla="*/ 2147483647 w 396"/>
                  <a:gd name="T9" fmla="*/ 2147483647 h 377"/>
                  <a:gd name="T10" fmla="*/ 2147483647 w 396"/>
                  <a:gd name="T11" fmla="*/ 2147483647 h 377"/>
                  <a:gd name="T12" fmla="*/ 2147483647 w 396"/>
                  <a:gd name="T13" fmla="*/ 2147483647 h 377"/>
                  <a:gd name="T14" fmla="*/ 2147483647 w 396"/>
                  <a:gd name="T15" fmla="*/ 2147483647 h 377"/>
                  <a:gd name="T16" fmla="*/ 2147483647 w 396"/>
                  <a:gd name="T17" fmla="*/ 2147483647 h 377"/>
                  <a:gd name="T18" fmla="*/ 2147483647 w 396"/>
                  <a:gd name="T19" fmla="*/ 2147483647 h 377"/>
                  <a:gd name="T20" fmla="*/ 2147483647 w 396"/>
                  <a:gd name="T21" fmla="*/ 2147483647 h 377"/>
                  <a:gd name="T22" fmla="*/ 2147483647 w 396"/>
                  <a:gd name="T23" fmla="*/ 2147483647 h 377"/>
                  <a:gd name="T24" fmla="*/ 2147483647 w 396"/>
                  <a:gd name="T25" fmla="*/ 2147483647 h 377"/>
                  <a:gd name="T26" fmla="*/ 2147483647 w 396"/>
                  <a:gd name="T27" fmla="*/ 2147483647 h 377"/>
                  <a:gd name="T28" fmla="*/ 2147483647 w 396"/>
                  <a:gd name="T29" fmla="*/ 2147483647 h 377"/>
                  <a:gd name="T30" fmla="*/ 2147483647 w 396"/>
                  <a:gd name="T31" fmla="*/ 2147483647 h 377"/>
                  <a:gd name="T32" fmla="*/ 2147483647 w 396"/>
                  <a:gd name="T33" fmla="*/ 2147483647 h 377"/>
                  <a:gd name="T34" fmla="*/ 2147483647 w 396"/>
                  <a:gd name="T35" fmla="*/ 2147483647 h 377"/>
                  <a:gd name="T36" fmla="*/ 2147483647 w 396"/>
                  <a:gd name="T37" fmla="*/ 2147483647 h 377"/>
                  <a:gd name="T38" fmla="*/ 2147483647 w 396"/>
                  <a:gd name="T39" fmla="*/ 2147483647 h 377"/>
                  <a:gd name="T40" fmla="*/ 2147483647 w 396"/>
                  <a:gd name="T41" fmla="*/ 2147483647 h 377"/>
                  <a:gd name="T42" fmla="*/ 2147483647 w 396"/>
                  <a:gd name="T43" fmla="*/ 2147483647 h 377"/>
                  <a:gd name="T44" fmla="*/ 2147483647 w 396"/>
                  <a:gd name="T45" fmla="*/ 2147483647 h 377"/>
                  <a:gd name="T46" fmla="*/ 2147483647 w 396"/>
                  <a:gd name="T47" fmla="*/ 2147483647 h 377"/>
                  <a:gd name="T48" fmla="*/ 2147483647 w 396"/>
                  <a:gd name="T49" fmla="*/ 2147483647 h 377"/>
                  <a:gd name="T50" fmla="*/ 2147483647 w 396"/>
                  <a:gd name="T51" fmla="*/ 2147483647 h 377"/>
                  <a:gd name="T52" fmla="*/ 2147483647 w 396"/>
                  <a:gd name="T53" fmla="*/ 2147483647 h 377"/>
                  <a:gd name="T54" fmla="*/ 2147483647 w 396"/>
                  <a:gd name="T55" fmla="*/ 2147483647 h 377"/>
                  <a:gd name="T56" fmla="*/ 2147483647 w 396"/>
                  <a:gd name="T57" fmla="*/ 2147483647 h 377"/>
                  <a:gd name="T58" fmla="*/ 2147483647 w 396"/>
                  <a:gd name="T59" fmla="*/ 2147483647 h 377"/>
                  <a:gd name="T60" fmla="*/ 2147483647 w 396"/>
                  <a:gd name="T61" fmla="*/ 2147483647 h 377"/>
                  <a:gd name="T62" fmla="*/ 2147483647 w 396"/>
                  <a:gd name="T63" fmla="*/ 2147483647 h 377"/>
                  <a:gd name="T64" fmla="*/ 2147483647 w 396"/>
                  <a:gd name="T65" fmla="*/ 2147483647 h 377"/>
                  <a:gd name="T66" fmla="*/ 2147483647 w 396"/>
                  <a:gd name="T67" fmla="*/ 2147483647 h 377"/>
                  <a:gd name="T68" fmla="*/ 2147483647 w 396"/>
                  <a:gd name="T69" fmla="*/ 2147483647 h 377"/>
                  <a:gd name="T70" fmla="*/ 2147483647 w 396"/>
                  <a:gd name="T71" fmla="*/ 2147483647 h 377"/>
                  <a:gd name="T72" fmla="*/ 2147483647 w 396"/>
                  <a:gd name="T73" fmla="*/ 2147483647 h 377"/>
                  <a:gd name="T74" fmla="*/ 2147483647 w 396"/>
                  <a:gd name="T75" fmla="*/ 2147483647 h 377"/>
                  <a:gd name="T76" fmla="*/ 2147483647 w 396"/>
                  <a:gd name="T77" fmla="*/ 2147483647 h 377"/>
                  <a:gd name="T78" fmla="*/ 2147483647 w 396"/>
                  <a:gd name="T79" fmla="*/ 2147483647 h 377"/>
                  <a:gd name="T80" fmla="*/ 2147483647 w 396"/>
                  <a:gd name="T81" fmla="*/ 2147483647 h 377"/>
                  <a:gd name="T82" fmla="*/ 2147483647 w 396"/>
                  <a:gd name="T83" fmla="*/ 2147483647 h 377"/>
                  <a:gd name="T84" fmla="*/ 2147483647 w 396"/>
                  <a:gd name="T85" fmla="*/ 2147483647 h 377"/>
                  <a:gd name="T86" fmla="*/ 2147483647 w 396"/>
                  <a:gd name="T87" fmla="*/ 2147483647 h 377"/>
                  <a:gd name="T88" fmla="*/ 2147483647 w 396"/>
                  <a:gd name="T89" fmla="*/ 2147483647 h 377"/>
                  <a:gd name="T90" fmla="*/ 2147483647 w 396"/>
                  <a:gd name="T91" fmla="*/ 2147483647 h 377"/>
                  <a:gd name="T92" fmla="*/ 2147483647 w 396"/>
                  <a:gd name="T93" fmla="*/ 2147483647 h 377"/>
                  <a:gd name="T94" fmla="*/ 2147483647 w 396"/>
                  <a:gd name="T95" fmla="*/ 2147483647 h 377"/>
                  <a:gd name="T96" fmla="*/ 2147483647 w 396"/>
                  <a:gd name="T97" fmla="*/ 2147483647 h 377"/>
                  <a:gd name="T98" fmla="*/ 2147483647 w 396"/>
                  <a:gd name="T99" fmla="*/ 2147483647 h 377"/>
                  <a:gd name="T100" fmla="*/ 2147483647 w 396"/>
                  <a:gd name="T101" fmla="*/ 2147483647 h 377"/>
                  <a:gd name="T102" fmla="*/ 2147483647 w 396"/>
                  <a:gd name="T103" fmla="*/ 2147483647 h 377"/>
                  <a:gd name="T104" fmla="*/ 2147483647 w 396"/>
                  <a:gd name="T105" fmla="*/ 2147483647 h 377"/>
                  <a:gd name="T106" fmla="*/ 2147483647 w 396"/>
                  <a:gd name="T107" fmla="*/ 2147483647 h 37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396" h="377">
                    <a:moveTo>
                      <a:pt x="388" y="64"/>
                    </a:moveTo>
                    <a:cubicBezTo>
                      <a:pt x="392" y="64"/>
                      <a:pt x="396" y="60"/>
                      <a:pt x="396" y="56"/>
                    </a:cubicBezTo>
                    <a:cubicBezTo>
                      <a:pt x="396" y="39"/>
                      <a:pt x="396" y="39"/>
                      <a:pt x="396" y="39"/>
                    </a:cubicBezTo>
                    <a:cubicBezTo>
                      <a:pt x="396" y="28"/>
                      <a:pt x="389" y="19"/>
                      <a:pt x="377" y="17"/>
                    </a:cubicBezTo>
                    <a:cubicBezTo>
                      <a:pt x="279" y="0"/>
                      <a:pt x="211" y="31"/>
                      <a:pt x="204" y="35"/>
                    </a:cubicBezTo>
                    <a:cubicBezTo>
                      <a:pt x="201" y="36"/>
                      <a:pt x="200" y="37"/>
                      <a:pt x="198" y="37"/>
                    </a:cubicBezTo>
                    <a:cubicBezTo>
                      <a:pt x="197" y="37"/>
                      <a:pt x="195" y="36"/>
                      <a:pt x="193" y="35"/>
                    </a:cubicBezTo>
                    <a:cubicBezTo>
                      <a:pt x="185" y="31"/>
                      <a:pt x="118" y="0"/>
                      <a:pt x="19" y="17"/>
                    </a:cubicBezTo>
                    <a:cubicBezTo>
                      <a:pt x="7" y="19"/>
                      <a:pt x="1" y="28"/>
                      <a:pt x="1" y="39"/>
                    </a:cubicBezTo>
                    <a:cubicBezTo>
                      <a:pt x="1" y="254"/>
                      <a:pt x="1" y="254"/>
                      <a:pt x="1" y="254"/>
                    </a:cubicBezTo>
                    <a:cubicBezTo>
                      <a:pt x="1" y="261"/>
                      <a:pt x="3" y="267"/>
                      <a:pt x="7" y="270"/>
                    </a:cubicBezTo>
                    <a:cubicBezTo>
                      <a:pt x="9" y="273"/>
                      <a:pt x="14" y="275"/>
                      <a:pt x="21" y="275"/>
                    </a:cubicBezTo>
                    <a:cubicBezTo>
                      <a:pt x="109" y="270"/>
                      <a:pt x="178" y="292"/>
                      <a:pt x="190" y="296"/>
                    </a:cubicBezTo>
                    <a:cubicBezTo>
                      <a:pt x="193" y="297"/>
                      <a:pt x="196" y="297"/>
                      <a:pt x="198" y="297"/>
                    </a:cubicBezTo>
                    <a:cubicBezTo>
                      <a:pt x="201" y="297"/>
                      <a:pt x="203" y="297"/>
                      <a:pt x="206" y="296"/>
                    </a:cubicBezTo>
                    <a:cubicBezTo>
                      <a:pt x="219" y="292"/>
                      <a:pt x="287" y="270"/>
                      <a:pt x="375" y="275"/>
                    </a:cubicBezTo>
                    <a:cubicBezTo>
                      <a:pt x="382" y="275"/>
                      <a:pt x="387" y="273"/>
                      <a:pt x="390" y="270"/>
                    </a:cubicBezTo>
                    <a:cubicBezTo>
                      <a:pt x="394" y="267"/>
                      <a:pt x="396" y="261"/>
                      <a:pt x="396" y="254"/>
                    </a:cubicBezTo>
                    <a:cubicBezTo>
                      <a:pt x="396" y="88"/>
                      <a:pt x="396" y="88"/>
                      <a:pt x="396" y="88"/>
                    </a:cubicBezTo>
                    <a:cubicBezTo>
                      <a:pt x="396" y="83"/>
                      <a:pt x="392" y="80"/>
                      <a:pt x="388" y="80"/>
                    </a:cubicBezTo>
                    <a:cubicBezTo>
                      <a:pt x="383" y="80"/>
                      <a:pt x="380" y="83"/>
                      <a:pt x="380" y="88"/>
                    </a:cubicBezTo>
                    <a:cubicBezTo>
                      <a:pt x="380" y="254"/>
                      <a:pt x="380" y="254"/>
                      <a:pt x="380" y="254"/>
                    </a:cubicBezTo>
                    <a:cubicBezTo>
                      <a:pt x="380" y="257"/>
                      <a:pt x="379" y="258"/>
                      <a:pt x="379" y="258"/>
                    </a:cubicBezTo>
                    <a:cubicBezTo>
                      <a:pt x="379" y="258"/>
                      <a:pt x="378" y="259"/>
                      <a:pt x="376" y="259"/>
                    </a:cubicBezTo>
                    <a:cubicBezTo>
                      <a:pt x="285" y="254"/>
                      <a:pt x="214" y="276"/>
                      <a:pt x="201" y="281"/>
                    </a:cubicBezTo>
                    <a:cubicBezTo>
                      <a:pt x="199" y="282"/>
                      <a:pt x="197" y="282"/>
                      <a:pt x="196" y="281"/>
                    </a:cubicBezTo>
                    <a:cubicBezTo>
                      <a:pt x="182" y="276"/>
                      <a:pt x="111" y="254"/>
                      <a:pt x="20" y="259"/>
                    </a:cubicBezTo>
                    <a:cubicBezTo>
                      <a:pt x="18" y="259"/>
                      <a:pt x="17" y="258"/>
                      <a:pt x="17" y="258"/>
                    </a:cubicBezTo>
                    <a:cubicBezTo>
                      <a:pt x="17" y="258"/>
                      <a:pt x="17" y="257"/>
                      <a:pt x="17" y="254"/>
                    </a:cubicBezTo>
                    <a:cubicBezTo>
                      <a:pt x="17" y="39"/>
                      <a:pt x="17" y="39"/>
                      <a:pt x="17" y="39"/>
                    </a:cubicBezTo>
                    <a:cubicBezTo>
                      <a:pt x="17" y="35"/>
                      <a:pt x="18" y="34"/>
                      <a:pt x="22" y="33"/>
                    </a:cubicBezTo>
                    <a:cubicBezTo>
                      <a:pt x="115" y="16"/>
                      <a:pt x="179" y="46"/>
                      <a:pt x="186" y="49"/>
                    </a:cubicBezTo>
                    <a:cubicBezTo>
                      <a:pt x="192" y="52"/>
                      <a:pt x="195" y="53"/>
                      <a:pt x="195" y="53"/>
                    </a:cubicBezTo>
                    <a:cubicBezTo>
                      <a:pt x="197" y="54"/>
                      <a:pt x="199" y="54"/>
                      <a:pt x="201" y="53"/>
                    </a:cubicBezTo>
                    <a:cubicBezTo>
                      <a:pt x="201" y="53"/>
                      <a:pt x="205" y="52"/>
                      <a:pt x="211" y="49"/>
                    </a:cubicBezTo>
                    <a:cubicBezTo>
                      <a:pt x="217" y="46"/>
                      <a:pt x="281" y="16"/>
                      <a:pt x="375" y="33"/>
                    </a:cubicBezTo>
                    <a:cubicBezTo>
                      <a:pt x="378" y="34"/>
                      <a:pt x="380" y="35"/>
                      <a:pt x="380" y="39"/>
                    </a:cubicBezTo>
                    <a:cubicBezTo>
                      <a:pt x="380" y="56"/>
                      <a:pt x="380" y="56"/>
                      <a:pt x="380" y="56"/>
                    </a:cubicBezTo>
                    <a:cubicBezTo>
                      <a:pt x="380" y="60"/>
                      <a:pt x="383" y="64"/>
                      <a:pt x="388" y="64"/>
                    </a:cubicBezTo>
                    <a:moveTo>
                      <a:pt x="389" y="299"/>
                    </a:moveTo>
                    <a:cubicBezTo>
                      <a:pt x="295" y="291"/>
                      <a:pt x="221" y="314"/>
                      <a:pt x="201" y="321"/>
                    </a:cubicBezTo>
                    <a:cubicBezTo>
                      <a:pt x="199" y="321"/>
                      <a:pt x="197" y="321"/>
                      <a:pt x="196" y="321"/>
                    </a:cubicBezTo>
                    <a:cubicBezTo>
                      <a:pt x="175" y="314"/>
                      <a:pt x="101" y="291"/>
                      <a:pt x="8" y="299"/>
                    </a:cubicBezTo>
                    <a:cubicBezTo>
                      <a:pt x="3" y="300"/>
                      <a:pt x="0" y="304"/>
                      <a:pt x="1" y="308"/>
                    </a:cubicBezTo>
                    <a:cubicBezTo>
                      <a:pt x="1" y="313"/>
                      <a:pt x="5" y="316"/>
                      <a:pt x="9" y="315"/>
                    </a:cubicBezTo>
                    <a:cubicBezTo>
                      <a:pt x="99" y="307"/>
                      <a:pt x="171" y="329"/>
                      <a:pt x="190" y="336"/>
                    </a:cubicBezTo>
                    <a:cubicBezTo>
                      <a:pt x="193" y="337"/>
                      <a:pt x="196" y="337"/>
                      <a:pt x="198" y="337"/>
                    </a:cubicBezTo>
                    <a:cubicBezTo>
                      <a:pt x="201" y="337"/>
                      <a:pt x="203" y="337"/>
                      <a:pt x="206" y="336"/>
                    </a:cubicBezTo>
                    <a:cubicBezTo>
                      <a:pt x="226" y="329"/>
                      <a:pt x="297" y="307"/>
                      <a:pt x="387" y="315"/>
                    </a:cubicBezTo>
                    <a:cubicBezTo>
                      <a:pt x="392" y="316"/>
                      <a:pt x="395" y="313"/>
                      <a:pt x="396" y="308"/>
                    </a:cubicBezTo>
                    <a:cubicBezTo>
                      <a:pt x="396" y="304"/>
                      <a:pt x="393" y="300"/>
                      <a:pt x="389" y="299"/>
                    </a:cubicBezTo>
                    <a:moveTo>
                      <a:pt x="389" y="339"/>
                    </a:moveTo>
                    <a:cubicBezTo>
                      <a:pt x="295" y="331"/>
                      <a:pt x="221" y="354"/>
                      <a:pt x="200" y="361"/>
                    </a:cubicBezTo>
                    <a:cubicBezTo>
                      <a:pt x="199" y="361"/>
                      <a:pt x="197" y="361"/>
                      <a:pt x="196" y="361"/>
                    </a:cubicBezTo>
                    <a:cubicBezTo>
                      <a:pt x="176" y="354"/>
                      <a:pt x="101" y="331"/>
                      <a:pt x="8" y="339"/>
                    </a:cubicBezTo>
                    <a:cubicBezTo>
                      <a:pt x="3" y="340"/>
                      <a:pt x="0" y="344"/>
                      <a:pt x="1" y="348"/>
                    </a:cubicBezTo>
                    <a:cubicBezTo>
                      <a:pt x="1" y="352"/>
                      <a:pt x="5" y="356"/>
                      <a:pt x="9" y="355"/>
                    </a:cubicBezTo>
                    <a:cubicBezTo>
                      <a:pt x="100" y="347"/>
                      <a:pt x="171" y="369"/>
                      <a:pt x="191" y="376"/>
                    </a:cubicBezTo>
                    <a:cubicBezTo>
                      <a:pt x="193" y="377"/>
                      <a:pt x="196" y="377"/>
                      <a:pt x="198" y="377"/>
                    </a:cubicBezTo>
                    <a:cubicBezTo>
                      <a:pt x="201" y="377"/>
                      <a:pt x="203" y="377"/>
                      <a:pt x="206" y="376"/>
                    </a:cubicBezTo>
                    <a:cubicBezTo>
                      <a:pt x="225" y="369"/>
                      <a:pt x="297" y="347"/>
                      <a:pt x="387" y="355"/>
                    </a:cubicBezTo>
                    <a:cubicBezTo>
                      <a:pt x="392" y="356"/>
                      <a:pt x="395" y="352"/>
                      <a:pt x="396" y="348"/>
                    </a:cubicBezTo>
                    <a:cubicBezTo>
                      <a:pt x="396" y="344"/>
                      <a:pt x="393" y="340"/>
                      <a:pt x="389" y="339"/>
                    </a:cubicBezTo>
                    <a:moveTo>
                      <a:pt x="180" y="210"/>
                    </a:moveTo>
                    <a:cubicBezTo>
                      <a:pt x="170" y="220"/>
                      <a:pt x="170" y="236"/>
                      <a:pt x="180" y="246"/>
                    </a:cubicBezTo>
                    <a:cubicBezTo>
                      <a:pt x="190" y="256"/>
                      <a:pt x="206" y="256"/>
                      <a:pt x="216" y="246"/>
                    </a:cubicBezTo>
                    <a:cubicBezTo>
                      <a:pt x="226" y="236"/>
                      <a:pt x="226" y="220"/>
                      <a:pt x="216" y="210"/>
                    </a:cubicBezTo>
                    <a:cubicBezTo>
                      <a:pt x="206" y="200"/>
                      <a:pt x="190" y="200"/>
                      <a:pt x="180" y="210"/>
                    </a:cubicBezTo>
                    <a:moveTo>
                      <a:pt x="237" y="190"/>
                    </a:moveTo>
                    <a:cubicBezTo>
                      <a:pt x="239" y="190"/>
                      <a:pt x="241" y="189"/>
                      <a:pt x="243" y="187"/>
                    </a:cubicBezTo>
                    <a:cubicBezTo>
                      <a:pt x="246" y="184"/>
                      <a:pt x="246" y="179"/>
                      <a:pt x="243" y="176"/>
                    </a:cubicBezTo>
                    <a:cubicBezTo>
                      <a:pt x="230" y="164"/>
                      <a:pt x="214" y="158"/>
                      <a:pt x="198" y="158"/>
                    </a:cubicBezTo>
                    <a:cubicBezTo>
                      <a:pt x="182" y="158"/>
                      <a:pt x="166" y="164"/>
                      <a:pt x="154" y="176"/>
                    </a:cubicBezTo>
                    <a:cubicBezTo>
                      <a:pt x="151" y="179"/>
                      <a:pt x="151" y="184"/>
                      <a:pt x="154" y="187"/>
                    </a:cubicBezTo>
                    <a:cubicBezTo>
                      <a:pt x="157" y="191"/>
                      <a:pt x="162" y="191"/>
                      <a:pt x="165" y="187"/>
                    </a:cubicBezTo>
                    <a:cubicBezTo>
                      <a:pt x="174" y="178"/>
                      <a:pt x="186" y="174"/>
                      <a:pt x="198" y="174"/>
                    </a:cubicBezTo>
                    <a:cubicBezTo>
                      <a:pt x="210" y="174"/>
                      <a:pt x="222" y="178"/>
                      <a:pt x="231" y="187"/>
                    </a:cubicBezTo>
                    <a:cubicBezTo>
                      <a:pt x="233" y="189"/>
                      <a:pt x="235" y="190"/>
                      <a:pt x="237" y="190"/>
                    </a:cubicBezTo>
                    <a:moveTo>
                      <a:pt x="290" y="129"/>
                    </a:moveTo>
                    <a:cubicBezTo>
                      <a:pt x="291" y="131"/>
                      <a:pt x="293" y="132"/>
                      <a:pt x="295" y="132"/>
                    </a:cubicBezTo>
                    <a:cubicBezTo>
                      <a:pt x="298" y="132"/>
                      <a:pt x="300" y="131"/>
                      <a:pt x="301" y="129"/>
                    </a:cubicBezTo>
                    <a:cubicBezTo>
                      <a:pt x="304" y="126"/>
                      <a:pt x="304" y="121"/>
                      <a:pt x="301" y="118"/>
                    </a:cubicBezTo>
                    <a:cubicBezTo>
                      <a:pt x="296" y="113"/>
                      <a:pt x="291" y="109"/>
                      <a:pt x="286" y="105"/>
                    </a:cubicBezTo>
                    <a:cubicBezTo>
                      <a:pt x="284" y="103"/>
                      <a:pt x="282" y="102"/>
                      <a:pt x="281" y="101"/>
                    </a:cubicBezTo>
                    <a:cubicBezTo>
                      <a:pt x="277" y="98"/>
                      <a:pt x="272" y="99"/>
                      <a:pt x="269" y="103"/>
                    </a:cubicBezTo>
                    <a:cubicBezTo>
                      <a:pt x="267" y="106"/>
                      <a:pt x="268" y="111"/>
                      <a:pt x="272" y="114"/>
                    </a:cubicBezTo>
                    <a:cubicBezTo>
                      <a:pt x="273" y="115"/>
                      <a:pt x="275" y="116"/>
                      <a:pt x="276" y="118"/>
                    </a:cubicBezTo>
                    <a:cubicBezTo>
                      <a:pt x="281" y="121"/>
                      <a:pt x="286" y="125"/>
                      <a:pt x="290" y="129"/>
                    </a:cubicBezTo>
                    <a:moveTo>
                      <a:pt x="245" y="100"/>
                    </a:moveTo>
                    <a:cubicBezTo>
                      <a:pt x="249" y="102"/>
                      <a:pt x="254" y="100"/>
                      <a:pt x="255" y="95"/>
                    </a:cubicBezTo>
                    <a:cubicBezTo>
                      <a:pt x="257" y="91"/>
                      <a:pt x="255" y="87"/>
                      <a:pt x="251" y="85"/>
                    </a:cubicBezTo>
                    <a:cubicBezTo>
                      <a:pt x="234" y="79"/>
                      <a:pt x="216" y="75"/>
                      <a:pt x="198" y="75"/>
                    </a:cubicBezTo>
                    <a:cubicBezTo>
                      <a:pt x="159" y="75"/>
                      <a:pt x="123" y="90"/>
                      <a:pt x="95" y="118"/>
                    </a:cubicBezTo>
                    <a:cubicBezTo>
                      <a:pt x="92" y="121"/>
                      <a:pt x="92" y="126"/>
                      <a:pt x="95" y="129"/>
                    </a:cubicBezTo>
                    <a:cubicBezTo>
                      <a:pt x="97" y="131"/>
                      <a:pt x="99" y="132"/>
                      <a:pt x="101" y="132"/>
                    </a:cubicBezTo>
                    <a:cubicBezTo>
                      <a:pt x="103" y="132"/>
                      <a:pt x="105" y="131"/>
                      <a:pt x="107" y="129"/>
                    </a:cubicBezTo>
                    <a:cubicBezTo>
                      <a:pt x="131" y="105"/>
                      <a:pt x="164" y="91"/>
                      <a:pt x="198" y="91"/>
                    </a:cubicBezTo>
                    <a:cubicBezTo>
                      <a:pt x="214" y="91"/>
                      <a:pt x="230" y="94"/>
                      <a:pt x="245" y="100"/>
                    </a:cubicBezTo>
                    <a:moveTo>
                      <a:pt x="266" y="161"/>
                    </a:moveTo>
                    <a:cubicBezTo>
                      <a:pt x="268" y="161"/>
                      <a:pt x="270" y="160"/>
                      <a:pt x="272" y="159"/>
                    </a:cubicBezTo>
                    <a:cubicBezTo>
                      <a:pt x="275" y="155"/>
                      <a:pt x="275" y="150"/>
                      <a:pt x="272" y="147"/>
                    </a:cubicBezTo>
                    <a:cubicBezTo>
                      <a:pt x="251" y="127"/>
                      <a:pt x="225" y="117"/>
                      <a:pt x="198" y="117"/>
                    </a:cubicBezTo>
                    <a:cubicBezTo>
                      <a:pt x="172" y="117"/>
                      <a:pt x="145" y="127"/>
                      <a:pt x="125" y="147"/>
                    </a:cubicBezTo>
                    <a:cubicBezTo>
                      <a:pt x="122" y="150"/>
                      <a:pt x="122" y="155"/>
                      <a:pt x="125" y="159"/>
                    </a:cubicBezTo>
                    <a:cubicBezTo>
                      <a:pt x="128" y="162"/>
                      <a:pt x="133" y="162"/>
                      <a:pt x="136" y="159"/>
                    </a:cubicBezTo>
                    <a:cubicBezTo>
                      <a:pt x="136" y="159"/>
                      <a:pt x="136" y="159"/>
                      <a:pt x="136" y="159"/>
                    </a:cubicBezTo>
                    <a:cubicBezTo>
                      <a:pt x="153" y="141"/>
                      <a:pt x="176" y="133"/>
                      <a:pt x="198" y="133"/>
                    </a:cubicBezTo>
                    <a:cubicBezTo>
                      <a:pt x="221" y="133"/>
                      <a:pt x="243" y="141"/>
                      <a:pt x="260" y="159"/>
                    </a:cubicBezTo>
                    <a:cubicBezTo>
                      <a:pt x="262" y="160"/>
                      <a:pt x="264" y="161"/>
                      <a:pt x="266" y="16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94" name="Freeform 3"/>
              <p:cNvSpPr>
                <a:spLocks noChangeAspect="1" noEditPoints="1"/>
              </p:cNvSpPr>
              <p:nvPr/>
            </p:nvSpPr>
            <p:spPr bwMode="auto">
              <a:xfrm>
                <a:off x="4448685" y="3617604"/>
                <a:ext cx="170075" cy="133327"/>
              </a:xfrm>
              <a:custGeom>
                <a:avLst/>
                <a:gdLst>
                  <a:gd name="T0" fmla="*/ 2147483647 w 430"/>
                  <a:gd name="T1" fmla="*/ 2147483647 h 344"/>
                  <a:gd name="T2" fmla="*/ 2147483647 w 430"/>
                  <a:gd name="T3" fmla="*/ 2147483647 h 344"/>
                  <a:gd name="T4" fmla="*/ 2147483647 w 430"/>
                  <a:gd name="T5" fmla="*/ 2147483647 h 344"/>
                  <a:gd name="T6" fmla="*/ 2147483647 w 430"/>
                  <a:gd name="T7" fmla="*/ 2147483647 h 344"/>
                  <a:gd name="T8" fmla="*/ 2147483647 w 430"/>
                  <a:gd name="T9" fmla="*/ 2147483647 h 344"/>
                  <a:gd name="T10" fmla="*/ 2147483647 w 430"/>
                  <a:gd name="T11" fmla="*/ 2147483647 h 344"/>
                  <a:gd name="T12" fmla="*/ 2147483647 w 430"/>
                  <a:gd name="T13" fmla="*/ 2147483647 h 344"/>
                  <a:gd name="T14" fmla="*/ 2147483647 w 430"/>
                  <a:gd name="T15" fmla="*/ 2147483647 h 344"/>
                  <a:gd name="T16" fmla="*/ 2147483647 w 430"/>
                  <a:gd name="T17" fmla="*/ 2147483647 h 344"/>
                  <a:gd name="T18" fmla="*/ 2147483647 w 430"/>
                  <a:gd name="T19" fmla="*/ 2147483647 h 344"/>
                  <a:gd name="T20" fmla="*/ 2147483647 w 430"/>
                  <a:gd name="T21" fmla="*/ 2147483647 h 344"/>
                  <a:gd name="T22" fmla="*/ 2147483647 w 430"/>
                  <a:gd name="T23" fmla="*/ 2147483647 h 344"/>
                  <a:gd name="T24" fmla="*/ 2147483647 w 430"/>
                  <a:gd name="T25" fmla="*/ 2147483647 h 344"/>
                  <a:gd name="T26" fmla="*/ 2147483647 w 430"/>
                  <a:gd name="T27" fmla="*/ 2147483647 h 344"/>
                  <a:gd name="T28" fmla="*/ 2147483647 w 430"/>
                  <a:gd name="T29" fmla="*/ 2147483647 h 344"/>
                  <a:gd name="T30" fmla="*/ 2147483647 w 430"/>
                  <a:gd name="T31" fmla="*/ 2147483647 h 344"/>
                  <a:gd name="T32" fmla="*/ 2147483647 w 430"/>
                  <a:gd name="T33" fmla="*/ 2147483647 h 344"/>
                  <a:gd name="T34" fmla="*/ 2147483647 w 430"/>
                  <a:gd name="T35" fmla="*/ 2147483647 h 344"/>
                  <a:gd name="T36" fmla="*/ 2147483647 w 430"/>
                  <a:gd name="T37" fmla="*/ 2147483647 h 344"/>
                  <a:gd name="T38" fmla="*/ 2147483647 w 430"/>
                  <a:gd name="T39" fmla="*/ 2147483647 h 344"/>
                  <a:gd name="T40" fmla="*/ 2147483647 w 430"/>
                  <a:gd name="T41" fmla="*/ 2147483647 h 344"/>
                  <a:gd name="T42" fmla="*/ 2147483647 w 430"/>
                  <a:gd name="T43" fmla="*/ 2147483647 h 344"/>
                  <a:gd name="T44" fmla="*/ 2147483647 w 430"/>
                  <a:gd name="T45" fmla="*/ 0 h 344"/>
                  <a:gd name="T46" fmla="*/ 0 w 430"/>
                  <a:gd name="T47" fmla="*/ 2147483647 h 344"/>
                  <a:gd name="T48" fmla="*/ 2147483647 w 430"/>
                  <a:gd name="T49" fmla="*/ 2147483647 h 344"/>
                  <a:gd name="T50" fmla="*/ 2147483647 w 430"/>
                  <a:gd name="T51" fmla="*/ 2147483647 h 344"/>
                  <a:gd name="T52" fmla="*/ 2147483647 w 430"/>
                  <a:gd name="T53" fmla="*/ 2147483647 h 344"/>
                  <a:gd name="T54" fmla="*/ 2147483647 w 430"/>
                  <a:gd name="T55" fmla="*/ 2147483647 h 344"/>
                  <a:gd name="T56" fmla="*/ 2147483647 w 430"/>
                  <a:gd name="T57" fmla="*/ 2147483647 h 344"/>
                  <a:gd name="T58" fmla="*/ 2147483647 w 430"/>
                  <a:gd name="T59" fmla="*/ 2147483647 h 344"/>
                  <a:gd name="T60" fmla="*/ 2147483647 w 430"/>
                  <a:gd name="T61" fmla="*/ 2147483647 h 344"/>
                  <a:gd name="T62" fmla="*/ 2147483647 w 430"/>
                  <a:gd name="T63" fmla="*/ 2147483647 h 344"/>
                  <a:gd name="T64" fmla="*/ 2147483647 w 430"/>
                  <a:gd name="T65" fmla="*/ 2147483647 h 344"/>
                  <a:gd name="T66" fmla="*/ 2147483647 w 430"/>
                  <a:gd name="T67" fmla="*/ 2147483647 h 344"/>
                  <a:gd name="T68" fmla="*/ 2147483647 w 430"/>
                  <a:gd name="T69" fmla="*/ 2147483647 h 344"/>
                  <a:gd name="T70" fmla="*/ 2147483647 w 430"/>
                  <a:gd name="T71" fmla="*/ 2147483647 h 344"/>
                  <a:gd name="T72" fmla="*/ 2147483647 w 430"/>
                  <a:gd name="T73" fmla="*/ 2147483647 h 344"/>
                  <a:gd name="T74" fmla="*/ 2147483647 w 430"/>
                  <a:gd name="T75" fmla="*/ 2147483647 h 344"/>
                  <a:gd name="T76" fmla="*/ 2147483647 w 430"/>
                  <a:gd name="T77" fmla="*/ 2147483647 h 34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430" h="344">
                    <a:moveTo>
                      <a:pt x="177" y="99"/>
                    </a:moveTo>
                    <a:cubicBezTo>
                      <a:pt x="177" y="90"/>
                      <a:pt x="169" y="82"/>
                      <a:pt x="160" y="82"/>
                    </a:cubicBezTo>
                    <a:cubicBezTo>
                      <a:pt x="139" y="82"/>
                      <a:pt x="139" y="82"/>
                      <a:pt x="139" y="82"/>
                    </a:cubicBezTo>
                    <a:cubicBezTo>
                      <a:pt x="130" y="82"/>
                      <a:pt x="122" y="90"/>
                      <a:pt x="122" y="99"/>
                    </a:cubicBezTo>
                    <a:cubicBezTo>
                      <a:pt x="122" y="118"/>
                      <a:pt x="122" y="118"/>
                      <a:pt x="122" y="118"/>
                    </a:cubicBezTo>
                    <a:cubicBezTo>
                      <a:pt x="122" y="128"/>
                      <a:pt x="130" y="135"/>
                      <a:pt x="139" y="135"/>
                    </a:cubicBezTo>
                    <a:cubicBezTo>
                      <a:pt x="160" y="135"/>
                      <a:pt x="160" y="135"/>
                      <a:pt x="160" y="135"/>
                    </a:cubicBezTo>
                    <a:cubicBezTo>
                      <a:pt x="169" y="135"/>
                      <a:pt x="177" y="128"/>
                      <a:pt x="177" y="118"/>
                    </a:cubicBezTo>
                    <a:lnTo>
                      <a:pt x="177" y="99"/>
                    </a:lnTo>
                    <a:close/>
                    <a:moveTo>
                      <a:pt x="79" y="82"/>
                    </a:moveTo>
                    <a:cubicBezTo>
                      <a:pt x="59" y="82"/>
                      <a:pt x="59" y="82"/>
                      <a:pt x="59" y="82"/>
                    </a:cubicBezTo>
                    <a:cubicBezTo>
                      <a:pt x="50" y="82"/>
                      <a:pt x="42" y="90"/>
                      <a:pt x="42" y="99"/>
                    </a:cubicBezTo>
                    <a:cubicBezTo>
                      <a:pt x="42" y="118"/>
                      <a:pt x="42" y="118"/>
                      <a:pt x="42" y="118"/>
                    </a:cubicBezTo>
                    <a:cubicBezTo>
                      <a:pt x="42" y="128"/>
                      <a:pt x="50" y="135"/>
                      <a:pt x="59" y="135"/>
                    </a:cubicBezTo>
                    <a:cubicBezTo>
                      <a:pt x="79" y="135"/>
                      <a:pt x="79" y="135"/>
                      <a:pt x="79" y="135"/>
                    </a:cubicBezTo>
                    <a:cubicBezTo>
                      <a:pt x="89" y="135"/>
                      <a:pt x="96" y="128"/>
                      <a:pt x="96" y="118"/>
                    </a:cubicBezTo>
                    <a:cubicBezTo>
                      <a:pt x="96" y="99"/>
                      <a:pt x="96" y="99"/>
                      <a:pt x="96" y="99"/>
                    </a:cubicBezTo>
                    <a:cubicBezTo>
                      <a:pt x="96" y="90"/>
                      <a:pt x="89" y="82"/>
                      <a:pt x="79" y="82"/>
                    </a:cubicBezTo>
                    <a:moveTo>
                      <a:pt x="414" y="87"/>
                    </a:moveTo>
                    <a:cubicBezTo>
                      <a:pt x="398" y="87"/>
                      <a:pt x="398" y="87"/>
                      <a:pt x="398" y="87"/>
                    </a:cubicBezTo>
                    <a:cubicBezTo>
                      <a:pt x="398" y="87"/>
                      <a:pt x="398" y="87"/>
                      <a:pt x="398" y="87"/>
                    </a:cubicBezTo>
                    <a:cubicBezTo>
                      <a:pt x="398" y="17"/>
                      <a:pt x="398" y="17"/>
                      <a:pt x="398" y="17"/>
                    </a:cubicBezTo>
                    <a:cubicBezTo>
                      <a:pt x="398" y="8"/>
                      <a:pt x="391" y="1"/>
                      <a:pt x="382" y="1"/>
                    </a:cubicBezTo>
                    <a:cubicBezTo>
                      <a:pt x="374" y="1"/>
                      <a:pt x="374" y="1"/>
                      <a:pt x="374" y="1"/>
                    </a:cubicBezTo>
                    <a:cubicBezTo>
                      <a:pt x="365" y="1"/>
                      <a:pt x="358" y="8"/>
                      <a:pt x="358" y="17"/>
                    </a:cubicBezTo>
                    <a:cubicBezTo>
                      <a:pt x="358" y="87"/>
                      <a:pt x="358" y="87"/>
                      <a:pt x="358" y="87"/>
                    </a:cubicBezTo>
                    <a:cubicBezTo>
                      <a:pt x="358" y="87"/>
                      <a:pt x="358" y="87"/>
                      <a:pt x="358" y="87"/>
                    </a:cubicBezTo>
                    <a:cubicBezTo>
                      <a:pt x="327" y="87"/>
                      <a:pt x="327" y="87"/>
                      <a:pt x="327" y="87"/>
                    </a:cubicBezTo>
                    <a:cubicBezTo>
                      <a:pt x="327" y="87"/>
                      <a:pt x="327" y="87"/>
                      <a:pt x="327" y="87"/>
                    </a:cubicBezTo>
                    <a:cubicBezTo>
                      <a:pt x="327" y="17"/>
                      <a:pt x="327" y="17"/>
                      <a:pt x="327" y="17"/>
                    </a:cubicBezTo>
                    <a:cubicBezTo>
                      <a:pt x="327" y="8"/>
                      <a:pt x="320" y="1"/>
                      <a:pt x="311" y="1"/>
                    </a:cubicBezTo>
                    <a:cubicBezTo>
                      <a:pt x="303" y="1"/>
                      <a:pt x="303" y="1"/>
                      <a:pt x="303" y="1"/>
                    </a:cubicBezTo>
                    <a:cubicBezTo>
                      <a:pt x="294" y="1"/>
                      <a:pt x="287" y="8"/>
                      <a:pt x="287" y="17"/>
                    </a:cubicBezTo>
                    <a:cubicBezTo>
                      <a:pt x="287" y="87"/>
                      <a:pt x="287" y="87"/>
                      <a:pt x="287" y="87"/>
                    </a:cubicBezTo>
                    <a:cubicBezTo>
                      <a:pt x="287" y="87"/>
                      <a:pt x="287" y="87"/>
                      <a:pt x="287" y="87"/>
                    </a:cubicBezTo>
                    <a:cubicBezTo>
                      <a:pt x="270" y="87"/>
                      <a:pt x="270" y="87"/>
                      <a:pt x="270" y="87"/>
                    </a:cubicBezTo>
                    <a:cubicBezTo>
                      <a:pt x="261" y="87"/>
                      <a:pt x="254" y="94"/>
                      <a:pt x="254" y="103"/>
                    </a:cubicBezTo>
                    <a:cubicBezTo>
                      <a:pt x="254" y="131"/>
                      <a:pt x="254" y="131"/>
                      <a:pt x="254" y="131"/>
                    </a:cubicBezTo>
                    <a:cubicBezTo>
                      <a:pt x="254" y="180"/>
                      <a:pt x="293" y="219"/>
                      <a:pt x="341" y="220"/>
                    </a:cubicBezTo>
                    <a:cubicBezTo>
                      <a:pt x="339" y="280"/>
                      <a:pt x="290" y="328"/>
                      <a:pt x="229" y="328"/>
                    </a:cubicBezTo>
                    <a:cubicBezTo>
                      <a:pt x="168" y="328"/>
                      <a:pt x="118" y="279"/>
                      <a:pt x="117" y="218"/>
                    </a:cubicBezTo>
                    <a:cubicBezTo>
                      <a:pt x="185" y="218"/>
                      <a:pt x="185" y="218"/>
                      <a:pt x="185" y="218"/>
                    </a:cubicBezTo>
                    <a:cubicBezTo>
                      <a:pt x="203" y="218"/>
                      <a:pt x="219" y="202"/>
                      <a:pt x="219" y="184"/>
                    </a:cubicBezTo>
                    <a:cubicBezTo>
                      <a:pt x="219" y="34"/>
                      <a:pt x="219" y="34"/>
                      <a:pt x="219" y="34"/>
                    </a:cubicBezTo>
                    <a:cubicBezTo>
                      <a:pt x="219" y="15"/>
                      <a:pt x="203" y="0"/>
                      <a:pt x="185" y="0"/>
                    </a:cubicBezTo>
                    <a:cubicBezTo>
                      <a:pt x="34" y="0"/>
                      <a:pt x="34" y="0"/>
                      <a:pt x="34" y="0"/>
                    </a:cubicBezTo>
                    <a:cubicBezTo>
                      <a:pt x="15" y="0"/>
                      <a:pt x="0" y="15"/>
                      <a:pt x="0" y="34"/>
                    </a:cubicBezTo>
                    <a:cubicBezTo>
                      <a:pt x="0" y="184"/>
                      <a:pt x="0" y="184"/>
                      <a:pt x="0" y="184"/>
                    </a:cubicBezTo>
                    <a:cubicBezTo>
                      <a:pt x="0" y="202"/>
                      <a:pt x="15" y="218"/>
                      <a:pt x="34" y="218"/>
                    </a:cubicBezTo>
                    <a:cubicBezTo>
                      <a:pt x="101" y="218"/>
                      <a:pt x="101" y="218"/>
                      <a:pt x="101" y="218"/>
                    </a:cubicBezTo>
                    <a:cubicBezTo>
                      <a:pt x="102" y="287"/>
                      <a:pt x="159" y="344"/>
                      <a:pt x="229" y="344"/>
                    </a:cubicBezTo>
                    <a:cubicBezTo>
                      <a:pt x="299" y="344"/>
                      <a:pt x="356" y="288"/>
                      <a:pt x="357" y="218"/>
                    </a:cubicBezTo>
                    <a:cubicBezTo>
                      <a:pt x="390" y="213"/>
                      <a:pt x="418" y="188"/>
                      <a:pt x="427" y="155"/>
                    </a:cubicBezTo>
                    <a:cubicBezTo>
                      <a:pt x="428" y="151"/>
                      <a:pt x="426" y="147"/>
                      <a:pt x="422" y="145"/>
                    </a:cubicBezTo>
                    <a:cubicBezTo>
                      <a:pt x="417" y="144"/>
                      <a:pt x="413" y="147"/>
                      <a:pt x="412" y="151"/>
                    </a:cubicBezTo>
                    <a:cubicBezTo>
                      <a:pt x="403" y="182"/>
                      <a:pt x="374" y="204"/>
                      <a:pt x="342" y="204"/>
                    </a:cubicBezTo>
                    <a:cubicBezTo>
                      <a:pt x="302" y="204"/>
                      <a:pt x="270" y="171"/>
                      <a:pt x="270" y="131"/>
                    </a:cubicBezTo>
                    <a:cubicBezTo>
                      <a:pt x="270" y="103"/>
                      <a:pt x="270" y="103"/>
                      <a:pt x="270" y="103"/>
                    </a:cubicBezTo>
                    <a:cubicBezTo>
                      <a:pt x="414" y="103"/>
                      <a:pt x="414" y="103"/>
                      <a:pt x="414" y="103"/>
                    </a:cubicBezTo>
                    <a:cubicBezTo>
                      <a:pt x="414" y="121"/>
                      <a:pt x="414" y="121"/>
                      <a:pt x="414" y="121"/>
                    </a:cubicBezTo>
                    <a:cubicBezTo>
                      <a:pt x="414" y="126"/>
                      <a:pt x="418" y="129"/>
                      <a:pt x="422" y="129"/>
                    </a:cubicBezTo>
                    <a:cubicBezTo>
                      <a:pt x="427" y="129"/>
                      <a:pt x="430" y="126"/>
                      <a:pt x="430" y="121"/>
                    </a:cubicBezTo>
                    <a:cubicBezTo>
                      <a:pt x="430" y="103"/>
                      <a:pt x="430" y="103"/>
                      <a:pt x="430" y="103"/>
                    </a:cubicBezTo>
                    <a:cubicBezTo>
                      <a:pt x="430" y="94"/>
                      <a:pt x="423" y="87"/>
                      <a:pt x="414" y="87"/>
                    </a:cubicBezTo>
                    <a:moveTo>
                      <a:pt x="17" y="109"/>
                    </a:moveTo>
                    <a:cubicBezTo>
                      <a:pt x="17" y="58"/>
                      <a:pt x="58" y="16"/>
                      <a:pt x="109" y="16"/>
                    </a:cubicBezTo>
                    <a:cubicBezTo>
                      <a:pt x="161" y="16"/>
                      <a:pt x="202" y="58"/>
                      <a:pt x="202" y="109"/>
                    </a:cubicBezTo>
                    <a:cubicBezTo>
                      <a:pt x="202" y="160"/>
                      <a:pt x="161" y="201"/>
                      <a:pt x="109" y="201"/>
                    </a:cubicBezTo>
                    <a:cubicBezTo>
                      <a:pt x="58" y="201"/>
                      <a:pt x="17" y="160"/>
                      <a:pt x="17" y="109"/>
                    </a:cubicBezTo>
                    <a:moveTo>
                      <a:pt x="311" y="87"/>
                    </a:moveTo>
                    <a:cubicBezTo>
                      <a:pt x="303" y="87"/>
                      <a:pt x="303" y="87"/>
                      <a:pt x="303" y="87"/>
                    </a:cubicBezTo>
                    <a:cubicBezTo>
                      <a:pt x="303" y="17"/>
                      <a:pt x="303" y="17"/>
                      <a:pt x="303" y="17"/>
                    </a:cubicBezTo>
                    <a:cubicBezTo>
                      <a:pt x="311" y="17"/>
                      <a:pt x="311" y="17"/>
                      <a:pt x="311" y="17"/>
                    </a:cubicBezTo>
                    <a:lnTo>
                      <a:pt x="311" y="87"/>
                    </a:lnTo>
                    <a:close/>
                    <a:moveTo>
                      <a:pt x="382" y="87"/>
                    </a:moveTo>
                    <a:cubicBezTo>
                      <a:pt x="374" y="87"/>
                      <a:pt x="374" y="87"/>
                      <a:pt x="374" y="87"/>
                    </a:cubicBezTo>
                    <a:cubicBezTo>
                      <a:pt x="374" y="17"/>
                      <a:pt x="374" y="17"/>
                      <a:pt x="374" y="17"/>
                    </a:cubicBezTo>
                    <a:cubicBezTo>
                      <a:pt x="382" y="17"/>
                      <a:pt x="382" y="17"/>
                      <a:pt x="382" y="17"/>
                    </a:cubicBezTo>
                    <a:lnTo>
                      <a:pt x="382"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95" name="Freeform 3"/>
              <p:cNvSpPr>
                <a:spLocks noChangeAspect="1" noEditPoints="1"/>
              </p:cNvSpPr>
              <p:nvPr/>
            </p:nvSpPr>
            <p:spPr bwMode="auto">
              <a:xfrm>
                <a:off x="5565721" y="3645978"/>
                <a:ext cx="178956" cy="114795"/>
              </a:xfrm>
              <a:custGeom>
                <a:avLst/>
                <a:gdLst>
                  <a:gd name="T0" fmla="*/ 2147483647 w 452"/>
                  <a:gd name="T1" fmla="*/ 2147483647 h 296"/>
                  <a:gd name="T2" fmla="*/ 2147483647 w 452"/>
                  <a:gd name="T3" fmla="*/ 2147483647 h 296"/>
                  <a:gd name="T4" fmla="*/ 2147483647 w 452"/>
                  <a:gd name="T5" fmla="*/ 2147483647 h 296"/>
                  <a:gd name="T6" fmla="*/ 2147483647 w 452"/>
                  <a:gd name="T7" fmla="*/ 2147483647 h 296"/>
                  <a:gd name="T8" fmla="*/ 2147483647 w 452"/>
                  <a:gd name="T9" fmla="*/ 2147483647 h 296"/>
                  <a:gd name="T10" fmla="*/ 2147483647 w 452"/>
                  <a:gd name="T11" fmla="*/ 2147483647 h 296"/>
                  <a:gd name="T12" fmla="*/ 2147483647 w 452"/>
                  <a:gd name="T13" fmla="*/ 2147483647 h 296"/>
                  <a:gd name="T14" fmla="*/ 2147483647 w 452"/>
                  <a:gd name="T15" fmla="*/ 2147483647 h 296"/>
                  <a:gd name="T16" fmla="*/ 2147483647 w 452"/>
                  <a:gd name="T17" fmla="*/ 0 h 296"/>
                  <a:gd name="T18" fmla="*/ 2147483647 w 452"/>
                  <a:gd name="T19" fmla="*/ 2147483647 h 296"/>
                  <a:gd name="T20" fmla="*/ 2147483647 w 452"/>
                  <a:gd name="T21" fmla="*/ 2147483647 h 296"/>
                  <a:gd name="T22" fmla="*/ 2147483647 w 452"/>
                  <a:gd name="T23" fmla="*/ 2147483647 h 296"/>
                  <a:gd name="T24" fmla="*/ 0 w 452"/>
                  <a:gd name="T25" fmla="*/ 2147483647 h 296"/>
                  <a:gd name="T26" fmla="*/ 2147483647 w 452"/>
                  <a:gd name="T27" fmla="*/ 2147483647 h 296"/>
                  <a:gd name="T28" fmla="*/ 2147483647 w 452"/>
                  <a:gd name="T29" fmla="*/ 2147483647 h 296"/>
                  <a:gd name="T30" fmla="*/ 2147483647 w 452"/>
                  <a:gd name="T31" fmla="*/ 2147483647 h 296"/>
                  <a:gd name="T32" fmla="*/ 2147483647 w 452"/>
                  <a:gd name="T33" fmla="*/ 2147483647 h 296"/>
                  <a:gd name="T34" fmla="*/ 2147483647 w 452"/>
                  <a:gd name="T35" fmla="*/ 2147483647 h 296"/>
                  <a:gd name="T36" fmla="*/ 2147483647 w 452"/>
                  <a:gd name="T37" fmla="*/ 2147483647 h 296"/>
                  <a:gd name="T38" fmla="*/ 2147483647 w 452"/>
                  <a:gd name="T39" fmla="*/ 2147483647 h 296"/>
                  <a:gd name="T40" fmla="*/ 2147483647 w 452"/>
                  <a:gd name="T41" fmla="*/ 2147483647 h 296"/>
                  <a:gd name="T42" fmla="*/ 2147483647 w 452"/>
                  <a:gd name="T43" fmla="*/ 2147483647 h 296"/>
                  <a:gd name="T44" fmla="*/ 2147483647 w 452"/>
                  <a:gd name="T45" fmla="*/ 2147483647 h 296"/>
                  <a:gd name="T46" fmla="*/ 2147483647 w 452"/>
                  <a:gd name="T47" fmla="*/ 2147483647 h 296"/>
                  <a:gd name="T48" fmla="*/ 2147483647 w 452"/>
                  <a:gd name="T49" fmla="*/ 2147483647 h 296"/>
                  <a:gd name="T50" fmla="*/ 2147483647 w 452"/>
                  <a:gd name="T51" fmla="*/ 2147483647 h 296"/>
                  <a:gd name="T52" fmla="*/ 2147483647 w 452"/>
                  <a:gd name="T53" fmla="*/ 2147483647 h 296"/>
                  <a:gd name="T54" fmla="*/ 2147483647 w 452"/>
                  <a:gd name="T55" fmla="*/ 2147483647 h 296"/>
                  <a:gd name="T56" fmla="*/ 2147483647 w 452"/>
                  <a:gd name="T57" fmla="*/ 2147483647 h 296"/>
                  <a:gd name="T58" fmla="*/ 2147483647 w 452"/>
                  <a:gd name="T59" fmla="*/ 2147483647 h 296"/>
                  <a:gd name="T60" fmla="*/ 2147483647 w 452"/>
                  <a:gd name="T61" fmla="*/ 2147483647 h 296"/>
                  <a:gd name="T62" fmla="*/ 2147483647 w 452"/>
                  <a:gd name="T63" fmla="*/ 2147483647 h 29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452" h="296">
                    <a:moveTo>
                      <a:pt x="438" y="249"/>
                    </a:moveTo>
                    <a:cubicBezTo>
                      <a:pt x="421" y="249"/>
                      <a:pt x="421" y="249"/>
                      <a:pt x="421" y="249"/>
                    </a:cubicBezTo>
                    <a:cubicBezTo>
                      <a:pt x="421" y="249"/>
                      <a:pt x="421" y="248"/>
                      <a:pt x="421" y="248"/>
                    </a:cubicBezTo>
                    <a:cubicBezTo>
                      <a:pt x="421" y="70"/>
                      <a:pt x="421" y="70"/>
                      <a:pt x="421" y="70"/>
                    </a:cubicBezTo>
                    <a:cubicBezTo>
                      <a:pt x="421" y="65"/>
                      <a:pt x="418" y="62"/>
                      <a:pt x="413" y="62"/>
                    </a:cubicBezTo>
                    <a:cubicBezTo>
                      <a:pt x="409" y="62"/>
                      <a:pt x="405" y="65"/>
                      <a:pt x="405" y="70"/>
                    </a:cubicBezTo>
                    <a:cubicBezTo>
                      <a:pt x="405" y="248"/>
                      <a:pt x="405" y="248"/>
                      <a:pt x="405" y="248"/>
                    </a:cubicBezTo>
                    <a:cubicBezTo>
                      <a:pt x="405" y="248"/>
                      <a:pt x="406" y="249"/>
                      <a:pt x="406" y="249"/>
                    </a:cubicBezTo>
                    <a:cubicBezTo>
                      <a:pt x="47" y="249"/>
                      <a:pt x="47" y="249"/>
                      <a:pt x="47" y="249"/>
                    </a:cubicBezTo>
                    <a:cubicBezTo>
                      <a:pt x="47" y="228"/>
                      <a:pt x="47" y="228"/>
                      <a:pt x="47" y="228"/>
                    </a:cubicBezTo>
                    <a:cubicBezTo>
                      <a:pt x="47" y="211"/>
                      <a:pt x="47" y="211"/>
                      <a:pt x="47" y="211"/>
                    </a:cubicBezTo>
                    <a:cubicBezTo>
                      <a:pt x="47" y="16"/>
                      <a:pt x="47" y="16"/>
                      <a:pt x="47" y="16"/>
                    </a:cubicBezTo>
                    <a:cubicBezTo>
                      <a:pt x="405" y="16"/>
                      <a:pt x="405" y="16"/>
                      <a:pt x="405" y="16"/>
                    </a:cubicBezTo>
                    <a:cubicBezTo>
                      <a:pt x="405" y="37"/>
                      <a:pt x="405" y="37"/>
                      <a:pt x="405" y="37"/>
                    </a:cubicBezTo>
                    <a:cubicBezTo>
                      <a:pt x="405" y="42"/>
                      <a:pt x="409" y="45"/>
                      <a:pt x="413" y="45"/>
                    </a:cubicBezTo>
                    <a:cubicBezTo>
                      <a:pt x="418" y="45"/>
                      <a:pt x="421" y="42"/>
                      <a:pt x="421" y="37"/>
                    </a:cubicBezTo>
                    <a:cubicBezTo>
                      <a:pt x="421" y="14"/>
                      <a:pt x="421" y="14"/>
                      <a:pt x="421" y="14"/>
                    </a:cubicBezTo>
                    <a:cubicBezTo>
                      <a:pt x="421" y="6"/>
                      <a:pt x="415" y="0"/>
                      <a:pt x="408" y="0"/>
                    </a:cubicBezTo>
                    <a:cubicBezTo>
                      <a:pt x="45" y="0"/>
                      <a:pt x="45" y="0"/>
                      <a:pt x="45" y="0"/>
                    </a:cubicBezTo>
                    <a:cubicBezTo>
                      <a:pt x="37" y="0"/>
                      <a:pt x="31" y="6"/>
                      <a:pt x="31" y="14"/>
                    </a:cubicBezTo>
                    <a:cubicBezTo>
                      <a:pt x="31" y="211"/>
                      <a:pt x="31" y="211"/>
                      <a:pt x="31" y="211"/>
                    </a:cubicBezTo>
                    <a:cubicBezTo>
                      <a:pt x="31" y="228"/>
                      <a:pt x="31" y="228"/>
                      <a:pt x="31" y="228"/>
                    </a:cubicBezTo>
                    <a:cubicBezTo>
                      <a:pt x="31" y="249"/>
                      <a:pt x="31" y="249"/>
                      <a:pt x="31" y="249"/>
                    </a:cubicBezTo>
                    <a:cubicBezTo>
                      <a:pt x="14" y="249"/>
                      <a:pt x="14" y="249"/>
                      <a:pt x="14" y="249"/>
                    </a:cubicBezTo>
                    <a:cubicBezTo>
                      <a:pt x="7" y="249"/>
                      <a:pt x="0" y="255"/>
                      <a:pt x="0" y="263"/>
                    </a:cubicBezTo>
                    <a:cubicBezTo>
                      <a:pt x="0" y="282"/>
                      <a:pt x="0" y="282"/>
                      <a:pt x="0" y="282"/>
                    </a:cubicBezTo>
                    <a:cubicBezTo>
                      <a:pt x="0" y="289"/>
                      <a:pt x="7" y="296"/>
                      <a:pt x="14" y="296"/>
                    </a:cubicBezTo>
                    <a:cubicBezTo>
                      <a:pt x="438" y="296"/>
                      <a:pt x="438" y="296"/>
                      <a:pt x="438" y="296"/>
                    </a:cubicBezTo>
                    <a:cubicBezTo>
                      <a:pt x="446" y="296"/>
                      <a:pt x="452" y="289"/>
                      <a:pt x="452" y="282"/>
                    </a:cubicBezTo>
                    <a:cubicBezTo>
                      <a:pt x="452" y="263"/>
                      <a:pt x="452" y="263"/>
                      <a:pt x="452" y="263"/>
                    </a:cubicBezTo>
                    <a:cubicBezTo>
                      <a:pt x="452" y="255"/>
                      <a:pt x="446" y="249"/>
                      <a:pt x="438" y="249"/>
                    </a:cubicBezTo>
                    <a:close/>
                    <a:moveTo>
                      <a:pt x="436" y="280"/>
                    </a:moveTo>
                    <a:cubicBezTo>
                      <a:pt x="16" y="280"/>
                      <a:pt x="16" y="280"/>
                      <a:pt x="16" y="280"/>
                    </a:cubicBezTo>
                    <a:cubicBezTo>
                      <a:pt x="16" y="265"/>
                      <a:pt x="16" y="265"/>
                      <a:pt x="16" y="265"/>
                    </a:cubicBezTo>
                    <a:cubicBezTo>
                      <a:pt x="184" y="265"/>
                      <a:pt x="184" y="265"/>
                      <a:pt x="184" y="265"/>
                    </a:cubicBezTo>
                    <a:cubicBezTo>
                      <a:pt x="185" y="268"/>
                      <a:pt x="188" y="271"/>
                      <a:pt x="191" y="271"/>
                    </a:cubicBezTo>
                    <a:cubicBezTo>
                      <a:pt x="260" y="271"/>
                      <a:pt x="260" y="271"/>
                      <a:pt x="260" y="271"/>
                    </a:cubicBezTo>
                    <a:cubicBezTo>
                      <a:pt x="264" y="271"/>
                      <a:pt x="267" y="268"/>
                      <a:pt x="268" y="265"/>
                    </a:cubicBezTo>
                    <a:cubicBezTo>
                      <a:pt x="436" y="265"/>
                      <a:pt x="436" y="265"/>
                      <a:pt x="436" y="265"/>
                    </a:cubicBezTo>
                    <a:lnTo>
                      <a:pt x="436" y="280"/>
                    </a:lnTo>
                    <a:close/>
                    <a:moveTo>
                      <a:pt x="261" y="78"/>
                    </a:moveTo>
                    <a:cubicBezTo>
                      <a:pt x="261" y="65"/>
                      <a:pt x="250" y="55"/>
                      <a:pt x="237" y="55"/>
                    </a:cubicBezTo>
                    <a:cubicBezTo>
                      <a:pt x="224" y="55"/>
                      <a:pt x="214" y="65"/>
                      <a:pt x="214" y="78"/>
                    </a:cubicBezTo>
                    <a:cubicBezTo>
                      <a:pt x="214" y="91"/>
                      <a:pt x="224" y="102"/>
                      <a:pt x="237" y="102"/>
                    </a:cubicBezTo>
                    <a:cubicBezTo>
                      <a:pt x="250" y="102"/>
                      <a:pt x="261" y="91"/>
                      <a:pt x="261" y="78"/>
                    </a:cubicBezTo>
                    <a:close/>
                    <a:moveTo>
                      <a:pt x="146" y="136"/>
                    </a:moveTo>
                    <a:cubicBezTo>
                      <a:pt x="146" y="196"/>
                      <a:pt x="146" y="196"/>
                      <a:pt x="146" y="196"/>
                    </a:cubicBezTo>
                    <a:cubicBezTo>
                      <a:pt x="146" y="207"/>
                      <a:pt x="154" y="216"/>
                      <a:pt x="165" y="216"/>
                    </a:cubicBezTo>
                    <a:cubicBezTo>
                      <a:pt x="247" y="216"/>
                      <a:pt x="247" y="216"/>
                      <a:pt x="247" y="216"/>
                    </a:cubicBezTo>
                    <a:cubicBezTo>
                      <a:pt x="258" y="216"/>
                      <a:pt x="266" y="207"/>
                      <a:pt x="266" y="196"/>
                    </a:cubicBezTo>
                    <a:cubicBezTo>
                      <a:pt x="266" y="180"/>
                      <a:pt x="266" y="180"/>
                      <a:pt x="266" y="180"/>
                    </a:cubicBezTo>
                    <a:cubicBezTo>
                      <a:pt x="277" y="188"/>
                      <a:pt x="294" y="202"/>
                      <a:pt x="298" y="204"/>
                    </a:cubicBezTo>
                    <a:cubicBezTo>
                      <a:pt x="302" y="208"/>
                      <a:pt x="307" y="207"/>
                      <a:pt x="307" y="200"/>
                    </a:cubicBezTo>
                    <a:cubicBezTo>
                      <a:pt x="307" y="198"/>
                      <a:pt x="307" y="139"/>
                      <a:pt x="307" y="137"/>
                    </a:cubicBezTo>
                    <a:cubicBezTo>
                      <a:pt x="307" y="130"/>
                      <a:pt x="302" y="129"/>
                      <a:pt x="298" y="133"/>
                    </a:cubicBezTo>
                    <a:cubicBezTo>
                      <a:pt x="297" y="133"/>
                      <a:pt x="277" y="149"/>
                      <a:pt x="266" y="157"/>
                    </a:cubicBezTo>
                    <a:cubicBezTo>
                      <a:pt x="266" y="136"/>
                      <a:pt x="266" y="136"/>
                      <a:pt x="266" y="136"/>
                    </a:cubicBezTo>
                    <a:cubicBezTo>
                      <a:pt x="266" y="125"/>
                      <a:pt x="258" y="116"/>
                      <a:pt x="247" y="116"/>
                    </a:cubicBezTo>
                    <a:cubicBezTo>
                      <a:pt x="165" y="116"/>
                      <a:pt x="165" y="116"/>
                      <a:pt x="165" y="116"/>
                    </a:cubicBezTo>
                    <a:cubicBezTo>
                      <a:pt x="154" y="116"/>
                      <a:pt x="146" y="125"/>
                      <a:pt x="146" y="136"/>
                    </a:cubicBezTo>
                    <a:close/>
                    <a:moveTo>
                      <a:pt x="201" y="78"/>
                    </a:moveTo>
                    <a:cubicBezTo>
                      <a:pt x="201" y="65"/>
                      <a:pt x="190" y="55"/>
                      <a:pt x="178" y="55"/>
                    </a:cubicBezTo>
                    <a:cubicBezTo>
                      <a:pt x="165" y="55"/>
                      <a:pt x="154" y="65"/>
                      <a:pt x="154" y="78"/>
                    </a:cubicBezTo>
                    <a:cubicBezTo>
                      <a:pt x="154" y="91"/>
                      <a:pt x="165" y="102"/>
                      <a:pt x="178" y="102"/>
                    </a:cubicBezTo>
                    <a:cubicBezTo>
                      <a:pt x="190" y="102"/>
                      <a:pt x="201" y="91"/>
                      <a:pt x="201"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96" name="Freeform 3"/>
              <p:cNvSpPr>
                <a:spLocks noChangeAspect="1" noEditPoints="1"/>
              </p:cNvSpPr>
              <p:nvPr/>
            </p:nvSpPr>
            <p:spPr bwMode="auto">
              <a:xfrm>
                <a:off x="5429547" y="3842846"/>
                <a:ext cx="253185" cy="116270"/>
              </a:xfrm>
              <a:custGeom>
                <a:avLst/>
                <a:gdLst>
                  <a:gd name="T0" fmla="*/ 2147483647 w 640"/>
                  <a:gd name="T1" fmla="*/ 2147483647 h 300"/>
                  <a:gd name="T2" fmla="*/ 2147483647 w 640"/>
                  <a:gd name="T3" fmla="*/ 2147483647 h 300"/>
                  <a:gd name="T4" fmla="*/ 2147483647 w 640"/>
                  <a:gd name="T5" fmla="*/ 2147483647 h 300"/>
                  <a:gd name="T6" fmla="*/ 2147483647 w 640"/>
                  <a:gd name="T7" fmla="*/ 2147483647 h 300"/>
                  <a:gd name="T8" fmla="*/ 2147483647 w 640"/>
                  <a:gd name="T9" fmla="*/ 2147483647 h 300"/>
                  <a:gd name="T10" fmla="*/ 2147483647 w 640"/>
                  <a:gd name="T11" fmla="*/ 2147483647 h 300"/>
                  <a:gd name="T12" fmla="*/ 2147483647 w 640"/>
                  <a:gd name="T13" fmla="*/ 2147483647 h 300"/>
                  <a:gd name="T14" fmla="*/ 2147483647 w 640"/>
                  <a:gd name="T15" fmla="*/ 0 h 300"/>
                  <a:gd name="T16" fmla="*/ 2147483647 w 640"/>
                  <a:gd name="T17" fmla="*/ 2147483647 h 300"/>
                  <a:gd name="T18" fmla="*/ 2147483647 w 640"/>
                  <a:gd name="T19" fmla="*/ 2147483647 h 300"/>
                  <a:gd name="T20" fmla="*/ 2147483647 w 640"/>
                  <a:gd name="T21" fmla="*/ 2147483647 h 300"/>
                  <a:gd name="T22" fmla="*/ 2147483647 w 640"/>
                  <a:gd name="T23" fmla="*/ 2147483647 h 300"/>
                  <a:gd name="T24" fmla="*/ 2147483647 w 640"/>
                  <a:gd name="T25" fmla="*/ 2147483647 h 300"/>
                  <a:gd name="T26" fmla="*/ 2147483647 w 640"/>
                  <a:gd name="T27" fmla="*/ 2147483647 h 300"/>
                  <a:gd name="T28" fmla="*/ 2147483647 w 640"/>
                  <a:gd name="T29" fmla="*/ 2147483647 h 300"/>
                  <a:gd name="T30" fmla="*/ 2147483647 w 640"/>
                  <a:gd name="T31" fmla="*/ 2147483647 h 300"/>
                  <a:gd name="T32" fmla="*/ 2147483647 w 640"/>
                  <a:gd name="T33" fmla="*/ 2147483647 h 300"/>
                  <a:gd name="T34" fmla="*/ 2147483647 w 640"/>
                  <a:gd name="T35" fmla="*/ 2147483647 h 300"/>
                  <a:gd name="T36" fmla="*/ 2147483647 w 640"/>
                  <a:gd name="T37" fmla="*/ 2147483647 h 300"/>
                  <a:gd name="T38" fmla="*/ 2147483647 w 640"/>
                  <a:gd name="T39" fmla="*/ 2147483647 h 300"/>
                  <a:gd name="T40" fmla="*/ 2147483647 w 640"/>
                  <a:gd name="T41" fmla="*/ 2147483647 h 300"/>
                  <a:gd name="T42" fmla="*/ 2147483647 w 640"/>
                  <a:gd name="T43" fmla="*/ 2147483647 h 300"/>
                  <a:gd name="T44" fmla="*/ 2147483647 w 640"/>
                  <a:gd name="T45" fmla="*/ 2147483647 h 300"/>
                  <a:gd name="T46" fmla="*/ 2147483647 w 640"/>
                  <a:gd name="T47" fmla="*/ 2147483647 h 300"/>
                  <a:gd name="T48" fmla="*/ 2147483647 w 640"/>
                  <a:gd name="T49" fmla="*/ 2147483647 h 300"/>
                  <a:gd name="T50" fmla="*/ 2147483647 w 640"/>
                  <a:gd name="T51" fmla="*/ 2147483647 h 300"/>
                  <a:gd name="T52" fmla="*/ 2147483647 w 640"/>
                  <a:gd name="T53" fmla="*/ 2147483647 h 300"/>
                  <a:gd name="T54" fmla="*/ 2147483647 w 640"/>
                  <a:gd name="T55" fmla="*/ 2147483647 h 300"/>
                  <a:gd name="T56" fmla="*/ 2147483647 w 640"/>
                  <a:gd name="T57" fmla="*/ 2147483647 h 300"/>
                  <a:gd name="T58" fmla="*/ 2147483647 w 640"/>
                  <a:gd name="T59" fmla="*/ 2147483647 h 300"/>
                  <a:gd name="T60" fmla="*/ 2147483647 w 640"/>
                  <a:gd name="T61" fmla="*/ 2147483647 h 300"/>
                  <a:gd name="T62" fmla="*/ 2147483647 w 640"/>
                  <a:gd name="T63" fmla="*/ 2147483647 h 300"/>
                  <a:gd name="T64" fmla="*/ 2147483647 w 640"/>
                  <a:gd name="T65" fmla="*/ 2147483647 h 300"/>
                  <a:gd name="T66" fmla="*/ 2147483647 w 640"/>
                  <a:gd name="T67" fmla="*/ 2147483647 h 300"/>
                  <a:gd name="T68" fmla="*/ 2147483647 w 640"/>
                  <a:gd name="T69" fmla="*/ 2147483647 h 300"/>
                  <a:gd name="T70" fmla="*/ 2147483647 w 640"/>
                  <a:gd name="T71" fmla="*/ 2147483647 h 300"/>
                  <a:gd name="T72" fmla="*/ 2147483647 w 640"/>
                  <a:gd name="T73" fmla="*/ 2147483647 h 300"/>
                  <a:gd name="T74" fmla="*/ 2147483647 w 640"/>
                  <a:gd name="T75" fmla="*/ 2147483647 h 300"/>
                  <a:gd name="T76" fmla="*/ 2147483647 w 640"/>
                  <a:gd name="T77" fmla="*/ 2147483647 h 300"/>
                  <a:gd name="T78" fmla="*/ 2147483647 w 640"/>
                  <a:gd name="T79" fmla="*/ 2147483647 h 300"/>
                  <a:gd name="T80" fmla="*/ 2147483647 w 640"/>
                  <a:gd name="T81" fmla="*/ 2147483647 h 300"/>
                  <a:gd name="T82" fmla="*/ 2147483647 w 640"/>
                  <a:gd name="T83" fmla="*/ 2147483647 h 300"/>
                  <a:gd name="T84" fmla="*/ 2147483647 w 640"/>
                  <a:gd name="T85" fmla="*/ 2147483647 h 300"/>
                  <a:gd name="T86" fmla="*/ 2147483647 w 640"/>
                  <a:gd name="T87" fmla="*/ 2147483647 h 300"/>
                  <a:gd name="T88" fmla="*/ 2147483647 w 640"/>
                  <a:gd name="T89" fmla="*/ 2147483647 h 300"/>
                  <a:gd name="T90" fmla="*/ 2147483647 w 640"/>
                  <a:gd name="T91" fmla="*/ 2147483647 h 300"/>
                  <a:gd name="T92" fmla="*/ 2147483647 w 640"/>
                  <a:gd name="T93" fmla="*/ 2147483647 h 300"/>
                  <a:gd name="T94" fmla="*/ 2147483647 w 640"/>
                  <a:gd name="T95" fmla="*/ 2147483647 h 300"/>
                  <a:gd name="T96" fmla="*/ 2147483647 w 640"/>
                  <a:gd name="T97" fmla="*/ 2147483647 h 30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640" h="300">
                    <a:moveTo>
                      <a:pt x="624" y="26"/>
                    </a:moveTo>
                    <a:cubicBezTo>
                      <a:pt x="622" y="26"/>
                      <a:pt x="621" y="27"/>
                      <a:pt x="619" y="27"/>
                    </a:cubicBezTo>
                    <a:cubicBezTo>
                      <a:pt x="619" y="27"/>
                      <a:pt x="602" y="34"/>
                      <a:pt x="578" y="42"/>
                    </a:cubicBezTo>
                    <a:cubicBezTo>
                      <a:pt x="575" y="17"/>
                      <a:pt x="575" y="17"/>
                      <a:pt x="575" y="17"/>
                    </a:cubicBezTo>
                    <a:cubicBezTo>
                      <a:pt x="574" y="13"/>
                      <a:pt x="573" y="10"/>
                      <a:pt x="571" y="6"/>
                    </a:cubicBezTo>
                    <a:cubicBezTo>
                      <a:pt x="568" y="3"/>
                      <a:pt x="564" y="0"/>
                      <a:pt x="559" y="0"/>
                    </a:cubicBezTo>
                    <a:cubicBezTo>
                      <a:pt x="557" y="0"/>
                      <a:pt x="556" y="0"/>
                      <a:pt x="554" y="0"/>
                    </a:cubicBezTo>
                    <a:cubicBezTo>
                      <a:pt x="554" y="0"/>
                      <a:pt x="456" y="38"/>
                      <a:pt x="449" y="40"/>
                    </a:cubicBezTo>
                    <a:cubicBezTo>
                      <a:pt x="449" y="40"/>
                      <a:pt x="449" y="40"/>
                      <a:pt x="449" y="40"/>
                    </a:cubicBezTo>
                    <a:cubicBezTo>
                      <a:pt x="448" y="38"/>
                      <a:pt x="447" y="35"/>
                      <a:pt x="445" y="31"/>
                    </a:cubicBezTo>
                    <a:cubicBezTo>
                      <a:pt x="444" y="29"/>
                      <a:pt x="443" y="26"/>
                      <a:pt x="440" y="24"/>
                    </a:cubicBezTo>
                    <a:cubicBezTo>
                      <a:pt x="438" y="22"/>
                      <a:pt x="434" y="21"/>
                      <a:pt x="431" y="21"/>
                    </a:cubicBezTo>
                    <a:cubicBezTo>
                      <a:pt x="428" y="21"/>
                      <a:pt x="425" y="21"/>
                      <a:pt x="423" y="22"/>
                    </a:cubicBezTo>
                    <a:cubicBezTo>
                      <a:pt x="404" y="29"/>
                      <a:pt x="353" y="49"/>
                      <a:pt x="353" y="49"/>
                    </a:cubicBezTo>
                    <a:cubicBezTo>
                      <a:pt x="348" y="50"/>
                      <a:pt x="344" y="52"/>
                      <a:pt x="340" y="56"/>
                    </a:cubicBezTo>
                    <a:cubicBezTo>
                      <a:pt x="337" y="60"/>
                      <a:pt x="335" y="66"/>
                      <a:pt x="335" y="72"/>
                    </a:cubicBezTo>
                    <a:cubicBezTo>
                      <a:pt x="335" y="73"/>
                      <a:pt x="335" y="75"/>
                      <a:pt x="336" y="77"/>
                    </a:cubicBezTo>
                    <a:cubicBezTo>
                      <a:pt x="339" y="100"/>
                      <a:pt x="339" y="100"/>
                      <a:pt x="339" y="100"/>
                    </a:cubicBezTo>
                    <a:cubicBezTo>
                      <a:pt x="318" y="84"/>
                      <a:pt x="318" y="84"/>
                      <a:pt x="318" y="84"/>
                    </a:cubicBezTo>
                    <a:cubicBezTo>
                      <a:pt x="316" y="82"/>
                      <a:pt x="313" y="82"/>
                      <a:pt x="310" y="83"/>
                    </a:cubicBezTo>
                    <a:cubicBezTo>
                      <a:pt x="307" y="84"/>
                      <a:pt x="305" y="87"/>
                      <a:pt x="305" y="90"/>
                    </a:cubicBezTo>
                    <a:cubicBezTo>
                      <a:pt x="305" y="108"/>
                      <a:pt x="305" y="108"/>
                      <a:pt x="305" y="108"/>
                    </a:cubicBezTo>
                    <a:cubicBezTo>
                      <a:pt x="291" y="108"/>
                      <a:pt x="291" y="108"/>
                      <a:pt x="291" y="108"/>
                    </a:cubicBezTo>
                    <a:cubicBezTo>
                      <a:pt x="305" y="46"/>
                      <a:pt x="305" y="46"/>
                      <a:pt x="305" y="46"/>
                    </a:cubicBezTo>
                    <a:cubicBezTo>
                      <a:pt x="305" y="45"/>
                      <a:pt x="305" y="44"/>
                      <a:pt x="305" y="43"/>
                    </a:cubicBezTo>
                    <a:cubicBezTo>
                      <a:pt x="305" y="34"/>
                      <a:pt x="298" y="26"/>
                      <a:pt x="289" y="26"/>
                    </a:cubicBezTo>
                    <a:cubicBezTo>
                      <a:pt x="288" y="26"/>
                      <a:pt x="286" y="27"/>
                      <a:pt x="284" y="27"/>
                    </a:cubicBezTo>
                    <a:cubicBezTo>
                      <a:pt x="284" y="27"/>
                      <a:pt x="267" y="34"/>
                      <a:pt x="243" y="42"/>
                    </a:cubicBezTo>
                    <a:cubicBezTo>
                      <a:pt x="240" y="17"/>
                      <a:pt x="240" y="17"/>
                      <a:pt x="240" y="17"/>
                    </a:cubicBezTo>
                    <a:cubicBezTo>
                      <a:pt x="240" y="13"/>
                      <a:pt x="238" y="10"/>
                      <a:pt x="236" y="6"/>
                    </a:cubicBezTo>
                    <a:cubicBezTo>
                      <a:pt x="234" y="3"/>
                      <a:pt x="230" y="0"/>
                      <a:pt x="224" y="0"/>
                    </a:cubicBezTo>
                    <a:cubicBezTo>
                      <a:pt x="222" y="0"/>
                      <a:pt x="221" y="0"/>
                      <a:pt x="219" y="0"/>
                    </a:cubicBezTo>
                    <a:cubicBezTo>
                      <a:pt x="219" y="0"/>
                      <a:pt x="121" y="38"/>
                      <a:pt x="115" y="40"/>
                    </a:cubicBezTo>
                    <a:cubicBezTo>
                      <a:pt x="115" y="40"/>
                      <a:pt x="115" y="40"/>
                      <a:pt x="115" y="40"/>
                    </a:cubicBezTo>
                    <a:cubicBezTo>
                      <a:pt x="114" y="38"/>
                      <a:pt x="113" y="35"/>
                      <a:pt x="111" y="31"/>
                    </a:cubicBezTo>
                    <a:cubicBezTo>
                      <a:pt x="110" y="29"/>
                      <a:pt x="108" y="26"/>
                      <a:pt x="106" y="24"/>
                    </a:cubicBezTo>
                    <a:cubicBezTo>
                      <a:pt x="103" y="22"/>
                      <a:pt x="99" y="21"/>
                      <a:pt x="96" y="21"/>
                    </a:cubicBezTo>
                    <a:cubicBezTo>
                      <a:pt x="93" y="21"/>
                      <a:pt x="91" y="21"/>
                      <a:pt x="88" y="22"/>
                    </a:cubicBezTo>
                    <a:cubicBezTo>
                      <a:pt x="70" y="29"/>
                      <a:pt x="18" y="49"/>
                      <a:pt x="18" y="49"/>
                    </a:cubicBezTo>
                    <a:cubicBezTo>
                      <a:pt x="13" y="50"/>
                      <a:pt x="9" y="52"/>
                      <a:pt x="6" y="56"/>
                    </a:cubicBezTo>
                    <a:cubicBezTo>
                      <a:pt x="2" y="60"/>
                      <a:pt x="0" y="66"/>
                      <a:pt x="1" y="72"/>
                    </a:cubicBezTo>
                    <a:cubicBezTo>
                      <a:pt x="1" y="73"/>
                      <a:pt x="1" y="75"/>
                      <a:pt x="1" y="77"/>
                    </a:cubicBezTo>
                    <a:cubicBezTo>
                      <a:pt x="30" y="285"/>
                      <a:pt x="30" y="285"/>
                      <a:pt x="30" y="285"/>
                    </a:cubicBezTo>
                    <a:cubicBezTo>
                      <a:pt x="30" y="285"/>
                      <a:pt x="31" y="292"/>
                      <a:pt x="36" y="296"/>
                    </a:cubicBezTo>
                    <a:cubicBezTo>
                      <a:pt x="41" y="299"/>
                      <a:pt x="44" y="300"/>
                      <a:pt x="49" y="300"/>
                    </a:cubicBezTo>
                    <a:cubicBezTo>
                      <a:pt x="51" y="300"/>
                      <a:pt x="54" y="300"/>
                      <a:pt x="57" y="299"/>
                    </a:cubicBezTo>
                    <a:cubicBezTo>
                      <a:pt x="175" y="253"/>
                      <a:pt x="175" y="253"/>
                      <a:pt x="175" y="253"/>
                    </a:cubicBezTo>
                    <a:cubicBezTo>
                      <a:pt x="218" y="286"/>
                      <a:pt x="218" y="286"/>
                      <a:pt x="218" y="286"/>
                    </a:cubicBezTo>
                    <a:cubicBezTo>
                      <a:pt x="219" y="287"/>
                      <a:pt x="221" y="288"/>
                      <a:pt x="223" y="288"/>
                    </a:cubicBezTo>
                    <a:cubicBezTo>
                      <a:pt x="224" y="288"/>
                      <a:pt x="225" y="288"/>
                      <a:pt x="226" y="287"/>
                    </a:cubicBezTo>
                    <a:cubicBezTo>
                      <a:pt x="229" y="286"/>
                      <a:pt x="231" y="283"/>
                      <a:pt x="231" y="280"/>
                    </a:cubicBezTo>
                    <a:cubicBezTo>
                      <a:pt x="231" y="262"/>
                      <a:pt x="231" y="262"/>
                      <a:pt x="231" y="262"/>
                    </a:cubicBezTo>
                    <a:cubicBezTo>
                      <a:pt x="286" y="262"/>
                      <a:pt x="286" y="262"/>
                      <a:pt x="286" y="262"/>
                    </a:cubicBezTo>
                    <a:cubicBezTo>
                      <a:pt x="290" y="262"/>
                      <a:pt x="294" y="259"/>
                      <a:pt x="294" y="254"/>
                    </a:cubicBezTo>
                    <a:cubicBezTo>
                      <a:pt x="294" y="204"/>
                      <a:pt x="294" y="204"/>
                      <a:pt x="294" y="204"/>
                    </a:cubicBezTo>
                    <a:cubicBezTo>
                      <a:pt x="294" y="199"/>
                      <a:pt x="290" y="196"/>
                      <a:pt x="286" y="196"/>
                    </a:cubicBezTo>
                    <a:cubicBezTo>
                      <a:pt x="271" y="196"/>
                      <a:pt x="271" y="196"/>
                      <a:pt x="271" y="196"/>
                    </a:cubicBezTo>
                    <a:cubicBezTo>
                      <a:pt x="276" y="175"/>
                      <a:pt x="276" y="175"/>
                      <a:pt x="276" y="175"/>
                    </a:cubicBezTo>
                    <a:cubicBezTo>
                      <a:pt x="305" y="175"/>
                      <a:pt x="305" y="175"/>
                      <a:pt x="305" y="175"/>
                    </a:cubicBezTo>
                    <a:cubicBezTo>
                      <a:pt x="305" y="192"/>
                      <a:pt x="305" y="192"/>
                      <a:pt x="305" y="192"/>
                    </a:cubicBezTo>
                    <a:cubicBezTo>
                      <a:pt x="305" y="195"/>
                      <a:pt x="307" y="198"/>
                      <a:pt x="310" y="199"/>
                    </a:cubicBezTo>
                    <a:cubicBezTo>
                      <a:pt x="311" y="200"/>
                      <a:pt x="312" y="200"/>
                      <a:pt x="313" y="200"/>
                    </a:cubicBezTo>
                    <a:cubicBezTo>
                      <a:pt x="315" y="200"/>
                      <a:pt x="317" y="199"/>
                      <a:pt x="318" y="198"/>
                    </a:cubicBezTo>
                    <a:cubicBezTo>
                      <a:pt x="349" y="174"/>
                      <a:pt x="349" y="174"/>
                      <a:pt x="349" y="174"/>
                    </a:cubicBezTo>
                    <a:cubicBezTo>
                      <a:pt x="365" y="285"/>
                      <a:pt x="365" y="285"/>
                      <a:pt x="365" y="285"/>
                    </a:cubicBezTo>
                    <a:cubicBezTo>
                      <a:pt x="365" y="285"/>
                      <a:pt x="366" y="292"/>
                      <a:pt x="371" y="296"/>
                    </a:cubicBezTo>
                    <a:cubicBezTo>
                      <a:pt x="376" y="299"/>
                      <a:pt x="379" y="300"/>
                      <a:pt x="383" y="300"/>
                    </a:cubicBezTo>
                    <a:cubicBezTo>
                      <a:pt x="386" y="300"/>
                      <a:pt x="389" y="300"/>
                      <a:pt x="391" y="299"/>
                    </a:cubicBezTo>
                    <a:cubicBezTo>
                      <a:pt x="536" y="243"/>
                      <a:pt x="536" y="243"/>
                      <a:pt x="536" y="243"/>
                    </a:cubicBezTo>
                    <a:cubicBezTo>
                      <a:pt x="540" y="242"/>
                      <a:pt x="542" y="237"/>
                      <a:pt x="540" y="233"/>
                    </a:cubicBezTo>
                    <a:cubicBezTo>
                      <a:pt x="539" y="229"/>
                      <a:pt x="534" y="227"/>
                      <a:pt x="530" y="228"/>
                    </a:cubicBezTo>
                    <a:cubicBezTo>
                      <a:pt x="386" y="284"/>
                      <a:pt x="386" y="284"/>
                      <a:pt x="386" y="284"/>
                    </a:cubicBezTo>
                    <a:cubicBezTo>
                      <a:pt x="385" y="284"/>
                      <a:pt x="384" y="284"/>
                      <a:pt x="383" y="284"/>
                    </a:cubicBezTo>
                    <a:cubicBezTo>
                      <a:pt x="382" y="284"/>
                      <a:pt x="381" y="283"/>
                      <a:pt x="381" y="282"/>
                    </a:cubicBezTo>
                    <a:cubicBezTo>
                      <a:pt x="382" y="281"/>
                      <a:pt x="414" y="123"/>
                      <a:pt x="414" y="123"/>
                    </a:cubicBezTo>
                    <a:cubicBezTo>
                      <a:pt x="414" y="123"/>
                      <a:pt x="417" y="119"/>
                      <a:pt x="419" y="119"/>
                    </a:cubicBezTo>
                    <a:cubicBezTo>
                      <a:pt x="419" y="119"/>
                      <a:pt x="458" y="104"/>
                      <a:pt x="498" y="89"/>
                    </a:cubicBezTo>
                    <a:cubicBezTo>
                      <a:pt x="546" y="72"/>
                      <a:pt x="617" y="45"/>
                      <a:pt x="624" y="42"/>
                    </a:cubicBezTo>
                    <a:cubicBezTo>
                      <a:pt x="624" y="42"/>
                      <a:pt x="588" y="203"/>
                      <a:pt x="588" y="203"/>
                    </a:cubicBezTo>
                    <a:cubicBezTo>
                      <a:pt x="587" y="205"/>
                      <a:pt x="586" y="207"/>
                      <a:pt x="586" y="207"/>
                    </a:cubicBezTo>
                    <a:cubicBezTo>
                      <a:pt x="585" y="208"/>
                      <a:pt x="585" y="208"/>
                      <a:pt x="583" y="209"/>
                    </a:cubicBezTo>
                    <a:cubicBezTo>
                      <a:pt x="561" y="217"/>
                      <a:pt x="561" y="217"/>
                      <a:pt x="561" y="217"/>
                    </a:cubicBezTo>
                    <a:cubicBezTo>
                      <a:pt x="557" y="219"/>
                      <a:pt x="554" y="223"/>
                      <a:pt x="556" y="228"/>
                    </a:cubicBezTo>
                    <a:cubicBezTo>
                      <a:pt x="558" y="232"/>
                      <a:pt x="562" y="234"/>
                      <a:pt x="566" y="232"/>
                    </a:cubicBezTo>
                    <a:cubicBezTo>
                      <a:pt x="566" y="232"/>
                      <a:pt x="566" y="232"/>
                      <a:pt x="566" y="232"/>
                    </a:cubicBezTo>
                    <a:cubicBezTo>
                      <a:pt x="588" y="224"/>
                      <a:pt x="588" y="224"/>
                      <a:pt x="588" y="224"/>
                    </a:cubicBezTo>
                    <a:cubicBezTo>
                      <a:pt x="592" y="223"/>
                      <a:pt x="596" y="220"/>
                      <a:pt x="598" y="217"/>
                    </a:cubicBezTo>
                    <a:cubicBezTo>
                      <a:pt x="601" y="214"/>
                      <a:pt x="602" y="211"/>
                      <a:pt x="603" y="208"/>
                    </a:cubicBezTo>
                    <a:cubicBezTo>
                      <a:pt x="639" y="46"/>
                      <a:pt x="639" y="46"/>
                      <a:pt x="639" y="46"/>
                    </a:cubicBezTo>
                    <a:cubicBezTo>
                      <a:pt x="640" y="45"/>
                      <a:pt x="640" y="44"/>
                      <a:pt x="640" y="43"/>
                    </a:cubicBezTo>
                    <a:cubicBezTo>
                      <a:pt x="640" y="34"/>
                      <a:pt x="633" y="26"/>
                      <a:pt x="624" y="26"/>
                    </a:cubicBezTo>
                    <a:close/>
                    <a:moveTo>
                      <a:pt x="17" y="75"/>
                    </a:moveTo>
                    <a:cubicBezTo>
                      <a:pt x="17" y="74"/>
                      <a:pt x="17" y="73"/>
                      <a:pt x="17" y="72"/>
                    </a:cubicBezTo>
                    <a:cubicBezTo>
                      <a:pt x="17" y="68"/>
                      <a:pt x="17" y="67"/>
                      <a:pt x="18" y="66"/>
                    </a:cubicBezTo>
                    <a:cubicBezTo>
                      <a:pt x="18" y="66"/>
                      <a:pt x="20" y="65"/>
                      <a:pt x="23" y="64"/>
                    </a:cubicBezTo>
                    <a:cubicBezTo>
                      <a:pt x="23" y="64"/>
                      <a:pt x="23" y="64"/>
                      <a:pt x="23" y="64"/>
                    </a:cubicBezTo>
                    <a:cubicBezTo>
                      <a:pt x="23" y="64"/>
                      <a:pt x="23" y="64"/>
                      <a:pt x="23" y="64"/>
                    </a:cubicBezTo>
                    <a:cubicBezTo>
                      <a:pt x="24" y="63"/>
                      <a:pt x="75" y="44"/>
                      <a:pt x="94" y="37"/>
                    </a:cubicBezTo>
                    <a:cubicBezTo>
                      <a:pt x="95" y="37"/>
                      <a:pt x="95" y="37"/>
                      <a:pt x="96" y="37"/>
                    </a:cubicBezTo>
                    <a:cubicBezTo>
                      <a:pt x="96" y="37"/>
                      <a:pt x="96" y="38"/>
                      <a:pt x="97" y="39"/>
                    </a:cubicBezTo>
                    <a:cubicBezTo>
                      <a:pt x="98" y="41"/>
                      <a:pt x="99" y="44"/>
                      <a:pt x="101" y="48"/>
                    </a:cubicBezTo>
                    <a:cubicBezTo>
                      <a:pt x="102" y="51"/>
                      <a:pt x="107" y="56"/>
                      <a:pt x="114" y="56"/>
                    </a:cubicBezTo>
                    <a:cubicBezTo>
                      <a:pt x="116" y="56"/>
                      <a:pt x="118" y="56"/>
                      <a:pt x="120" y="55"/>
                    </a:cubicBezTo>
                    <a:cubicBezTo>
                      <a:pt x="133" y="51"/>
                      <a:pt x="212" y="20"/>
                      <a:pt x="223" y="16"/>
                    </a:cubicBezTo>
                    <a:cubicBezTo>
                      <a:pt x="224" y="17"/>
                      <a:pt x="224" y="17"/>
                      <a:pt x="224" y="18"/>
                    </a:cubicBezTo>
                    <a:cubicBezTo>
                      <a:pt x="224" y="18"/>
                      <a:pt x="224" y="18"/>
                      <a:pt x="224" y="18"/>
                    </a:cubicBezTo>
                    <a:cubicBezTo>
                      <a:pt x="224" y="19"/>
                      <a:pt x="224" y="19"/>
                      <a:pt x="224" y="19"/>
                    </a:cubicBezTo>
                    <a:cubicBezTo>
                      <a:pt x="228" y="48"/>
                      <a:pt x="228" y="48"/>
                      <a:pt x="228" y="48"/>
                    </a:cubicBezTo>
                    <a:cubicBezTo>
                      <a:pt x="195" y="60"/>
                      <a:pt x="81" y="103"/>
                      <a:pt x="79" y="104"/>
                    </a:cubicBezTo>
                    <a:cubicBezTo>
                      <a:pt x="74" y="105"/>
                      <a:pt x="70" y="108"/>
                      <a:pt x="68" y="112"/>
                    </a:cubicBezTo>
                    <a:cubicBezTo>
                      <a:pt x="67" y="112"/>
                      <a:pt x="67" y="113"/>
                      <a:pt x="66" y="114"/>
                    </a:cubicBezTo>
                    <a:cubicBezTo>
                      <a:pt x="66" y="114"/>
                      <a:pt x="66" y="114"/>
                      <a:pt x="66" y="114"/>
                    </a:cubicBezTo>
                    <a:cubicBezTo>
                      <a:pt x="66" y="115"/>
                      <a:pt x="66" y="115"/>
                      <a:pt x="65" y="115"/>
                    </a:cubicBezTo>
                    <a:cubicBezTo>
                      <a:pt x="65" y="116"/>
                      <a:pt x="65" y="116"/>
                      <a:pt x="65" y="117"/>
                    </a:cubicBezTo>
                    <a:cubicBezTo>
                      <a:pt x="65" y="117"/>
                      <a:pt x="65" y="117"/>
                      <a:pt x="65" y="117"/>
                    </a:cubicBezTo>
                    <a:cubicBezTo>
                      <a:pt x="65" y="117"/>
                      <a:pt x="64" y="118"/>
                      <a:pt x="64" y="119"/>
                    </a:cubicBezTo>
                    <a:cubicBezTo>
                      <a:pt x="64" y="119"/>
                      <a:pt x="64" y="119"/>
                      <a:pt x="64" y="119"/>
                    </a:cubicBezTo>
                    <a:cubicBezTo>
                      <a:pt x="64" y="119"/>
                      <a:pt x="64" y="119"/>
                      <a:pt x="64" y="119"/>
                    </a:cubicBezTo>
                    <a:cubicBezTo>
                      <a:pt x="40" y="237"/>
                      <a:pt x="40" y="237"/>
                      <a:pt x="40" y="237"/>
                    </a:cubicBezTo>
                    <a:lnTo>
                      <a:pt x="17" y="75"/>
                    </a:lnTo>
                    <a:close/>
                    <a:moveTo>
                      <a:pt x="51" y="284"/>
                    </a:moveTo>
                    <a:cubicBezTo>
                      <a:pt x="50" y="284"/>
                      <a:pt x="49" y="284"/>
                      <a:pt x="49" y="284"/>
                    </a:cubicBezTo>
                    <a:cubicBezTo>
                      <a:pt x="47" y="284"/>
                      <a:pt x="46" y="283"/>
                      <a:pt x="47" y="282"/>
                    </a:cubicBezTo>
                    <a:cubicBezTo>
                      <a:pt x="47" y="281"/>
                      <a:pt x="80" y="123"/>
                      <a:pt x="80" y="123"/>
                    </a:cubicBezTo>
                    <a:cubicBezTo>
                      <a:pt x="80" y="123"/>
                      <a:pt x="83" y="119"/>
                      <a:pt x="84" y="119"/>
                    </a:cubicBezTo>
                    <a:cubicBezTo>
                      <a:pt x="84" y="119"/>
                      <a:pt x="124" y="104"/>
                      <a:pt x="164" y="89"/>
                    </a:cubicBezTo>
                    <a:cubicBezTo>
                      <a:pt x="211" y="72"/>
                      <a:pt x="282" y="45"/>
                      <a:pt x="289" y="42"/>
                    </a:cubicBezTo>
                    <a:cubicBezTo>
                      <a:pt x="289" y="42"/>
                      <a:pt x="282" y="73"/>
                      <a:pt x="274" y="108"/>
                    </a:cubicBezTo>
                    <a:cubicBezTo>
                      <a:pt x="250" y="108"/>
                      <a:pt x="250" y="108"/>
                      <a:pt x="250" y="108"/>
                    </a:cubicBezTo>
                    <a:cubicBezTo>
                      <a:pt x="246" y="108"/>
                      <a:pt x="242" y="111"/>
                      <a:pt x="242" y="116"/>
                    </a:cubicBezTo>
                    <a:cubicBezTo>
                      <a:pt x="242" y="167"/>
                      <a:pt x="242" y="167"/>
                      <a:pt x="242" y="167"/>
                    </a:cubicBezTo>
                    <a:cubicBezTo>
                      <a:pt x="242" y="171"/>
                      <a:pt x="246" y="175"/>
                      <a:pt x="250" y="175"/>
                    </a:cubicBezTo>
                    <a:cubicBezTo>
                      <a:pt x="259" y="175"/>
                      <a:pt x="259" y="175"/>
                      <a:pt x="259" y="175"/>
                    </a:cubicBezTo>
                    <a:cubicBezTo>
                      <a:pt x="257" y="183"/>
                      <a:pt x="256" y="191"/>
                      <a:pt x="255" y="196"/>
                    </a:cubicBezTo>
                    <a:cubicBezTo>
                      <a:pt x="231" y="196"/>
                      <a:pt x="231" y="196"/>
                      <a:pt x="231" y="196"/>
                    </a:cubicBezTo>
                    <a:cubicBezTo>
                      <a:pt x="231" y="178"/>
                      <a:pt x="231" y="178"/>
                      <a:pt x="231" y="178"/>
                    </a:cubicBezTo>
                    <a:cubicBezTo>
                      <a:pt x="231" y="175"/>
                      <a:pt x="229" y="172"/>
                      <a:pt x="226" y="171"/>
                    </a:cubicBezTo>
                    <a:cubicBezTo>
                      <a:pt x="223" y="170"/>
                      <a:pt x="220" y="170"/>
                      <a:pt x="218" y="172"/>
                    </a:cubicBezTo>
                    <a:cubicBezTo>
                      <a:pt x="152" y="223"/>
                      <a:pt x="152" y="223"/>
                      <a:pt x="152" y="223"/>
                    </a:cubicBezTo>
                    <a:cubicBezTo>
                      <a:pt x="151" y="224"/>
                      <a:pt x="149" y="227"/>
                      <a:pt x="149" y="229"/>
                    </a:cubicBezTo>
                    <a:cubicBezTo>
                      <a:pt x="149" y="231"/>
                      <a:pt x="151" y="234"/>
                      <a:pt x="152" y="235"/>
                    </a:cubicBezTo>
                    <a:cubicBezTo>
                      <a:pt x="161" y="242"/>
                      <a:pt x="161" y="242"/>
                      <a:pt x="161" y="242"/>
                    </a:cubicBezTo>
                    <a:lnTo>
                      <a:pt x="51" y="284"/>
                    </a:lnTo>
                    <a:close/>
                    <a:moveTo>
                      <a:pt x="278" y="212"/>
                    </a:moveTo>
                    <a:cubicBezTo>
                      <a:pt x="278" y="246"/>
                      <a:pt x="278" y="246"/>
                      <a:pt x="278" y="246"/>
                    </a:cubicBezTo>
                    <a:cubicBezTo>
                      <a:pt x="223" y="246"/>
                      <a:pt x="223" y="246"/>
                      <a:pt x="223" y="246"/>
                    </a:cubicBezTo>
                    <a:cubicBezTo>
                      <a:pt x="218" y="246"/>
                      <a:pt x="215" y="250"/>
                      <a:pt x="215" y="254"/>
                    </a:cubicBezTo>
                    <a:cubicBezTo>
                      <a:pt x="215" y="263"/>
                      <a:pt x="215" y="263"/>
                      <a:pt x="215" y="263"/>
                    </a:cubicBezTo>
                    <a:cubicBezTo>
                      <a:pt x="170" y="229"/>
                      <a:pt x="170" y="229"/>
                      <a:pt x="170" y="229"/>
                    </a:cubicBezTo>
                    <a:cubicBezTo>
                      <a:pt x="215" y="195"/>
                      <a:pt x="215" y="195"/>
                      <a:pt x="215" y="195"/>
                    </a:cubicBezTo>
                    <a:cubicBezTo>
                      <a:pt x="215" y="204"/>
                      <a:pt x="215" y="204"/>
                      <a:pt x="215" y="204"/>
                    </a:cubicBezTo>
                    <a:cubicBezTo>
                      <a:pt x="215" y="208"/>
                      <a:pt x="218" y="212"/>
                      <a:pt x="223" y="212"/>
                    </a:cubicBezTo>
                    <a:lnTo>
                      <a:pt x="278" y="212"/>
                    </a:lnTo>
                    <a:close/>
                    <a:moveTo>
                      <a:pt x="321" y="176"/>
                    </a:moveTo>
                    <a:cubicBezTo>
                      <a:pt x="321" y="167"/>
                      <a:pt x="321" y="167"/>
                      <a:pt x="321" y="167"/>
                    </a:cubicBezTo>
                    <a:cubicBezTo>
                      <a:pt x="321" y="162"/>
                      <a:pt x="318" y="159"/>
                      <a:pt x="313" y="159"/>
                    </a:cubicBezTo>
                    <a:cubicBezTo>
                      <a:pt x="258" y="159"/>
                      <a:pt x="258" y="159"/>
                      <a:pt x="258" y="159"/>
                    </a:cubicBezTo>
                    <a:cubicBezTo>
                      <a:pt x="258" y="124"/>
                      <a:pt x="258" y="124"/>
                      <a:pt x="258" y="124"/>
                    </a:cubicBezTo>
                    <a:cubicBezTo>
                      <a:pt x="313" y="124"/>
                      <a:pt x="313" y="124"/>
                      <a:pt x="313" y="124"/>
                    </a:cubicBezTo>
                    <a:cubicBezTo>
                      <a:pt x="318" y="124"/>
                      <a:pt x="321" y="120"/>
                      <a:pt x="321" y="116"/>
                    </a:cubicBezTo>
                    <a:cubicBezTo>
                      <a:pt x="321" y="107"/>
                      <a:pt x="321" y="107"/>
                      <a:pt x="321" y="107"/>
                    </a:cubicBezTo>
                    <a:cubicBezTo>
                      <a:pt x="365" y="141"/>
                      <a:pt x="365" y="141"/>
                      <a:pt x="365" y="141"/>
                    </a:cubicBezTo>
                    <a:lnTo>
                      <a:pt x="321" y="176"/>
                    </a:lnTo>
                    <a:close/>
                    <a:moveTo>
                      <a:pt x="414" y="104"/>
                    </a:moveTo>
                    <a:cubicBezTo>
                      <a:pt x="409" y="105"/>
                      <a:pt x="405" y="108"/>
                      <a:pt x="402" y="112"/>
                    </a:cubicBezTo>
                    <a:cubicBezTo>
                      <a:pt x="402" y="112"/>
                      <a:pt x="401" y="113"/>
                      <a:pt x="401" y="114"/>
                    </a:cubicBezTo>
                    <a:cubicBezTo>
                      <a:pt x="401" y="114"/>
                      <a:pt x="401" y="114"/>
                      <a:pt x="401" y="114"/>
                    </a:cubicBezTo>
                    <a:cubicBezTo>
                      <a:pt x="401" y="115"/>
                      <a:pt x="400" y="115"/>
                      <a:pt x="400" y="115"/>
                    </a:cubicBezTo>
                    <a:cubicBezTo>
                      <a:pt x="400" y="116"/>
                      <a:pt x="400" y="116"/>
                      <a:pt x="400" y="117"/>
                    </a:cubicBezTo>
                    <a:cubicBezTo>
                      <a:pt x="400" y="117"/>
                      <a:pt x="400" y="117"/>
                      <a:pt x="400" y="117"/>
                    </a:cubicBezTo>
                    <a:cubicBezTo>
                      <a:pt x="399" y="117"/>
                      <a:pt x="399" y="118"/>
                      <a:pt x="399" y="119"/>
                    </a:cubicBezTo>
                    <a:cubicBezTo>
                      <a:pt x="399" y="119"/>
                      <a:pt x="399" y="119"/>
                      <a:pt x="399" y="119"/>
                    </a:cubicBezTo>
                    <a:cubicBezTo>
                      <a:pt x="399" y="119"/>
                      <a:pt x="399" y="119"/>
                      <a:pt x="399" y="119"/>
                    </a:cubicBezTo>
                    <a:cubicBezTo>
                      <a:pt x="374" y="237"/>
                      <a:pt x="374" y="237"/>
                      <a:pt x="374" y="237"/>
                    </a:cubicBezTo>
                    <a:cubicBezTo>
                      <a:pt x="364" y="163"/>
                      <a:pt x="364" y="163"/>
                      <a:pt x="364" y="163"/>
                    </a:cubicBezTo>
                    <a:cubicBezTo>
                      <a:pt x="383" y="147"/>
                      <a:pt x="383" y="147"/>
                      <a:pt x="383" y="147"/>
                    </a:cubicBezTo>
                    <a:cubicBezTo>
                      <a:pt x="385" y="146"/>
                      <a:pt x="386" y="144"/>
                      <a:pt x="386" y="141"/>
                    </a:cubicBezTo>
                    <a:cubicBezTo>
                      <a:pt x="386" y="139"/>
                      <a:pt x="385" y="136"/>
                      <a:pt x="383" y="135"/>
                    </a:cubicBezTo>
                    <a:cubicBezTo>
                      <a:pt x="357" y="114"/>
                      <a:pt x="357" y="114"/>
                      <a:pt x="357" y="114"/>
                    </a:cubicBezTo>
                    <a:cubicBezTo>
                      <a:pt x="351" y="75"/>
                      <a:pt x="351" y="75"/>
                      <a:pt x="351" y="75"/>
                    </a:cubicBezTo>
                    <a:cubicBezTo>
                      <a:pt x="351" y="74"/>
                      <a:pt x="351" y="73"/>
                      <a:pt x="351" y="72"/>
                    </a:cubicBezTo>
                    <a:cubicBezTo>
                      <a:pt x="351" y="68"/>
                      <a:pt x="352" y="67"/>
                      <a:pt x="352" y="66"/>
                    </a:cubicBezTo>
                    <a:cubicBezTo>
                      <a:pt x="353" y="66"/>
                      <a:pt x="354" y="65"/>
                      <a:pt x="358" y="64"/>
                    </a:cubicBezTo>
                    <a:cubicBezTo>
                      <a:pt x="358" y="64"/>
                      <a:pt x="358" y="64"/>
                      <a:pt x="358" y="64"/>
                    </a:cubicBezTo>
                    <a:cubicBezTo>
                      <a:pt x="358" y="64"/>
                      <a:pt x="358" y="64"/>
                      <a:pt x="358" y="64"/>
                    </a:cubicBezTo>
                    <a:cubicBezTo>
                      <a:pt x="358" y="63"/>
                      <a:pt x="410" y="44"/>
                      <a:pt x="428" y="37"/>
                    </a:cubicBezTo>
                    <a:cubicBezTo>
                      <a:pt x="429" y="37"/>
                      <a:pt x="430" y="37"/>
                      <a:pt x="430" y="37"/>
                    </a:cubicBezTo>
                    <a:cubicBezTo>
                      <a:pt x="431" y="37"/>
                      <a:pt x="431" y="38"/>
                      <a:pt x="431" y="39"/>
                    </a:cubicBezTo>
                    <a:cubicBezTo>
                      <a:pt x="432" y="41"/>
                      <a:pt x="433" y="44"/>
                      <a:pt x="435" y="48"/>
                    </a:cubicBezTo>
                    <a:cubicBezTo>
                      <a:pt x="437" y="51"/>
                      <a:pt x="442" y="56"/>
                      <a:pt x="449" y="56"/>
                    </a:cubicBezTo>
                    <a:cubicBezTo>
                      <a:pt x="451" y="56"/>
                      <a:pt x="453" y="56"/>
                      <a:pt x="454" y="55"/>
                    </a:cubicBezTo>
                    <a:cubicBezTo>
                      <a:pt x="467" y="51"/>
                      <a:pt x="546" y="20"/>
                      <a:pt x="558" y="16"/>
                    </a:cubicBezTo>
                    <a:cubicBezTo>
                      <a:pt x="558" y="17"/>
                      <a:pt x="559" y="17"/>
                      <a:pt x="559" y="18"/>
                    </a:cubicBezTo>
                    <a:cubicBezTo>
                      <a:pt x="559" y="18"/>
                      <a:pt x="559" y="18"/>
                      <a:pt x="559" y="18"/>
                    </a:cubicBezTo>
                    <a:cubicBezTo>
                      <a:pt x="559" y="19"/>
                      <a:pt x="559" y="19"/>
                      <a:pt x="559" y="19"/>
                    </a:cubicBezTo>
                    <a:cubicBezTo>
                      <a:pt x="563" y="48"/>
                      <a:pt x="563" y="48"/>
                      <a:pt x="563" y="48"/>
                    </a:cubicBezTo>
                    <a:cubicBezTo>
                      <a:pt x="530" y="60"/>
                      <a:pt x="416" y="103"/>
                      <a:pt x="414"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97" name="Freeform 3"/>
              <p:cNvSpPr>
                <a:spLocks noChangeAspect="1" noEditPoints="1"/>
              </p:cNvSpPr>
              <p:nvPr/>
            </p:nvSpPr>
            <p:spPr bwMode="auto">
              <a:xfrm>
                <a:off x="5740314" y="4044302"/>
                <a:ext cx="141925" cy="112500"/>
              </a:xfrm>
              <a:custGeom>
                <a:avLst/>
                <a:gdLst>
                  <a:gd name="T0" fmla="*/ 2147483647 w 359"/>
                  <a:gd name="T1" fmla="*/ 0 h 290"/>
                  <a:gd name="T2" fmla="*/ 2147483647 w 359"/>
                  <a:gd name="T3" fmla="*/ 2147483647 h 290"/>
                  <a:gd name="T4" fmla="*/ 2147483647 w 359"/>
                  <a:gd name="T5" fmla="*/ 2147483647 h 290"/>
                  <a:gd name="T6" fmla="*/ 2147483647 w 359"/>
                  <a:gd name="T7" fmla="*/ 2147483647 h 290"/>
                  <a:gd name="T8" fmla="*/ 2147483647 w 359"/>
                  <a:gd name="T9" fmla="*/ 2147483647 h 290"/>
                  <a:gd name="T10" fmla="*/ 2147483647 w 359"/>
                  <a:gd name="T11" fmla="*/ 2147483647 h 290"/>
                  <a:gd name="T12" fmla="*/ 2147483647 w 359"/>
                  <a:gd name="T13" fmla="*/ 2147483647 h 290"/>
                  <a:gd name="T14" fmla="*/ 2147483647 w 359"/>
                  <a:gd name="T15" fmla="*/ 2147483647 h 290"/>
                  <a:gd name="T16" fmla="*/ 2147483647 w 359"/>
                  <a:gd name="T17" fmla="*/ 2147483647 h 290"/>
                  <a:gd name="T18" fmla="*/ 2147483647 w 359"/>
                  <a:gd name="T19" fmla="*/ 2147483647 h 290"/>
                  <a:gd name="T20" fmla="*/ 2147483647 w 359"/>
                  <a:gd name="T21" fmla="*/ 2147483647 h 290"/>
                  <a:gd name="T22" fmla="*/ 2147483647 w 359"/>
                  <a:gd name="T23" fmla="*/ 2147483647 h 290"/>
                  <a:gd name="T24" fmla="*/ 2147483647 w 359"/>
                  <a:gd name="T25" fmla="*/ 2147483647 h 290"/>
                  <a:gd name="T26" fmla="*/ 2147483647 w 359"/>
                  <a:gd name="T27" fmla="*/ 2147483647 h 290"/>
                  <a:gd name="T28" fmla="*/ 2147483647 w 359"/>
                  <a:gd name="T29" fmla="*/ 2147483647 h 290"/>
                  <a:gd name="T30" fmla="*/ 2147483647 w 359"/>
                  <a:gd name="T31" fmla="*/ 2147483647 h 290"/>
                  <a:gd name="T32" fmla="*/ 2147483647 w 359"/>
                  <a:gd name="T33" fmla="*/ 2147483647 h 290"/>
                  <a:gd name="T34" fmla="*/ 2147483647 w 359"/>
                  <a:gd name="T35" fmla="*/ 2147483647 h 290"/>
                  <a:gd name="T36" fmla="*/ 2147483647 w 359"/>
                  <a:gd name="T37" fmla="*/ 2147483647 h 290"/>
                  <a:gd name="T38" fmla="*/ 2147483647 w 359"/>
                  <a:gd name="T39" fmla="*/ 2147483647 h 290"/>
                  <a:gd name="T40" fmla="*/ 2147483647 w 359"/>
                  <a:gd name="T41" fmla="*/ 2147483647 h 290"/>
                  <a:gd name="T42" fmla="*/ 2147483647 w 359"/>
                  <a:gd name="T43" fmla="*/ 2147483647 h 290"/>
                  <a:gd name="T44" fmla="*/ 2147483647 w 359"/>
                  <a:gd name="T45" fmla="*/ 2147483647 h 290"/>
                  <a:gd name="T46" fmla="*/ 2147483647 w 359"/>
                  <a:gd name="T47" fmla="*/ 2147483647 h 290"/>
                  <a:gd name="T48" fmla="*/ 2147483647 w 359"/>
                  <a:gd name="T49" fmla="*/ 2147483647 h 290"/>
                  <a:gd name="T50" fmla="*/ 2147483647 w 359"/>
                  <a:gd name="T51" fmla="*/ 2147483647 h 290"/>
                  <a:gd name="T52" fmla="*/ 2147483647 w 359"/>
                  <a:gd name="T53" fmla="*/ 2147483647 h 290"/>
                  <a:gd name="T54" fmla="*/ 2147483647 w 359"/>
                  <a:gd name="T55" fmla="*/ 2147483647 h 290"/>
                  <a:gd name="T56" fmla="*/ 2147483647 w 359"/>
                  <a:gd name="T57" fmla="*/ 2147483647 h 290"/>
                  <a:gd name="T58" fmla="*/ 2147483647 w 359"/>
                  <a:gd name="T59" fmla="*/ 2147483647 h 290"/>
                  <a:gd name="T60" fmla="*/ 2147483647 w 359"/>
                  <a:gd name="T61" fmla="*/ 2147483647 h 290"/>
                  <a:gd name="T62" fmla="*/ 2147483647 w 359"/>
                  <a:gd name="T63" fmla="*/ 2147483647 h 290"/>
                  <a:gd name="T64" fmla="*/ 2147483647 w 359"/>
                  <a:gd name="T65" fmla="*/ 2147483647 h 290"/>
                  <a:gd name="T66" fmla="*/ 2147483647 w 359"/>
                  <a:gd name="T67" fmla="*/ 2147483647 h 290"/>
                  <a:gd name="T68" fmla="*/ 2147483647 w 359"/>
                  <a:gd name="T69" fmla="*/ 2147483647 h 290"/>
                  <a:gd name="T70" fmla="*/ 2147483647 w 359"/>
                  <a:gd name="T71" fmla="*/ 2147483647 h 29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359" h="290">
                    <a:moveTo>
                      <a:pt x="337" y="0"/>
                    </a:moveTo>
                    <a:cubicBezTo>
                      <a:pt x="312" y="0"/>
                      <a:pt x="312" y="0"/>
                      <a:pt x="312" y="0"/>
                    </a:cubicBezTo>
                    <a:cubicBezTo>
                      <a:pt x="299" y="0"/>
                      <a:pt x="286" y="10"/>
                      <a:pt x="284" y="23"/>
                    </a:cubicBezTo>
                    <a:cubicBezTo>
                      <a:pt x="279" y="49"/>
                      <a:pt x="279" y="49"/>
                      <a:pt x="279" y="49"/>
                    </a:cubicBezTo>
                    <a:cubicBezTo>
                      <a:pt x="275" y="46"/>
                      <a:pt x="270" y="44"/>
                      <a:pt x="264" y="44"/>
                    </a:cubicBezTo>
                    <a:cubicBezTo>
                      <a:pt x="28" y="44"/>
                      <a:pt x="28" y="44"/>
                      <a:pt x="28" y="44"/>
                    </a:cubicBezTo>
                    <a:cubicBezTo>
                      <a:pt x="20" y="44"/>
                      <a:pt x="12" y="48"/>
                      <a:pt x="7" y="54"/>
                    </a:cubicBezTo>
                    <a:cubicBezTo>
                      <a:pt x="2" y="60"/>
                      <a:pt x="0" y="68"/>
                      <a:pt x="1" y="76"/>
                    </a:cubicBezTo>
                    <a:cubicBezTo>
                      <a:pt x="20" y="191"/>
                      <a:pt x="20" y="191"/>
                      <a:pt x="20" y="191"/>
                    </a:cubicBezTo>
                    <a:cubicBezTo>
                      <a:pt x="22" y="204"/>
                      <a:pt x="34" y="215"/>
                      <a:pt x="48" y="215"/>
                    </a:cubicBezTo>
                    <a:cubicBezTo>
                      <a:pt x="241" y="215"/>
                      <a:pt x="241" y="215"/>
                      <a:pt x="241" y="215"/>
                    </a:cubicBezTo>
                    <a:cubicBezTo>
                      <a:pt x="244" y="215"/>
                      <a:pt x="246" y="214"/>
                      <a:pt x="249" y="214"/>
                    </a:cubicBezTo>
                    <a:cubicBezTo>
                      <a:pt x="245" y="233"/>
                      <a:pt x="242" y="249"/>
                      <a:pt x="242" y="249"/>
                    </a:cubicBezTo>
                    <a:cubicBezTo>
                      <a:pt x="242" y="250"/>
                      <a:pt x="240" y="252"/>
                      <a:pt x="238" y="252"/>
                    </a:cubicBezTo>
                    <a:cubicBezTo>
                      <a:pt x="234" y="252"/>
                      <a:pt x="234" y="252"/>
                      <a:pt x="234" y="252"/>
                    </a:cubicBezTo>
                    <a:cubicBezTo>
                      <a:pt x="231" y="240"/>
                      <a:pt x="220" y="231"/>
                      <a:pt x="206" y="231"/>
                    </a:cubicBezTo>
                    <a:cubicBezTo>
                      <a:pt x="193" y="231"/>
                      <a:pt x="182" y="240"/>
                      <a:pt x="178" y="252"/>
                    </a:cubicBezTo>
                    <a:cubicBezTo>
                      <a:pt x="89" y="252"/>
                      <a:pt x="89" y="252"/>
                      <a:pt x="89" y="252"/>
                    </a:cubicBezTo>
                    <a:cubicBezTo>
                      <a:pt x="86" y="240"/>
                      <a:pt x="75" y="231"/>
                      <a:pt x="61" y="231"/>
                    </a:cubicBezTo>
                    <a:cubicBezTo>
                      <a:pt x="45" y="231"/>
                      <a:pt x="32" y="244"/>
                      <a:pt x="32" y="260"/>
                    </a:cubicBezTo>
                    <a:cubicBezTo>
                      <a:pt x="32" y="277"/>
                      <a:pt x="45" y="290"/>
                      <a:pt x="61" y="290"/>
                    </a:cubicBezTo>
                    <a:cubicBezTo>
                      <a:pt x="75" y="290"/>
                      <a:pt x="86" y="281"/>
                      <a:pt x="90" y="268"/>
                    </a:cubicBezTo>
                    <a:cubicBezTo>
                      <a:pt x="178" y="268"/>
                      <a:pt x="178" y="268"/>
                      <a:pt x="178" y="268"/>
                    </a:cubicBezTo>
                    <a:cubicBezTo>
                      <a:pt x="182" y="281"/>
                      <a:pt x="193" y="290"/>
                      <a:pt x="206" y="290"/>
                    </a:cubicBezTo>
                    <a:cubicBezTo>
                      <a:pt x="220" y="290"/>
                      <a:pt x="231" y="281"/>
                      <a:pt x="234" y="268"/>
                    </a:cubicBezTo>
                    <a:cubicBezTo>
                      <a:pt x="238" y="268"/>
                      <a:pt x="238" y="268"/>
                      <a:pt x="238" y="268"/>
                    </a:cubicBezTo>
                    <a:cubicBezTo>
                      <a:pt x="248" y="268"/>
                      <a:pt x="256" y="261"/>
                      <a:pt x="258" y="252"/>
                    </a:cubicBezTo>
                    <a:cubicBezTo>
                      <a:pt x="262" y="229"/>
                      <a:pt x="266" y="210"/>
                      <a:pt x="268" y="195"/>
                    </a:cubicBezTo>
                    <a:cubicBezTo>
                      <a:pt x="269" y="194"/>
                      <a:pt x="269" y="193"/>
                      <a:pt x="269" y="191"/>
                    </a:cubicBezTo>
                    <a:cubicBezTo>
                      <a:pt x="281" y="127"/>
                      <a:pt x="281" y="127"/>
                      <a:pt x="281" y="127"/>
                    </a:cubicBezTo>
                    <a:cubicBezTo>
                      <a:pt x="281" y="126"/>
                      <a:pt x="281" y="125"/>
                      <a:pt x="281" y="123"/>
                    </a:cubicBezTo>
                    <a:cubicBezTo>
                      <a:pt x="280" y="122"/>
                      <a:pt x="280" y="121"/>
                      <a:pt x="279" y="120"/>
                    </a:cubicBezTo>
                    <a:cubicBezTo>
                      <a:pt x="278" y="120"/>
                      <a:pt x="278" y="119"/>
                      <a:pt x="277" y="119"/>
                    </a:cubicBezTo>
                    <a:cubicBezTo>
                      <a:pt x="276" y="118"/>
                      <a:pt x="275" y="118"/>
                      <a:pt x="274" y="118"/>
                    </a:cubicBezTo>
                    <a:cubicBezTo>
                      <a:pt x="270" y="117"/>
                      <a:pt x="266" y="120"/>
                      <a:pt x="265" y="124"/>
                    </a:cubicBezTo>
                    <a:cubicBezTo>
                      <a:pt x="265" y="124"/>
                      <a:pt x="265" y="124"/>
                      <a:pt x="265" y="124"/>
                    </a:cubicBezTo>
                    <a:cubicBezTo>
                      <a:pt x="265" y="125"/>
                      <a:pt x="259" y="159"/>
                      <a:pt x="253" y="191"/>
                    </a:cubicBezTo>
                    <a:cubicBezTo>
                      <a:pt x="251" y="195"/>
                      <a:pt x="246" y="199"/>
                      <a:pt x="241" y="199"/>
                    </a:cubicBezTo>
                    <a:cubicBezTo>
                      <a:pt x="48" y="199"/>
                      <a:pt x="48" y="199"/>
                      <a:pt x="48" y="199"/>
                    </a:cubicBezTo>
                    <a:cubicBezTo>
                      <a:pt x="42" y="199"/>
                      <a:pt x="37" y="194"/>
                      <a:pt x="36" y="189"/>
                    </a:cubicBezTo>
                    <a:cubicBezTo>
                      <a:pt x="17" y="73"/>
                      <a:pt x="17" y="73"/>
                      <a:pt x="17" y="73"/>
                    </a:cubicBezTo>
                    <a:cubicBezTo>
                      <a:pt x="17" y="70"/>
                      <a:pt x="17" y="66"/>
                      <a:pt x="19" y="64"/>
                    </a:cubicBezTo>
                    <a:cubicBezTo>
                      <a:pt x="21" y="62"/>
                      <a:pt x="25" y="60"/>
                      <a:pt x="28" y="60"/>
                    </a:cubicBezTo>
                    <a:cubicBezTo>
                      <a:pt x="264" y="60"/>
                      <a:pt x="264" y="60"/>
                      <a:pt x="264" y="60"/>
                    </a:cubicBezTo>
                    <a:cubicBezTo>
                      <a:pt x="268" y="60"/>
                      <a:pt x="271" y="62"/>
                      <a:pt x="273" y="64"/>
                    </a:cubicBezTo>
                    <a:cubicBezTo>
                      <a:pt x="275" y="66"/>
                      <a:pt x="275" y="69"/>
                      <a:pt x="275" y="72"/>
                    </a:cubicBezTo>
                    <a:cubicBezTo>
                      <a:pt x="271" y="93"/>
                      <a:pt x="271" y="93"/>
                      <a:pt x="271" y="93"/>
                    </a:cubicBezTo>
                    <a:cubicBezTo>
                      <a:pt x="271" y="93"/>
                      <a:pt x="271" y="93"/>
                      <a:pt x="271" y="93"/>
                    </a:cubicBezTo>
                    <a:cubicBezTo>
                      <a:pt x="270" y="97"/>
                      <a:pt x="273" y="102"/>
                      <a:pt x="277" y="102"/>
                    </a:cubicBezTo>
                    <a:cubicBezTo>
                      <a:pt x="282" y="103"/>
                      <a:pt x="286" y="100"/>
                      <a:pt x="287" y="96"/>
                    </a:cubicBezTo>
                    <a:cubicBezTo>
                      <a:pt x="290" y="76"/>
                      <a:pt x="290" y="76"/>
                      <a:pt x="290" y="76"/>
                    </a:cubicBezTo>
                    <a:cubicBezTo>
                      <a:pt x="291" y="76"/>
                      <a:pt x="291" y="75"/>
                      <a:pt x="291" y="75"/>
                    </a:cubicBezTo>
                    <a:cubicBezTo>
                      <a:pt x="300" y="26"/>
                      <a:pt x="300" y="26"/>
                      <a:pt x="300" y="26"/>
                    </a:cubicBezTo>
                    <a:cubicBezTo>
                      <a:pt x="301" y="20"/>
                      <a:pt x="307" y="16"/>
                      <a:pt x="312" y="16"/>
                    </a:cubicBezTo>
                    <a:cubicBezTo>
                      <a:pt x="337" y="16"/>
                      <a:pt x="337" y="16"/>
                      <a:pt x="337" y="16"/>
                    </a:cubicBezTo>
                    <a:cubicBezTo>
                      <a:pt x="341" y="16"/>
                      <a:pt x="343" y="19"/>
                      <a:pt x="343" y="22"/>
                    </a:cubicBezTo>
                    <a:cubicBezTo>
                      <a:pt x="343" y="27"/>
                      <a:pt x="338" y="27"/>
                      <a:pt x="337" y="27"/>
                    </a:cubicBezTo>
                    <a:cubicBezTo>
                      <a:pt x="322" y="27"/>
                      <a:pt x="322" y="27"/>
                      <a:pt x="322" y="27"/>
                    </a:cubicBezTo>
                    <a:cubicBezTo>
                      <a:pt x="318" y="27"/>
                      <a:pt x="314" y="31"/>
                      <a:pt x="314" y="35"/>
                    </a:cubicBezTo>
                    <a:cubicBezTo>
                      <a:pt x="314" y="40"/>
                      <a:pt x="318" y="43"/>
                      <a:pt x="322" y="43"/>
                    </a:cubicBezTo>
                    <a:cubicBezTo>
                      <a:pt x="337" y="43"/>
                      <a:pt x="337" y="43"/>
                      <a:pt x="337" y="43"/>
                    </a:cubicBezTo>
                    <a:cubicBezTo>
                      <a:pt x="350" y="43"/>
                      <a:pt x="359" y="35"/>
                      <a:pt x="359" y="22"/>
                    </a:cubicBezTo>
                    <a:cubicBezTo>
                      <a:pt x="359" y="10"/>
                      <a:pt x="349" y="0"/>
                      <a:pt x="337" y="0"/>
                    </a:cubicBezTo>
                    <a:close/>
                    <a:moveTo>
                      <a:pt x="61" y="274"/>
                    </a:moveTo>
                    <a:cubicBezTo>
                      <a:pt x="54" y="274"/>
                      <a:pt x="48" y="268"/>
                      <a:pt x="48" y="260"/>
                    </a:cubicBezTo>
                    <a:cubicBezTo>
                      <a:pt x="48" y="253"/>
                      <a:pt x="54" y="247"/>
                      <a:pt x="61" y="247"/>
                    </a:cubicBezTo>
                    <a:cubicBezTo>
                      <a:pt x="69" y="247"/>
                      <a:pt x="75" y="253"/>
                      <a:pt x="75" y="260"/>
                    </a:cubicBezTo>
                    <a:cubicBezTo>
                      <a:pt x="75" y="268"/>
                      <a:pt x="69" y="274"/>
                      <a:pt x="61" y="274"/>
                    </a:cubicBezTo>
                    <a:close/>
                    <a:moveTo>
                      <a:pt x="206" y="274"/>
                    </a:moveTo>
                    <a:cubicBezTo>
                      <a:pt x="199" y="274"/>
                      <a:pt x="193" y="268"/>
                      <a:pt x="193" y="260"/>
                    </a:cubicBezTo>
                    <a:cubicBezTo>
                      <a:pt x="193" y="253"/>
                      <a:pt x="199" y="247"/>
                      <a:pt x="206" y="247"/>
                    </a:cubicBezTo>
                    <a:cubicBezTo>
                      <a:pt x="214" y="247"/>
                      <a:pt x="219" y="253"/>
                      <a:pt x="219" y="260"/>
                    </a:cubicBezTo>
                    <a:cubicBezTo>
                      <a:pt x="219" y="268"/>
                      <a:pt x="214" y="274"/>
                      <a:pt x="206" y="2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98" name="Freeform 3"/>
              <p:cNvSpPr>
                <a:spLocks noChangeAspect="1" noEditPoints="1"/>
              </p:cNvSpPr>
              <p:nvPr/>
            </p:nvSpPr>
            <p:spPr bwMode="auto">
              <a:xfrm>
                <a:off x="5937019" y="3503035"/>
                <a:ext cx="177279" cy="80519"/>
              </a:xfrm>
              <a:custGeom>
                <a:avLst/>
                <a:gdLst>
                  <a:gd name="T0" fmla="*/ 2147483647 w 448"/>
                  <a:gd name="T1" fmla="*/ 2147483647 h 208"/>
                  <a:gd name="T2" fmla="*/ 2147483647 w 448"/>
                  <a:gd name="T3" fmla="*/ 2147483647 h 208"/>
                  <a:gd name="T4" fmla="*/ 2147483647 w 448"/>
                  <a:gd name="T5" fmla="*/ 2147483647 h 208"/>
                  <a:gd name="T6" fmla="*/ 2147483647 w 448"/>
                  <a:gd name="T7" fmla="*/ 2147483647 h 208"/>
                  <a:gd name="T8" fmla="*/ 2147483647 w 448"/>
                  <a:gd name="T9" fmla="*/ 2147483647 h 208"/>
                  <a:gd name="T10" fmla="*/ 2147483647 w 448"/>
                  <a:gd name="T11" fmla="*/ 2147483647 h 208"/>
                  <a:gd name="T12" fmla="*/ 2147483647 w 448"/>
                  <a:gd name="T13" fmla="*/ 2147483647 h 208"/>
                  <a:gd name="T14" fmla="*/ 2147483647 w 448"/>
                  <a:gd name="T15" fmla="*/ 2147483647 h 208"/>
                  <a:gd name="T16" fmla="*/ 2147483647 w 448"/>
                  <a:gd name="T17" fmla="*/ 2147483647 h 208"/>
                  <a:gd name="T18" fmla="*/ 2147483647 w 448"/>
                  <a:gd name="T19" fmla="*/ 2147483647 h 208"/>
                  <a:gd name="T20" fmla="*/ 2147483647 w 448"/>
                  <a:gd name="T21" fmla="*/ 2147483647 h 208"/>
                  <a:gd name="T22" fmla="*/ 2147483647 w 448"/>
                  <a:gd name="T23" fmla="*/ 2147483647 h 208"/>
                  <a:gd name="T24" fmla="*/ 2147483647 w 448"/>
                  <a:gd name="T25" fmla="*/ 2147483647 h 208"/>
                  <a:gd name="T26" fmla="*/ 2147483647 w 448"/>
                  <a:gd name="T27" fmla="*/ 2147483647 h 208"/>
                  <a:gd name="T28" fmla="*/ 2147483647 w 448"/>
                  <a:gd name="T29" fmla="*/ 2147483647 h 208"/>
                  <a:gd name="T30" fmla="*/ 2147483647 w 448"/>
                  <a:gd name="T31" fmla="*/ 2147483647 h 208"/>
                  <a:gd name="T32" fmla="*/ 2147483647 w 448"/>
                  <a:gd name="T33" fmla="*/ 2147483647 h 208"/>
                  <a:gd name="T34" fmla="*/ 2147483647 w 448"/>
                  <a:gd name="T35" fmla="*/ 2147483647 h 208"/>
                  <a:gd name="T36" fmla="*/ 2147483647 w 448"/>
                  <a:gd name="T37" fmla="*/ 2147483647 h 208"/>
                  <a:gd name="T38" fmla="*/ 2147483647 w 448"/>
                  <a:gd name="T39" fmla="*/ 2147483647 h 208"/>
                  <a:gd name="T40" fmla="*/ 2147483647 w 448"/>
                  <a:gd name="T41" fmla="*/ 2147483647 h 208"/>
                  <a:gd name="T42" fmla="*/ 2147483647 w 448"/>
                  <a:gd name="T43" fmla="*/ 2147483647 h 208"/>
                  <a:gd name="T44" fmla="*/ 2147483647 w 448"/>
                  <a:gd name="T45" fmla="*/ 2147483647 h 208"/>
                  <a:gd name="T46" fmla="*/ 2147483647 w 448"/>
                  <a:gd name="T47" fmla="*/ 2147483647 h 208"/>
                  <a:gd name="T48" fmla="*/ 2147483647 w 448"/>
                  <a:gd name="T49" fmla="*/ 2147483647 h 208"/>
                  <a:gd name="T50" fmla="*/ 2147483647 w 448"/>
                  <a:gd name="T51" fmla="*/ 2147483647 h 208"/>
                  <a:gd name="T52" fmla="*/ 2147483647 w 448"/>
                  <a:gd name="T53" fmla="*/ 2147483647 h 208"/>
                  <a:gd name="T54" fmla="*/ 2147483647 w 448"/>
                  <a:gd name="T55" fmla="*/ 2147483647 h 208"/>
                  <a:gd name="T56" fmla="*/ 2147483647 w 448"/>
                  <a:gd name="T57" fmla="*/ 2147483647 h 208"/>
                  <a:gd name="T58" fmla="*/ 2147483647 w 448"/>
                  <a:gd name="T59" fmla="*/ 2147483647 h 208"/>
                  <a:gd name="T60" fmla="*/ 2147483647 w 448"/>
                  <a:gd name="T61" fmla="*/ 2147483647 h 208"/>
                  <a:gd name="T62" fmla="*/ 2147483647 w 448"/>
                  <a:gd name="T63" fmla="*/ 2147483647 h 208"/>
                  <a:gd name="T64" fmla="*/ 2147483647 w 448"/>
                  <a:gd name="T65" fmla="*/ 2147483647 h 20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448" h="208">
                    <a:moveTo>
                      <a:pt x="447" y="114"/>
                    </a:moveTo>
                    <a:cubicBezTo>
                      <a:pt x="446" y="110"/>
                      <a:pt x="442" y="107"/>
                      <a:pt x="438" y="108"/>
                    </a:cubicBezTo>
                    <a:cubicBezTo>
                      <a:pt x="433" y="109"/>
                      <a:pt x="431" y="114"/>
                      <a:pt x="432" y="118"/>
                    </a:cubicBezTo>
                    <a:cubicBezTo>
                      <a:pt x="432" y="120"/>
                      <a:pt x="432" y="122"/>
                      <a:pt x="432" y="125"/>
                    </a:cubicBezTo>
                    <a:cubicBezTo>
                      <a:pt x="432" y="142"/>
                      <a:pt x="428" y="154"/>
                      <a:pt x="423" y="161"/>
                    </a:cubicBezTo>
                    <a:cubicBezTo>
                      <a:pt x="420" y="164"/>
                      <a:pt x="418" y="167"/>
                      <a:pt x="417" y="169"/>
                    </a:cubicBezTo>
                    <a:cubicBezTo>
                      <a:pt x="416" y="169"/>
                      <a:pt x="416" y="169"/>
                      <a:pt x="416" y="169"/>
                    </a:cubicBezTo>
                    <a:cubicBezTo>
                      <a:pt x="408" y="169"/>
                      <a:pt x="408" y="169"/>
                      <a:pt x="408" y="169"/>
                    </a:cubicBezTo>
                    <a:cubicBezTo>
                      <a:pt x="408" y="167"/>
                      <a:pt x="408" y="165"/>
                      <a:pt x="408" y="163"/>
                    </a:cubicBezTo>
                    <a:cubicBezTo>
                      <a:pt x="408" y="139"/>
                      <a:pt x="388" y="119"/>
                      <a:pt x="363" y="119"/>
                    </a:cubicBezTo>
                    <a:cubicBezTo>
                      <a:pt x="339" y="119"/>
                      <a:pt x="319" y="139"/>
                      <a:pt x="319" y="163"/>
                    </a:cubicBezTo>
                    <a:cubicBezTo>
                      <a:pt x="319" y="165"/>
                      <a:pt x="319" y="167"/>
                      <a:pt x="319" y="169"/>
                    </a:cubicBezTo>
                    <a:cubicBezTo>
                      <a:pt x="141" y="169"/>
                      <a:pt x="141" y="169"/>
                      <a:pt x="141" y="169"/>
                    </a:cubicBezTo>
                    <a:cubicBezTo>
                      <a:pt x="141" y="167"/>
                      <a:pt x="141" y="165"/>
                      <a:pt x="141" y="163"/>
                    </a:cubicBezTo>
                    <a:cubicBezTo>
                      <a:pt x="141" y="139"/>
                      <a:pt x="121" y="119"/>
                      <a:pt x="96" y="119"/>
                    </a:cubicBezTo>
                    <a:cubicBezTo>
                      <a:pt x="72" y="119"/>
                      <a:pt x="52" y="139"/>
                      <a:pt x="52" y="163"/>
                    </a:cubicBezTo>
                    <a:cubicBezTo>
                      <a:pt x="52" y="165"/>
                      <a:pt x="52" y="167"/>
                      <a:pt x="52" y="169"/>
                    </a:cubicBezTo>
                    <a:cubicBezTo>
                      <a:pt x="29" y="169"/>
                      <a:pt x="29" y="169"/>
                      <a:pt x="29" y="169"/>
                    </a:cubicBezTo>
                    <a:cubicBezTo>
                      <a:pt x="23" y="169"/>
                      <a:pt x="22" y="167"/>
                      <a:pt x="19" y="163"/>
                    </a:cubicBezTo>
                    <a:cubicBezTo>
                      <a:pt x="17" y="159"/>
                      <a:pt x="16" y="152"/>
                      <a:pt x="16" y="147"/>
                    </a:cubicBezTo>
                    <a:cubicBezTo>
                      <a:pt x="16" y="136"/>
                      <a:pt x="21" y="126"/>
                      <a:pt x="31" y="118"/>
                    </a:cubicBezTo>
                    <a:cubicBezTo>
                      <a:pt x="44" y="105"/>
                      <a:pt x="67" y="96"/>
                      <a:pt x="86" y="90"/>
                    </a:cubicBezTo>
                    <a:cubicBezTo>
                      <a:pt x="95" y="87"/>
                      <a:pt x="103" y="85"/>
                      <a:pt x="110" y="84"/>
                    </a:cubicBezTo>
                    <a:cubicBezTo>
                      <a:pt x="114" y="83"/>
                      <a:pt x="117" y="82"/>
                      <a:pt x="119" y="82"/>
                    </a:cubicBezTo>
                    <a:cubicBezTo>
                      <a:pt x="384" y="82"/>
                      <a:pt x="384" y="82"/>
                      <a:pt x="384" y="82"/>
                    </a:cubicBezTo>
                    <a:cubicBezTo>
                      <a:pt x="385" y="82"/>
                      <a:pt x="386" y="82"/>
                      <a:pt x="387" y="83"/>
                    </a:cubicBezTo>
                    <a:cubicBezTo>
                      <a:pt x="392" y="84"/>
                      <a:pt x="406" y="89"/>
                      <a:pt x="417" y="97"/>
                    </a:cubicBezTo>
                    <a:cubicBezTo>
                      <a:pt x="420" y="100"/>
                      <a:pt x="425" y="99"/>
                      <a:pt x="428" y="95"/>
                    </a:cubicBezTo>
                    <a:cubicBezTo>
                      <a:pt x="431" y="92"/>
                      <a:pt x="430" y="87"/>
                      <a:pt x="426" y="84"/>
                    </a:cubicBezTo>
                    <a:cubicBezTo>
                      <a:pt x="412" y="74"/>
                      <a:pt x="397" y="69"/>
                      <a:pt x="390" y="67"/>
                    </a:cubicBezTo>
                    <a:cubicBezTo>
                      <a:pt x="381" y="55"/>
                      <a:pt x="333" y="0"/>
                      <a:pt x="248" y="0"/>
                    </a:cubicBezTo>
                    <a:cubicBezTo>
                      <a:pt x="165" y="0"/>
                      <a:pt x="123" y="53"/>
                      <a:pt x="113" y="67"/>
                    </a:cubicBezTo>
                    <a:cubicBezTo>
                      <a:pt x="105" y="68"/>
                      <a:pt x="83" y="73"/>
                      <a:pt x="60" y="82"/>
                    </a:cubicBezTo>
                    <a:cubicBezTo>
                      <a:pt x="46" y="88"/>
                      <a:pt x="31" y="96"/>
                      <a:pt x="20" y="106"/>
                    </a:cubicBezTo>
                    <a:cubicBezTo>
                      <a:pt x="8" y="116"/>
                      <a:pt x="0" y="130"/>
                      <a:pt x="0" y="147"/>
                    </a:cubicBezTo>
                    <a:cubicBezTo>
                      <a:pt x="0" y="153"/>
                      <a:pt x="1" y="162"/>
                      <a:pt x="5" y="170"/>
                    </a:cubicBezTo>
                    <a:cubicBezTo>
                      <a:pt x="8" y="178"/>
                      <a:pt x="17" y="185"/>
                      <a:pt x="29" y="185"/>
                    </a:cubicBezTo>
                    <a:cubicBezTo>
                      <a:pt x="57" y="185"/>
                      <a:pt x="57" y="185"/>
                      <a:pt x="57" y="185"/>
                    </a:cubicBezTo>
                    <a:cubicBezTo>
                      <a:pt x="65" y="199"/>
                      <a:pt x="80" y="208"/>
                      <a:pt x="96" y="208"/>
                    </a:cubicBezTo>
                    <a:cubicBezTo>
                      <a:pt x="113" y="208"/>
                      <a:pt x="128" y="199"/>
                      <a:pt x="135" y="185"/>
                    </a:cubicBezTo>
                    <a:cubicBezTo>
                      <a:pt x="324" y="185"/>
                      <a:pt x="324" y="185"/>
                      <a:pt x="324" y="185"/>
                    </a:cubicBezTo>
                    <a:cubicBezTo>
                      <a:pt x="332" y="199"/>
                      <a:pt x="347" y="208"/>
                      <a:pt x="363" y="208"/>
                    </a:cubicBezTo>
                    <a:cubicBezTo>
                      <a:pt x="380" y="208"/>
                      <a:pt x="395" y="199"/>
                      <a:pt x="402" y="185"/>
                    </a:cubicBezTo>
                    <a:cubicBezTo>
                      <a:pt x="402" y="185"/>
                      <a:pt x="402" y="185"/>
                      <a:pt x="402" y="185"/>
                    </a:cubicBezTo>
                    <a:cubicBezTo>
                      <a:pt x="419" y="185"/>
                      <a:pt x="419" y="185"/>
                      <a:pt x="419" y="185"/>
                    </a:cubicBezTo>
                    <a:cubicBezTo>
                      <a:pt x="420" y="185"/>
                      <a:pt x="422" y="185"/>
                      <a:pt x="423" y="184"/>
                    </a:cubicBezTo>
                    <a:cubicBezTo>
                      <a:pt x="424" y="183"/>
                      <a:pt x="448" y="166"/>
                      <a:pt x="448" y="125"/>
                    </a:cubicBezTo>
                    <a:cubicBezTo>
                      <a:pt x="448" y="121"/>
                      <a:pt x="448" y="117"/>
                      <a:pt x="447" y="114"/>
                    </a:cubicBezTo>
                    <a:close/>
                    <a:moveTo>
                      <a:pt x="256" y="16"/>
                    </a:moveTo>
                    <a:cubicBezTo>
                      <a:pt x="296" y="18"/>
                      <a:pt x="326" y="32"/>
                      <a:pt x="346" y="47"/>
                    </a:cubicBezTo>
                    <a:cubicBezTo>
                      <a:pt x="356" y="54"/>
                      <a:pt x="363" y="60"/>
                      <a:pt x="368" y="66"/>
                    </a:cubicBezTo>
                    <a:cubicBezTo>
                      <a:pt x="256" y="66"/>
                      <a:pt x="256" y="66"/>
                      <a:pt x="256" y="66"/>
                    </a:cubicBezTo>
                    <a:lnTo>
                      <a:pt x="256" y="16"/>
                    </a:lnTo>
                    <a:close/>
                    <a:moveTo>
                      <a:pt x="240" y="16"/>
                    </a:moveTo>
                    <a:cubicBezTo>
                      <a:pt x="240" y="66"/>
                      <a:pt x="240" y="66"/>
                      <a:pt x="240" y="66"/>
                    </a:cubicBezTo>
                    <a:cubicBezTo>
                      <a:pt x="134" y="66"/>
                      <a:pt x="134" y="66"/>
                      <a:pt x="134" y="66"/>
                    </a:cubicBezTo>
                    <a:cubicBezTo>
                      <a:pt x="149" y="49"/>
                      <a:pt x="183" y="18"/>
                      <a:pt x="240" y="16"/>
                    </a:cubicBezTo>
                    <a:close/>
                    <a:moveTo>
                      <a:pt x="96" y="192"/>
                    </a:moveTo>
                    <a:cubicBezTo>
                      <a:pt x="80" y="192"/>
                      <a:pt x="68" y="179"/>
                      <a:pt x="68" y="163"/>
                    </a:cubicBezTo>
                    <a:cubicBezTo>
                      <a:pt x="68" y="148"/>
                      <a:pt x="80" y="135"/>
                      <a:pt x="96" y="135"/>
                    </a:cubicBezTo>
                    <a:cubicBezTo>
                      <a:pt x="112" y="135"/>
                      <a:pt x="125" y="148"/>
                      <a:pt x="125" y="163"/>
                    </a:cubicBezTo>
                    <a:cubicBezTo>
                      <a:pt x="125" y="179"/>
                      <a:pt x="112" y="192"/>
                      <a:pt x="96" y="192"/>
                    </a:cubicBezTo>
                    <a:close/>
                    <a:moveTo>
                      <a:pt x="363" y="192"/>
                    </a:moveTo>
                    <a:cubicBezTo>
                      <a:pt x="348" y="192"/>
                      <a:pt x="335" y="179"/>
                      <a:pt x="335" y="163"/>
                    </a:cubicBezTo>
                    <a:cubicBezTo>
                      <a:pt x="335" y="148"/>
                      <a:pt x="348" y="135"/>
                      <a:pt x="363" y="135"/>
                    </a:cubicBezTo>
                    <a:cubicBezTo>
                      <a:pt x="379" y="135"/>
                      <a:pt x="392" y="148"/>
                      <a:pt x="392" y="163"/>
                    </a:cubicBezTo>
                    <a:cubicBezTo>
                      <a:pt x="392" y="179"/>
                      <a:pt x="379" y="192"/>
                      <a:pt x="363" y="1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99" name="Freeform 3"/>
              <p:cNvSpPr>
                <a:spLocks noChangeAspect="1" noEditPoints="1"/>
              </p:cNvSpPr>
              <p:nvPr/>
            </p:nvSpPr>
            <p:spPr bwMode="auto">
              <a:xfrm>
                <a:off x="5877284" y="3671750"/>
                <a:ext cx="198561" cy="105776"/>
              </a:xfrm>
              <a:custGeom>
                <a:avLst/>
                <a:gdLst>
                  <a:gd name="T0" fmla="*/ 2147483647 w 502"/>
                  <a:gd name="T1" fmla="*/ 2147483647 h 273"/>
                  <a:gd name="T2" fmla="*/ 2147483647 w 502"/>
                  <a:gd name="T3" fmla="*/ 2147483647 h 273"/>
                  <a:gd name="T4" fmla="*/ 2147483647 w 502"/>
                  <a:gd name="T5" fmla="*/ 2147483647 h 273"/>
                  <a:gd name="T6" fmla="*/ 2147483647 w 502"/>
                  <a:gd name="T7" fmla="*/ 2147483647 h 273"/>
                  <a:gd name="T8" fmla="*/ 2147483647 w 502"/>
                  <a:gd name="T9" fmla="*/ 2147483647 h 273"/>
                  <a:gd name="T10" fmla="*/ 2147483647 w 502"/>
                  <a:gd name="T11" fmla="*/ 2147483647 h 273"/>
                  <a:gd name="T12" fmla="*/ 2147483647 w 502"/>
                  <a:gd name="T13" fmla="*/ 2147483647 h 273"/>
                  <a:gd name="T14" fmla="*/ 2147483647 w 502"/>
                  <a:gd name="T15" fmla="*/ 2147483647 h 273"/>
                  <a:gd name="T16" fmla="*/ 2147483647 w 502"/>
                  <a:gd name="T17" fmla="*/ 2147483647 h 273"/>
                  <a:gd name="T18" fmla="*/ 2147483647 w 502"/>
                  <a:gd name="T19" fmla="*/ 2147483647 h 273"/>
                  <a:gd name="T20" fmla="*/ 2147483647 w 502"/>
                  <a:gd name="T21" fmla="*/ 2147483647 h 273"/>
                  <a:gd name="T22" fmla="*/ 2147483647 w 502"/>
                  <a:gd name="T23" fmla="*/ 0 h 273"/>
                  <a:gd name="T24" fmla="*/ 2147483647 w 502"/>
                  <a:gd name="T25" fmla="*/ 2147483647 h 273"/>
                  <a:gd name="T26" fmla="*/ 2147483647 w 502"/>
                  <a:gd name="T27" fmla="*/ 2147483647 h 273"/>
                  <a:gd name="T28" fmla="*/ 0 w 502"/>
                  <a:gd name="T29" fmla="*/ 2147483647 h 273"/>
                  <a:gd name="T30" fmla="*/ 2147483647 w 502"/>
                  <a:gd name="T31" fmla="*/ 2147483647 h 273"/>
                  <a:gd name="T32" fmla="*/ 2147483647 w 502"/>
                  <a:gd name="T33" fmla="*/ 2147483647 h 273"/>
                  <a:gd name="T34" fmla="*/ 2147483647 w 502"/>
                  <a:gd name="T35" fmla="*/ 2147483647 h 273"/>
                  <a:gd name="T36" fmla="*/ 2147483647 w 502"/>
                  <a:gd name="T37" fmla="*/ 2147483647 h 273"/>
                  <a:gd name="T38" fmla="*/ 2147483647 w 502"/>
                  <a:gd name="T39" fmla="*/ 2147483647 h 273"/>
                  <a:gd name="T40" fmla="*/ 2147483647 w 502"/>
                  <a:gd name="T41" fmla="*/ 2147483647 h 273"/>
                  <a:gd name="T42" fmla="*/ 2147483647 w 502"/>
                  <a:gd name="T43" fmla="*/ 2147483647 h 273"/>
                  <a:gd name="T44" fmla="*/ 2147483647 w 502"/>
                  <a:gd name="T45" fmla="*/ 2147483647 h 273"/>
                  <a:gd name="T46" fmla="*/ 2147483647 w 502"/>
                  <a:gd name="T47" fmla="*/ 2147483647 h 273"/>
                  <a:gd name="T48" fmla="*/ 2147483647 w 502"/>
                  <a:gd name="T49" fmla="*/ 2147483647 h 273"/>
                  <a:gd name="T50" fmla="*/ 2147483647 w 502"/>
                  <a:gd name="T51" fmla="*/ 2147483647 h 273"/>
                  <a:gd name="T52" fmla="*/ 2147483647 w 502"/>
                  <a:gd name="T53" fmla="*/ 2147483647 h 273"/>
                  <a:gd name="T54" fmla="*/ 2147483647 w 502"/>
                  <a:gd name="T55" fmla="*/ 2147483647 h 273"/>
                  <a:gd name="T56" fmla="*/ 2147483647 w 502"/>
                  <a:gd name="T57" fmla="*/ 2147483647 h 273"/>
                  <a:gd name="T58" fmla="*/ 2147483647 w 502"/>
                  <a:gd name="T59" fmla="*/ 2147483647 h 273"/>
                  <a:gd name="T60" fmla="*/ 2147483647 w 502"/>
                  <a:gd name="T61" fmla="*/ 2147483647 h 273"/>
                  <a:gd name="T62" fmla="*/ 2147483647 w 502"/>
                  <a:gd name="T63" fmla="*/ 2147483647 h 273"/>
                  <a:gd name="T64" fmla="*/ 2147483647 w 502"/>
                  <a:gd name="T65" fmla="*/ 2147483647 h 273"/>
                  <a:gd name="T66" fmla="*/ 2147483647 w 502"/>
                  <a:gd name="T67" fmla="*/ 2147483647 h 273"/>
                  <a:gd name="T68" fmla="*/ 2147483647 w 502"/>
                  <a:gd name="T69" fmla="*/ 2147483647 h 273"/>
                  <a:gd name="T70" fmla="*/ 2147483647 w 502"/>
                  <a:gd name="T71" fmla="*/ 2147483647 h 273"/>
                  <a:gd name="T72" fmla="*/ 2147483647 w 502"/>
                  <a:gd name="T73" fmla="*/ 2147483647 h 273"/>
                  <a:gd name="T74" fmla="*/ 2147483647 w 502"/>
                  <a:gd name="T75" fmla="*/ 2147483647 h 273"/>
                  <a:gd name="T76" fmla="*/ 2147483647 w 502"/>
                  <a:gd name="T77" fmla="*/ 2147483647 h 273"/>
                  <a:gd name="T78" fmla="*/ 2147483647 w 502"/>
                  <a:gd name="T79" fmla="*/ 2147483647 h 273"/>
                  <a:gd name="T80" fmla="*/ 2147483647 w 502"/>
                  <a:gd name="T81" fmla="*/ 2147483647 h 273"/>
                  <a:gd name="T82" fmla="*/ 2147483647 w 502"/>
                  <a:gd name="T83" fmla="*/ 2147483647 h 273"/>
                  <a:gd name="T84" fmla="*/ 2147483647 w 502"/>
                  <a:gd name="T85" fmla="*/ 2147483647 h 27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02" h="273">
                    <a:moveTo>
                      <a:pt x="500" y="150"/>
                    </a:moveTo>
                    <a:cubicBezTo>
                      <a:pt x="498" y="148"/>
                      <a:pt x="496" y="147"/>
                      <a:pt x="494" y="147"/>
                    </a:cubicBezTo>
                    <a:cubicBezTo>
                      <a:pt x="480" y="147"/>
                      <a:pt x="480" y="147"/>
                      <a:pt x="480" y="147"/>
                    </a:cubicBezTo>
                    <a:cubicBezTo>
                      <a:pt x="480" y="91"/>
                      <a:pt x="480" y="91"/>
                      <a:pt x="480" y="91"/>
                    </a:cubicBezTo>
                    <a:cubicBezTo>
                      <a:pt x="480" y="87"/>
                      <a:pt x="477" y="83"/>
                      <a:pt x="472" y="83"/>
                    </a:cubicBezTo>
                    <a:cubicBezTo>
                      <a:pt x="468" y="83"/>
                      <a:pt x="464" y="87"/>
                      <a:pt x="464" y="91"/>
                    </a:cubicBezTo>
                    <a:cubicBezTo>
                      <a:pt x="464" y="147"/>
                      <a:pt x="464" y="147"/>
                      <a:pt x="464" y="147"/>
                    </a:cubicBezTo>
                    <a:cubicBezTo>
                      <a:pt x="352" y="147"/>
                      <a:pt x="352" y="147"/>
                      <a:pt x="352" y="147"/>
                    </a:cubicBezTo>
                    <a:cubicBezTo>
                      <a:pt x="352" y="88"/>
                      <a:pt x="352" y="88"/>
                      <a:pt x="352" y="88"/>
                    </a:cubicBezTo>
                    <a:cubicBezTo>
                      <a:pt x="418" y="88"/>
                      <a:pt x="418" y="88"/>
                      <a:pt x="418" y="88"/>
                    </a:cubicBezTo>
                    <a:cubicBezTo>
                      <a:pt x="420" y="88"/>
                      <a:pt x="422" y="87"/>
                      <a:pt x="423" y="86"/>
                    </a:cubicBezTo>
                    <a:cubicBezTo>
                      <a:pt x="425" y="84"/>
                      <a:pt x="426" y="82"/>
                      <a:pt x="426" y="80"/>
                    </a:cubicBezTo>
                    <a:cubicBezTo>
                      <a:pt x="426" y="39"/>
                      <a:pt x="426" y="39"/>
                      <a:pt x="426" y="39"/>
                    </a:cubicBezTo>
                    <a:cubicBezTo>
                      <a:pt x="464" y="39"/>
                      <a:pt x="464" y="39"/>
                      <a:pt x="464" y="39"/>
                    </a:cubicBezTo>
                    <a:cubicBezTo>
                      <a:pt x="464" y="60"/>
                      <a:pt x="464" y="60"/>
                      <a:pt x="464" y="60"/>
                    </a:cubicBezTo>
                    <a:cubicBezTo>
                      <a:pt x="464" y="64"/>
                      <a:pt x="468" y="68"/>
                      <a:pt x="472" y="68"/>
                    </a:cubicBezTo>
                    <a:cubicBezTo>
                      <a:pt x="477" y="68"/>
                      <a:pt x="480" y="64"/>
                      <a:pt x="480" y="60"/>
                    </a:cubicBezTo>
                    <a:cubicBezTo>
                      <a:pt x="480" y="39"/>
                      <a:pt x="480" y="39"/>
                      <a:pt x="480" y="39"/>
                    </a:cubicBezTo>
                    <a:cubicBezTo>
                      <a:pt x="480" y="39"/>
                      <a:pt x="480" y="39"/>
                      <a:pt x="480" y="39"/>
                    </a:cubicBezTo>
                    <a:cubicBezTo>
                      <a:pt x="480" y="37"/>
                      <a:pt x="480" y="37"/>
                      <a:pt x="480" y="37"/>
                    </a:cubicBezTo>
                    <a:cubicBezTo>
                      <a:pt x="480" y="37"/>
                      <a:pt x="480" y="37"/>
                      <a:pt x="480" y="37"/>
                    </a:cubicBezTo>
                    <a:cubicBezTo>
                      <a:pt x="480" y="36"/>
                      <a:pt x="480" y="36"/>
                      <a:pt x="480" y="36"/>
                    </a:cubicBezTo>
                    <a:cubicBezTo>
                      <a:pt x="480" y="35"/>
                      <a:pt x="480" y="33"/>
                      <a:pt x="479" y="32"/>
                    </a:cubicBezTo>
                    <a:cubicBezTo>
                      <a:pt x="477" y="27"/>
                      <a:pt x="472" y="23"/>
                      <a:pt x="466" y="23"/>
                    </a:cubicBezTo>
                    <a:cubicBezTo>
                      <a:pt x="424" y="23"/>
                      <a:pt x="424" y="23"/>
                      <a:pt x="424" y="23"/>
                    </a:cubicBezTo>
                    <a:cubicBezTo>
                      <a:pt x="416" y="23"/>
                      <a:pt x="410" y="29"/>
                      <a:pt x="410" y="37"/>
                    </a:cubicBezTo>
                    <a:cubicBezTo>
                      <a:pt x="410" y="72"/>
                      <a:pt x="410" y="72"/>
                      <a:pt x="410" y="72"/>
                    </a:cubicBezTo>
                    <a:cubicBezTo>
                      <a:pt x="352" y="72"/>
                      <a:pt x="352" y="72"/>
                      <a:pt x="352" y="72"/>
                    </a:cubicBezTo>
                    <a:cubicBezTo>
                      <a:pt x="343" y="72"/>
                      <a:pt x="336" y="79"/>
                      <a:pt x="336" y="88"/>
                    </a:cubicBezTo>
                    <a:cubicBezTo>
                      <a:pt x="336" y="147"/>
                      <a:pt x="336" y="147"/>
                      <a:pt x="336" y="147"/>
                    </a:cubicBezTo>
                    <a:cubicBezTo>
                      <a:pt x="296" y="147"/>
                      <a:pt x="296" y="147"/>
                      <a:pt x="296" y="147"/>
                    </a:cubicBezTo>
                    <a:cubicBezTo>
                      <a:pt x="296" y="65"/>
                      <a:pt x="296" y="65"/>
                      <a:pt x="296" y="65"/>
                    </a:cubicBezTo>
                    <a:cubicBezTo>
                      <a:pt x="296" y="56"/>
                      <a:pt x="289" y="49"/>
                      <a:pt x="280" y="49"/>
                    </a:cubicBezTo>
                    <a:cubicBezTo>
                      <a:pt x="247" y="49"/>
                      <a:pt x="247" y="49"/>
                      <a:pt x="247" y="49"/>
                    </a:cubicBezTo>
                    <a:cubicBezTo>
                      <a:pt x="247" y="16"/>
                      <a:pt x="247" y="16"/>
                      <a:pt x="247" y="16"/>
                    </a:cubicBezTo>
                    <a:cubicBezTo>
                      <a:pt x="247" y="7"/>
                      <a:pt x="240" y="0"/>
                      <a:pt x="231" y="0"/>
                    </a:cubicBezTo>
                    <a:cubicBezTo>
                      <a:pt x="100" y="0"/>
                      <a:pt x="100" y="0"/>
                      <a:pt x="100" y="0"/>
                    </a:cubicBezTo>
                    <a:cubicBezTo>
                      <a:pt x="91" y="0"/>
                      <a:pt x="84" y="7"/>
                      <a:pt x="84" y="16"/>
                    </a:cubicBezTo>
                    <a:cubicBezTo>
                      <a:pt x="84" y="49"/>
                      <a:pt x="84" y="49"/>
                      <a:pt x="84" y="49"/>
                    </a:cubicBezTo>
                    <a:cubicBezTo>
                      <a:pt x="51" y="49"/>
                      <a:pt x="51" y="49"/>
                      <a:pt x="51" y="49"/>
                    </a:cubicBezTo>
                    <a:cubicBezTo>
                      <a:pt x="42" y="49"/>
                      <a:pt x="35" y="56"/>
                      <a:pt x="35" y="65"/>
                    </a:cubicBezTo>
                    <a:cubicBezTo>
                      <a:pt x="35" y="147"/>
                      <a:pt x="35" y="147"/>
                      <a:pt x="35" y="147"/>
                    </a:cubicBezTo>
                    <a:cubicBezTo>
                      <a:pt x="8" y="147"/>
                      <a:pt x="8" y="147"/>
                      <a:pt x="8" y="147"/>
                    </a:cubicBezTo>
                    <a:cubicBezTo>
                      <a:pt x="6" y="147"/>
                      <a:pt x="4" y="148"/>
                      <a:pt x="3" y="150"/>
                    </a:cubicBezTo>
                    <a:cubicBezTo>
                      <a:pt x="1" y="151"/>
                      <a:pt x="0" y="153"/>
                      <a:pt x="0" y="156"/>
                    </a:cubicBezTo>
                    <a:cubicBezTo>
                      <a:pt x="0" y="190"/>
                      <a:pt x="13" y="220"/>
                      <a:pt x="30" y="240"/>
                    </a:cubicBezTo>
                    <a:cubicBezTo>
                      <a:pt x="47" y="261"/>
                      <a:pt x="67" y="273"/>
                      <a:pt x="84" y="273"/>
                    </a:cubicBezTo>
                    <a:cubicBezTo>
                      <a:pt x="424" y="273"/>
                      <a:pt x="424" y="273"/>
                      <a:pt x="424" y="273"/>
                    </a:cubicBezTo>
                    <a:cubicBezTo>
                      <a:pt x="432" y="273"/>
                      <a:pt x="440" y="270"/>
                      <a:pt x="448" y="264"/>
                    </a:cubicBezTo>
                    <a:cubicBezTo>
                      <a:pt x="456" y="258"/>
                      <a:pt x="465" y="250"/>
                      <a:pt x="473" y="239"/>
                    </a:cubicBezTo>
                    <a:cubicBezTo>
                      <a:pt x="489" y="219"/>
                      <a:pt x="502" y="190"/>
                      <a:pt x="502" y="156"/>
                    </a:cubicBezTo>
                    <a:cubicBezTo>
                      <a:pt x="502" y="153"/>
                      <a:pt x="501" y="151"/>
                      <a:pt x="500" y="150"/>
                    </a:cubicBezTo>
                    <a:close/>
                    <a:moveTo>
                      <a:pt x="247" y="65"/>
                    </a:moveTo>
                    <a:cubicBezTo>
                      <a:pt x="280" y="65"/>
                      <a:pt x="280" y="65"/>
                      <a:pt x="280" y="65"/>
                    </a:cubicBezTo>
                    <a:cubicBezTo>
                      <a:pt x="280" y="98"/>
                      <a:pt x="280" y="98"/>
                      <a:pt x="280" y="98"/>
                    </a:cubicBezTo>
                    <a:cubicBezTo>
                      <a:pt x="247" y="98"/>
                      <a:pt x="247" y="98"/>
                      <a:pt x="247" y="98"/>
                    </a:cubicBezTo>
                    <a:cubicBezTo>
                      <a:pt x="247" y="82"/>
                      <a:pt x="247" y="82"/>
                      <a:pt x="247" y="82"/>
                    </a:cubicBezTo>
                    <a:lnTo>
                      <a:pt x="247" y="65"/>
                    </a:lnTo>
                    <a:close/>
                    <a:moveTo>
                      <a:pt x="247" y="114"/>
                    </a:moveTo>
                    <a:cubicBezTo>
                      <a:pt x="280" y="114"/>
                      <a:pt x="280" y="114"/>
                      <a:pt x="280" y="114"/>
                    </a:cubicBezTo>
                    <a:cubicBezTo>
                      <a:pt x="280" y="147"/>
                      <a:pt x="280" y="147"/>
                      <a:pt x="280" y="147"/>
                    </a:cubicBezTo>
                    <a:cubicBezTo>
                      <a:pt x="247" y="147"/>
                      <a:pt x="247" y="147"/>
                      <a:pt x="247" y="147"/>
                    </a:cubicBezTo>
                    <a:cubicBezTo>
                      <a:pt x="247" y="131"/>
                      <a:pt x="247" y="131"/>
                      <a:pt x="247" y="131"/>
                    </a:cubicBezTo>
                    <a:lnTo>
                      <a:pt x="247" y="114"/>
                    </a:lnTo>
                    <a:close/>
                    <a:moveTo>
                      <a:pt x="198" y="16"/>
                    </a:moveTo>
                    <a:cubicBezTo>
                      <a:pt x="231" y="16"/>
                      <a:pt x="231" y="16"/>
                      <a:pt x="231" y="16"/>
                    </a:cubicBezTo>
                    <a:cubicBezTo>
                      <a:pt x="231" y="49"/>
                      <a:pt x="231" y="49"/>
                      <a:pt x="231" y="49"/>
                    </a:cubicBezTo>
                    <a:cubicBezTo>
                      <a:pt x="198" y="49"/>
                      <a:pt x="198" y="49"/>
                      <a:pt x="198" y="49"/>
                    </a:cubicBezTo>
                    <a:lnTo>
                      <a:pt x="198" y="16"/>
                    </a:lnTo>
                    <a:close/>
                    <a:moveTo>
                      <a:pt x="198" y="65"/>
                    </a:moveTo>
                    <a:cubicBezTo>
                      <a:pt x="231" y="65"/>
                      <a:pt x="231" y="65"/>
                      <a:pt x="231" y="65"/>
                    </a:cubicBezTo>
                    <a:cubicBezTo>
                      <a:pt x="231" y="98"/>
                      <a:pt x="231" y="98"/>
                      <a:pt x="231" y="98"/>
                    </a:cubicBezTo>
                    <a:cubicBezTo>
                      <a:pt x="198" y="98"/>
                      <a:pt x="198" y="98"/>
                      <a:pt x="198" y="98"/>
                    </a:cubicBezTo>
                    <a:lnTo>
                      <a:pt x="198" y="65"/>
                    </a:lnTo>
                    <a:close/>
                    <a:moveTo>
                      <a:pt x="198" y="114"/>
                    </a:moveTo>
                    <a:cubicBezTo>
                      <a:pt x="231" y="114"/>
                      <a:pt x="231" y="114"/>
                      <a:pt x="231" y="114"/>
                    </a:cubicBezTo>
                    <a:cubicBezTo>
                      <a:pt x="231" y="147"/>
                      <a:pt x="231" y="147"/>
                      <a:pt x="231" y="147"/>
                    </a:cubicBezTo>
                    <a:cubicBezTo>
                      <a:pt x="198" y="147"/>
                      <a:pt x="198" y="147"/>
                      <a:pt x="198" y="147"/>
                    </a:cubicBezTo>
                    <a:lnTo>
                      <a:pt x="198" y="114"/>
                    </a:lnTo>
                    <a:close/>
                    <a:moveTo>
                      <a:pt x="149" y="16"/>
                    </a:moveTo>
                    <a:cubicBezTo>
                      <a:pt x="182" y="16"/>
                      <a:pt x="182" y="16"/>
                      <a:pt x="182" y="16"/>
                    </a:cubicBezTo>
                    <a:cubicBezTo>
                      <a:pt x="182" y="49"/>
                      <a:pt x="182" y="49"/>
                      <a:pt x="182" y="49"/>
                    </a:cubicBezTo>
                    <a:cubicBezTo>
                      <a:pt x="149" y="49"/>
                      <a:pt x="149" y="49"/>
                      <a:pt x="149" y="49"/>
                    </a:cubicBezTo>
                    <a:lnTo>
                      <a:pt x="149" y="16"/>
                    </a:lnTo>
                    <a:close/>
                    <a:moveTo>
                      <a:pt x="149" y="65"/>
                    </a:moveTo>
                    <a:cubicBezTo>
                      <a:pt x="182" y="65"/>
                      <a:pt x="182" y="65"/>
                      <a:pt x="182" y="65"/>
                    </a:cubicBezTo>
                    <a:cubicBezTo>
                      <a:pt x="182" y="98"/>
                      <a:pt x="182" y="98"/>
                      <a:pt x="182" y="98"/>
                    </a:cubicBezTo>
                    <a:cubicBezTo>
                      <a:pt x="149" y="98"/>
                      <a:pt x="149" y="98"/>
                      <a:pt x="149" y="98"/>
                    </a:cubicBezTo>
                    <a:lnTo>
                      <a:pt x="149" y="65"/>
                    </a:lnTo>
                    <a:close/>
                    <a:moveTo>
                      <a:pt x="149" y="114"/>
                    </a:moveTo>
                    <a:cubicBezTo>
                      <a:pt x="182" y="114"/>
                      <a:pt x="182" y="114"/>
                      <a:pt x="182" y="114"/>
                    </a:cubicBezTo>
                    <a:cubicBezTo>
                      <a:pt x="182" y="147"/>
                      <a:pt x="182" y="147"/>
                      <a:pt x="182" y="147"/>
                    </a:cubicBezTo>
                    <a:cubicBezTo>
                      <a:pt x="149" y="147"/>
                      <a:pt x="149" y="147"/>
                      <a:pt x="149" y="147"/>
                    </a:cubicBezTo>
                    <a:lnTo>
                      <a:pt x="149" y="114"/>
                    </a:lnTo>
                    <a:close/>
                    <a:moveTo>
                      <a:pt x="133" y="16"/>
                    </a:moveTo>
                    <a:cubicBezTo>
                      <a:pt x="133" y="49"/>
                      <a:pt x="133" y="49"/>
                      <a:pt x="133" y="49"/>
                    </a:cubicBezTo>
                    <a:cubicBezTo>
                      <a:pt x="100" y="49"/>
                      <a:pt x="100" y="49"/>
                      <a:pt x="100" y="49"/>
                    </a:cubicBezTo>
                    <a:cubicBezTo>
                      <a:pt x="100" y="16"/>
                      <a:pt x="100" y="16"/>
                      <a:pt x="100" y="16"/>
                    </a:cubicBezTo>
                    <a:lnTo>
                      <a:pt x="133" y="16"/>
                    </a:lnTo>
                    <a:close/>
                    <a:moveTo>
                      <a:pt x="133" y="65"/>
                    </a:moveTo>
                    <a:cubicBezTo>
                      <a:pt x="133" y="98"/>
                      <a:pt x="133" y="98"/>
                      <a:pt x="133" y="98"/>
                    </a:cubicBezTo>
                    <a:cubicBezTo>
                      <a:pt x="100" y="98"/>
                      <a:pt x="100" y="98"/>
                      <a:pt x="100" y="98"/>
                    </a:cubicBezTo>
                    <a:cubicBezTo>
                      <a:pt x="100" y="79"/>
                      <a:pt x="100" y="79"/>
                      <a:pt x="100" y="79"/>
                    </a:cubicBezTo>
                    <a:cubicBezTo>
                      <a:pt x="100" y="65"/>
                      <a:pt x="100" y="65"/>
                      <a:pt x="100" y="65"/>
                    </a:cubicBezTo>
                    <a:lnTo>
                      <a:pt x="133" y="65"/>
                    </a:lnTo>
                    <a:close/>
                    <a:moveTo>
                      <a:pt x="133" y="114"/>
                    </a:moveTo>
                    <a:cubicBezTo>
                      <a:pt x="133" y="147"/>
                      <a:pt x="133" y="147"/>
                      <a:pt x="133" y="147"/>
                    </a:cubicBezTo>
                    <a:cubicBezTo>
                      <a:pt x="100" y="147"/>
                      <a:pt x="100" y="147"/>
                      <a:pt x="100" y="147"/>
                    </a:cubicBezTo>
                    <a:cubicBezTo>
                      <a:pt x="100" y="114"/>
                      <a:pt x="100" y="114"/>
                      <a:pt x="100" y="114"/>
                    </a:cubicBezTo>
                    <a:lnTo>
                      <a:pt x="133" y="114"/>
                    </a:lnTo>
                    <a:close/>
                    <a:moveTo>
                      <a:pt x="84" y="65"/>
                    </a:moveTo>
                    <a:cubicBezTo>
                      <a:pt x="84" y="98"/>
                      <a:pt x="84" y="98"/>
                      <a:pt x="84" y="98"/>
                    </a:cubicBezTo>
                    <a:cubicBezTo>
                      <a:pt x="51" y="98"/>
                      <a:pt x="51" y="98"/>
                      <a:pt x="51" y="98"/>
                    </a:cubicBezTo>
                    <a:cubicBezTo>
                      <a:pt x="51" y="65"/>
                      <a:pt x="51" y="65"/>
                      <a:pt x="51" y="65"/>
                    </a:cubicBezTo>
                    <a:lnTo>
                      <a:pt x="84" y="65"/>
                    </a:lnTo>
                    <a:close/>
                    <a:moveTo>
                      <a:pt x="84" y="114"/>
                    </a:moveTo>
                    <a:cubicBezTo>
                      <a:pt x="84" y="147"/>
                      <a:pt x="84" y="147"/>
                      <a:pt x="84" y="147"/>
                    </a:cubicBezTo>
                    <a:cubicBezTo>
                      <a:pt x="51" y="147"/>
                      <a:pt x="51" y="147"/>
                      <a:pt x="51" y="147"/>
                    </a:cubicBezTo>
                    <a:cubicBezTo>
                      <a:pt x="51" y="114"/>
                      <a:pt x="51" y="114"/>
                      <a:pt x="51" y="114"/>
                    </a:cubicBezTo>
                    <a:lnTo>
                      <a:pt x="84" y="114"/>
                    </a:lnTo>
                    <a:close/>
                    <a:moveTo>
                      <a:pt x="439" y="251"/>
                    </a:moveTo>
                    <a:cubicBezTo>
                      <a:pt x="432" y="255"/>
                      <a:pt x="426" y="258"/>
                      <a:pt x="424" y="257"/>
                    </a:cubicBezTo>
                    <a:cubicBezTo>
                      <a:pt x="84" y="257"/>
                      <a:pt x="84" y="257"/>
                      <a:pt x="84" y="257"/>
                    </a:cubicBezTo>
                    <a:cubicBezTo>
                      <a:pt x="75" y="258"/>
                      <a:pt x="57" y="248"/>
                      <a:pt x="43" y="230"/>
                    </a:cubicBezTo>
                    <a:cubicBezTo>
                      <a:pt x="29" y="214"/>
                      <a:pt x="18" y="191"/>
                      <a:pt x="16" y="164"/>
                    </a:cubicBezTo>
                    <a:cubicBezTo>
                      <a:pt x="198" y="164"/>
                      <a:pt x="198" y="164"/>
                      <a:pt x="198" y="164"/>
                    </a:cubicBezTo>
                    <a:cubicBezTo>
                      <a:pt x="198" y="164"/>
                      <a:pt x="198" y="164"/>
                      <a:pt x="198" y="164"/>
                    </a:cubicBezTo>
                    <a:cubicBezTo>
                      <a:pt x="206" y="164"/>
                      <a:pt x="206" y="164"/>
                      <a:pt x="206" y="164"/>
                    </a:cubicBezTo>
                    <a:cubicBezTo>
                      <a:pt x="486" y="164"/>
                      <a:pt x="486" y="164"/>
                      <a:pt x="486" y="164"/>
                    </a:cubicBezTo>
                    <a:cubicBezTo>
                      <a:pt x="483" y="204"/>
                      <a:pt x="458" y="237"/>
                      <a:pt x="439"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00" name="Freeform 3"/>
              <p:cNvSpPr>
                <a:spLocks noChangeAspect="1" noEditPoints="1"/>
              </p:cNvSpPr>
              <p:nvPr/>
            </p:nvSpPr>
            <p:spPr bwMode="auto">
              <a:xfrm>
                <a:off x="4476155" y="3245319"/>
                <a:ext cx="190015" cy="110859"/>
              </a:xfrm>
              <a:custGeom>
                <a:avLst/>
                <a:gdLst>
                  <a:gd name="T0" fmla="*/ 2147483647 w 480"/>
                  <a:gd name="T1" fmla="*/ 2147483647 h 286"/>
                  <a:gd name="T2" fmla="*/ 2147483647 w 480"/>
                  <a:gd name="T3" fmla="*/ 2147483647 h 286"/>
                  <a:gd name="T4" fmla="*/ 2147483647 w 480"/>
                  <a:gd name="T5" fmla="*/ 2147483647 h 286"/>
                  <a:gd name="T6" fmla="*/ 2147483647 w 480"/>
                  <a:gd name="T7" fmla="*/ 2147483647 h 286"/>
                  <a:gd name="T8" fmla="*/ 2147483647 w 480"/>
                  <a:gd name="T9" fmla="*/ 2147483647 h 286"/>
                  <a:gd name="T10" fmla="*/ 2147483647 w 480"/>
                  <a:gd name="T11" fmla="*/ 2147483647 h 286"/>
                  <a:gd name="T12" fmla="*/ 2147483647 w 480"/>
                  <a:gd name="T13" fmla="*/ 2147483647 h 286"/>
                  <a:gd name="T14" fmla="*/ 2147483647 w 480"/>
                  <a:gd name="T15" fmla="*/ 2147483647 h 286"/>
                  <a:gd name="T16" fmla="*/ 2147483647 w 480"/>
                  <a:gd name="T17" fmla="*/ 2147483647 h 286"/>
                  <a:gd name="T18" fmla="*/ 2147483647 w 480"/>
                  <a:gd name="T19" fmla="*/ 2147483647 h 286"/>
                  <a:gd name="T20" fmla="*/ 2147483647 w 480"/>
                  <a:gd name="T21" fmla="*/ 2147483647 h 286"/>
                  <a:gd name="T22" fmla="*/ 2147483647 w 480"/>
                  <a:gd name="T23" fmla="*/ 2147483647 h 286"/>
                  <a:gd name="T24" fmla="*/ 2147483647 w 480"/>
                  <a:gd name="T25" fmla="*/ 2147483647 h 286"/>
                  <a:gd name="T26" fmla="*/ 2147483647 w 480"/>
                  <a:gd name="T27" fmla="*/ 2147483647 h 286"/>
                  <a:gd name="T28" fmla="*/ 2147483647 w 480"/>
                  <a:gd name="T29" fmla="*/ 2147483647 h 286"/>
                  <a:gd name="T30" fmla="*/ 2147483647 w 480"/>
                  <a:gd name="T31" fmla="*/ 2147483647 h 286"/>
                  <a:gd name="T32" fmla="*/ 2147483647 w 480"/>
                  <a:gd name="T33" fmla="*/ 2147483647 h 286"/>
                  <a:gd name="T34" fmla="*/ 0 w 480"/>
                  <a:gd name="T35" fmla="*/ 2147483647 h 286"/>
                  <a:gd name="T36" fmla="*/ 2147483647 w 480"/>
                  <a:gd name="T37" fmla="*/ 2147483647 h 286"/>
                  <a:gd name="T38" fmla="*/ 2147483647 w 480"/>
                  <a:gd name="T39" fmla="*/ 2147483647 h 286"/>
                  <a:gd name="T40" fmla="*/ 2147483647 w 480"/>
                  <a:gd name="T41" fmla="*/ 2147483647 h 286"/>
                  <a:gd name="T42" fmla="*/ 2147483647 w 480"/>
                  <a:gd name="T43" fmla="*/ 2147483647 h 286"/>
                  <a:gd name="T44" fmla="*/ 2147483647 w 480"/>
                  <a:gd name="T45" fmla="*/ 2147483647 h 286"/>
                  <a:gd name="T46" fmla="*/ 2147483647 w 480"/>
                  <a:gd name="T47" fmla="*/ 2147483647 h 286"/>
                  <a:gd name="T48" fmla="*/ 2147483647 w 480"/>
                  <a:gd name="T49" fmla="*/ 2147483647 h 286"/>
                  <a:gd name="T50" fmla="*/ 2147483647 w 480"/>
                  <a:gd name="T51" fmla="*/ 2147483647 h 286"/>
                  <a:gd name="T52" fmla="*/ 2147483647 w 480"/>
                  <a:gd name="T53" fmla="*/ 2147483647 h 286"/>
                  <a:gd name="T54" fmla="*/ 2147483647 w 480"/>
                  <a:gd name="T55" fmla="*/ 2147483647 h 286"/>
                  <a:gd name="T56" fmla="*/ 2147483647 w 480"/>
                  <a:gd name="T57" fmla="*/ 2147483647 h 286"/>
                  <a:gd name="T58" fmla="*/ 2147483647 w 480"/>
                  <a:gd name="T59" fmla="*/ 2147483647 h 286"/>
                  <a:gd name="T60" fmla="*/ 2147483647 w 480"/>
                  <a:gd name="T61" fmla="*/ 2147483647 h 286"/>
                  <a:gd name="T62" fmla="*/ 2147483647 w 480"/>
                  <a:gd name="T63" fmla="*/ 2147483647 h 286"/>
                  <a:gd name="T64" fmla="*/ 2147483647 w 480"/>
                  <a:gd name="T65" fmla="*/ 2147483647 h 286"/>
                  <a:gd name="T66" fmla="*/ 2147483647 w 480"/>
                  <a:gd name="T67" fmla="*/ 2147483647 h 286"/>
                  <a:gd name="T68" fmla="*/ 2147483647 w 480"/>
                  <a:gd name="T69" fmla="*/ 2147483647 h 286"/>
                  <a:gd name="T70" fmla="*/ 2147483647 w 480"/>
                  <a:gd name="T71" fmla="*/ 2147483647 h 286"/>
                  <a:gd name="T72" fmla="*/ 2147483647 w 480"/>
                  <a:gd name="T73" fmla="*/ 2147483647 h 286"/>
                  <a:gd name="T74" fmla="*/ 2147483647 w 480"/>
                  <a:gd name="T75" fmla="*/ 2147483647 h 286"/>
                  <a:gd name="T76" fmla="*/ 2147483647 w 480"/>
                  <a:gd name="T77" fmla="*/ 2147483647 h 286"/>
                  <a:gd name="T78" fmla="*/ 2147483647 w 480"/>
                  <a:gd name="T79" fmla="*/ 2147483647 h 286"/>
                  <a:gd name="T80" fmla="*/ 2147483647 w 480"/>
                  <a:gd name="T81" fmla="*/ 2147483647 h 286"/>
                  <a:gd name="T82" fmla="*/ 2147483647 w 480"/>
                  <a:gd name="T83" fmla="*/ 2147483647 h 286"/>
                  <a:gd name="T84" fmla="*/ 2147483647 w 480"/>
                  <a:gd name="T85" fmla="*/ 2147483647 h 286"/>
                  <a:gd name="T86" fmla="*/ 2147483647 w 480"/>
                  <a:gd name="T87" fmla="*/ 2147483647 h 286"/>
                  <a:gd name="T88" fmla="*/ 2147483647 w 480"/>
                  <a:gd name="T89" fmla="*/ 2147483647 h 286"/>
                  <a:gd name="T90" fmla="*/ 2147483647 w 480"/>
                  <a:gd name="T91" fmla="*/ 2147483647 h 286"/>
                  <a:gd name="T92" fmla="*/ 2147483647 w 480"/>
                  <a:gd name="T93" fmla="*/ 2147483647 h 286"/>
                  <a:gd name="T94" fmla="*/ 2147483647 w 480"/>
                  <a:gd name="T95" fmla="*/ 2147483647 h 286"/>
                  <a:gd name="T96" fmla="*/ 2147483647 w 480"/>
                  <a:gd name="T97" fmla="*/ 2147483647 h 286"/>
                  <a:gd name="T98" fmla="*/ 2147483647 w 480"/>
                  <a:gd name="T99" fmla="*/ 2147483647 h 286"/>
                  <a:gd name="T100" fmla="*/ 2147483647 w 480"/>
                  <a:gd name="T101" fmla="*/ 2147483647 h 28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480" h="286">
                    <a:moveTo>
                      <a:pt x="396" y="179"/>
                    </a:moveTo>
                    <a:cubicBezTo>
                      <a:pt x="393" y="179"/>
                      <a:pt x="390" y="181"/>
                      <a:pt x="390" y="185"/>
                    </a:cubicBezTo>
                    <a:cubicBezTo>
                      <a:pt x="390" y="214"/>
                      <a:pt x="390" y="214"/>
                      <a:pt x="390" y="214"/>
                    </a:cubicBezTo>
                    <a:cubicBezTo>
                      <a:pt x="390" y="217"/>
                      <a:pt x="393" y="220"/>
                      <a:pt x="396" y="220"/>
                    </a:cubicBezTo>
                    <a:cubicBezTo>
                      <a:pt x="425" y="220"/>
                      <a:pt x="425" y="220"/>
                      <a:pt x="425" y="220"/>
                    </a:cubicBezTo>
                    <a:cubicBezTo>
                      <a:pt x="429" y="220"/>
                      <a:pt x="431" y="217"/>
                      <a:pt x="431" y="214"/>
                    </a:cubicBezTo>
                    <a:cubicBezTo>
                      <a:pt x="431" y="185"/>
                      <a:pt x="431" y="185"/>
                      <a:pt x="431" y="185"/>
                    </a:cubicBezTo>
                    <a:cubicBezTo>
                      <a:pt x="431" y="181"/>
                      <a:pt x="429" y="179"/>
                      <a:pt x="425" y="179"/>
                    </a:cubicBezTo>
                    <a:lnTo>
                      <a:pt x="396" y="179"/>
                    </a:lnTo>
                    <a:close/>
                    <a:moveTo>
                      <a:pt x="339" y="179"/>
                    </a:moveTo>
                    <a:cubicBezTo>
                      <a:pt x="336" y="179"/>
                      <a:pt x="333" y="181"/>
                      <a:pt x="333" y="185"/>
                    </a:cubicBezTo>
                    <a:cubicBezTo>
                      <a:pt x="333" y="214"/>
                      <a:pt x="333" y="214"/>
                      <a:pt x="333" y="214"/>
                    </a:cubicBezTo>
                    <a:cubicBezTo>
                      <a:pt x="333" y="217"/>
                      <a:pt x="336" y="220"/>
                      <a:pt x="339" y="220"/>
                    </a:cubicBezTo>
                    <a:cubicBezTo>
                      <a:pt x="369" y="220"/>
                      <a:pt x="369" y="220"/>
                      <a:pt x="369" y="220"/>
                    </a:cubicBezTo>
                    <a:cubicBezTo>
                      <a:pt x="372" y="220"/>
                      <a:pt x="374" y="217"/>
                      <a:pt x="374" y="214"/>
                    </a:cubicBezTo>
                    <a:cubicBezTo>
                      <a:pt x="374" y="185"/>
                      <a:pt x="374" y="185"/>
                      <a:pt x="374" y="185"/>
                    </a:cubicBezTo>
                    <a:cubicBezTo>
                      <a:pt x="374" y="181"/>
                      <a:pt x="372" y="179"/>
                      <a:pt x="369" y="179"/>
                    </a:cubicBezTo>
                    <a:lnTo>
                      <a:pt x="339" y="179"/>
                    </a:lnTo>
                    <a:close/>
                    <a:moveTo>
                      <a:pt x="472" y="152"/>
                    </a:moveTo>
                    <a:cubicBezTo>
                      <a:pt x="477" y="152"/>
                      <a:pt x="480" y="148"/>
                      <a:pt x="480" y="144"/>
                    </a:cubicBezTo>
                    <a:cubicBezTo>
                      <a:pt x="480" y="95"/>
                      <a:pt x="480" y="95"/>
                      <a:pt x="480" y="95"/>
                    </a:cubicBezTo>
                    <a:cubicBezTo>
                      <a:pt x="480" y="84"/>
                      <a:pt x="472" y="80"/>
                      <a:pt x="471" y="79"/>
                    </a:cubicBezTo>
                    <a:cubicBezTo>
                      <a:pt x="329" y="2"/>
                      <a:pt x="329" y="2"/>
                      <a:pt x="329" y="2"/>
                    </a:cubicBezTo>
                    <a:cubicBezTo>
                      <a:pt x="328" y="2"/>
                      <a:pt x="327" y="1"/>
                      <a:pt x="325" y="1"/>
                    </a:cubicBezTo>
                    <a:cubicBezTo>
                      <a:pt x="324" y="1"/>
                      <a:pt x="319" y="1"/>
                      <a:pt x="315" y="5"/>
                    </a:cubicBezTo>
                    <a:cubicBezTo>
                      <a:pt x="313" y="7"/>
                      <a:pt x="311" y="10"/>
                      <a:pt x="311" y="14"/>
                    </a:cubicBezTo>
                    <a:cubicBezTo>
                      <a:pt x="311" y="74"/>
                      <a:pt x="311" y="74"/>
                      <a:pt x="311" y="74"/>
                    </a:cubicBezTo>
                    <a:cubicBezTo>
                      <a:pt x="173" y="2"/>
                      <a:pt x="173" y="2"/>
                      <a:pt x="173" y="2"/>
                    </a:cubicBezTo>
                    <a:cubicBezTo>
                      <a:pt x="172" y="2"/>
                      <a:pt x="171" y="2"/>
                      <a:pt x="171" y="2"/>
                    </a:cubicBezTo>
                    <a:cubicBezTo>
                      <a:pt x="169" y="1"/>
                      <a:pt x="164" y="0"/>
                      <a:pt x="159" y="4"/>
                    </a:cubicBezTo>
                    <a:cubicBezTo>
                      <a:pt x="157" y="6"/>
                      <a:pt x="155" y="10"/>
                      <a:pt x="155" y="14"/>
                    </a:cubicBezTo>
                    <a:cubicBezTo>
                      <a:pt x="155" y="74"/>
                      <a:pt x="155" y="74"/>
                      <a:pt x="155" y="74"/>
                    </a:cubicBezTo>
                    <a:cubicBezTo>
                      <a:pt x="18" y="2"/>
                      <a:pt x="18" y="2"/>
                      <a:pt x="18" y="2"/>
                    </a:cubicBezTo>
                    <a:cubicBezTo>
                      <a:pt x="17" y="2"/>
                      <a:pt x="17" y="2"/>
                      <a:pt x="16" y="2"/>
                    </a:cubicBezTo>
                    <a:cubicBezTo>
                      <a:pt x="15" y="1"/>
                      <a:pt x="9" y="0"/>
                      <a:pt x="5" y="4"/>
                    </a:cubicBezTo>
                    <a:cubicBezTo>
                      <a:pt x="2" y="6"/>
                      <a:pt x="0" y="10"/>
                      <a:pt x="0" y="14"/>
                    </a:cubicBezTo>
                    <a:cubicBezTo>
                      <a:pt x="0" y="273"/>
                      <a:pt x="0" y="273"/>
                      <a:pt x="0" y="273"/>
                    </a:cubicBezTo>
                    <a:cubicBezTo>
                      <a:pt x="0" y="281"/>
                      <a:pt x="6" y="286"/>
                      <a:pt x="13" y="286"/>
                    </a:cubicBezTo>
                    <a:cubicBezTo>
                      <a:pt x="467" y="286"/>
                      <a:pt x="467" y="286"/>
                      <a:pt x="467" y="286"/>
                    </a:cubicBezTo>
                    <a:cubicBezTo>
                      <a:pt x="474" y="286"/>
                      <a:pt x="480" y="281"/>
                      <a:pt x="480" y="273"/>
                    </a:cubicBezTo>
                    <a:cubicBezTo>
                      <a:pt x="480" y="176"/>
                      <a:pt x="480" y="176"/>
                      <a:pt x="480" y="176"/>
                    </a:cubicBezTo>
                    <a:cubicBezTo>
                      <a:pt x="480" y="171"/>
                      <a:pt x="477" y="168"/>
                      <a:pt x="472" y="168"/>
                    </a:cubicBezTo>
                    <a:cubicBezTo>
                      <a:pt x="468" y="168"/>
                      <a:pt x="464" y="171"/>
                      <a:pt x="464" y="176"/>
                    </a:cubicBezTo>
                    <a:cubicBezTo>
                      <a:pt x="464" y="270"/>
                      <a:pt x="464" y="270"/>
                      <a:pt x="464" y="270"/>
                    </a:cubicBezTo>
                    <a:cubicBezTo>
                      <a:pt x="16" y="270"/>
                      <a:pt x="16" y="270"/>
                      <a:pt x="16" y="270"/>
                    </a:cubicBezTo>
                    <a:cubicBezTo>
                      <a:pt x="16" y="20"/>
                      <a:pt x="16" y="20"/>
                      <a:pt x="16" y="20"/>
                    </a:cubicBezTo>
                    <a:cubicBezTo>
                      <a:pt x="159" y="94"/>
                      <a:pt x="159" y="94"/>
                      <a:pt x="159" y="94"/>
                    </a:cubicBezTo>
                    <a:cubicBezTo>
                      <a:pt x="162" y="95"/>
                      <a:pt x="165" y="95"/>
                      <a:pt x="167" y="94"/>
                    </a:cubicBezTo>
                    <a:cubicBezTo>
                      <a:pt x="170" y="92"/>
                      <a:pt x="171" y="90"/>
                      <a:pt x="171" y="87"/>
                    </a:cubicBezTo>
                    <a:cubicBezTo>
                      <a:pt x="171" y="19"/>
                      <a:pt x="171" y="19"/>
                      <a:pt x="171" y="19"/>
                    </a:cubicBezTo>
                    <a:cubicBezTo>
                      <a:pt x="316" y="94"/>
                      <a:pt x="316" y="94"/>
                      <a:pt x="316" y="94"/>
                    </a:cubicBezTo>
                    <a:cubicBezTo>
                      <a:pt x="318" y="95"/>
                      <a:pt x="321" y="95"/>
                      <a:pt x="323" y="94"/>
                    </a:cubicBezTo>
                    <a:cubicBezTo>
                      <a:pt x="326" y="92"/>
                      <a:pt x="327" y="90"/>
                      <a:pt x="327" y="87"/>
                    </a:cubicBezTo>
                    <a:cubicBezTo>
                      <a:pt x="327" y="20"/>
                      <a:pt x="327" y="20"/>
                      <a:pt x="327" y="20"/>
                    </a:cubicBezTo>
                    <a:cubicBezTo>
                      <a:pt x="463" y="93"/>
                      <a:pt x="463" y="93"/>
                      <a:pt x="463" y="93"/>
                    </a:cubicBezTo>
                    <a:cubicBezTo>
                      <a:pt x="463" y="93"/>
                      <a:pt x="464" y="94"/>
                      <a:pt x="464" y="95"/>
                    </a:cubicBezTo>
                    <a:cubicBezTo>
                      <a:pt x="464" y="144"/>
                      <a:pt x="464" y="144"/>
                      <a:pt x="464" y="144"/>
                    </a:cubicBezTo>
                    <a:cubicBezTo>
                      <a:pt x="464" y="148"/>
                      <a:pt x="468" y="152"/>
                      <a:pt x="472" y="152"/>
                    </a:cubicBezTo>
                    <a:close/>
                    <a:moveTo>
                      <a:pt x="282" y="179"/>
                    </a:moveTo>
                    <a:cubicBezTo>
                      <a:pt x="279" y="179"/>
                      <a:pt x="276" y="181"/>
                      <a:pt x="276" y="185"/>
                    </a:cubicBezTo>
                    <a:cubicBezTo>
                      <a:pt x="276" y="214"/>
                      <a:pt x="276" y="214"/>
                      <a:pt x="276" y="214"/>
                    </a:cubicBezTo>
                    <a:cubicBezTo>
                      <a:pt x="276" y="217"/>
                      <a:pt x="279" y="220"/>
                      <a:pt x="282" y="220"/>
                    </a:cubicBezTo>
                    <a:cubicBezTo>
                      <a:pt x="312" y="220"/>
                      <a:pt x="312" y="220"/>
                      <a:pt x="312" y="220"/>
                    </a:cubicBezTo>
                    <a:cubicBezTo>
                      <a:pt x="315" y="220"/>
                      <a:pt x="318" y="217"/>
                      <a:pt x="318" y="214"/>
                    </a:cubicBezTo>
                    <a:cubicBezTo>
                      <a:pt x="318" y="185"/>
                      <a:pt x="318" y="185"/>
                      <a:pt x="318" y="185"/>
                    </a:cubicBezTo>
                    <a:cubicBezTo>
                      <a:pt x="318" y="181"/>
                      <a:pt x="315" y="179"/>
                      <a:pt x="312" y="179"/>
                    </a:cubicBezTo>
                    <a:lnTo>
                      <a:pt x="282" y="179"/>
                    </a:lnTo>
                    <a:close/>
                    <a:moveTo>
                      <a:pt x="226" y="179"/>
                    </a:moveTo>
                    <a:cubicBezTo>
                      <a:pt x="222" y="179"/>
                      <a:pt x="220" y="181"/>
                      <a:pt x="220" y="185"/>
                    </a:cubicBezTo>
                    <a:cubicBezTo>
                      <a:pt x="220" y="214"/>
                      <a:pt x="220" y="214"/>
                      <a:pt x="220" y="214"/>
                    </a:cubicBezTo>
                    <a:cubicBezTo>
                      <a:pt x="220" y="217"/>
                      <a:pt x="222" y="220"/>
                      <a:pt x="226" y="220"/>
                    </a:cubicBezTo>
                    <a:cubicBezTo>
                      <a:pt x="255" y="220"/>
                      <a:pt x="255" y="220"/>
                      <a:pt x="255" y="220"/>
                    </a:cubicBezTo>
                    <a:cubicBezTo>
                      <a:pt x="258" y="220"/>
                      <a:pt x="261" y="217"/>
                      <a:pt x="261" y="214"/>
                    </a:cubicBezTo>
                    <a:cubicBezTo>
                      <a:pt x="261" y="185"/>
                      <a:pt x="261" y="185"/>
                      <a:pt x="261" y="185"/>
                    </a:cubicBezTo>
                    <a:cubicBezTo>
                      <a:pt x="261" y="181"/>
                      <a:pt x="258" y="179"/>
                      <a:pt x="255" y="179"/>
                    </a:cubicBezTo>
                    <a:lnTo>
                      <a:pt x="226" y="179"/>
                    </a:lnTo>
                    <a:close/>
                    <a:moveTo>
                      <a:pt x="112" y="179"/>
                    </a:moveTo>
                    <a:cubicBezTo>
                      <a:pt x="109" y="179"/>
                      <a:pt x="106" y="181"/>
                      <a:pt x="106" y="185"/>
                    </a:cubicBezTo>
                    <a:cubicBezTo>
                      <a:pt x="106" y="214"/>
                      <a:pt x="106" y="214"/>
                      <a:pt x="106" y="214"/>
                    </a:cubicBezTo>
                    <a:cubicBezTo>
                      <a:pt x="106" y="217"/>
                      <a:pt x="109" y="220"/>
                      <a:pt x="112" y="220"/>
                    </a:cubicBezTo>
                    <a:cubicBezTo>
                      <a:pt x="142" y="220"/>
                      <a:pt x="142" y="220"/>
                      <a:pt x="142" y="220"/>
                    </a:cubicBezTo>
                    <a:cubicBezTo>
                      <a:pt x="145" y="220"/>
                      <a:pt x="147" y="217"/>
                      <a:pt x="147" y="214"/>
                    </a:cubicBezTo>
                    <a:cubicBezTo>
                      <a:pt x="147" y="185"/>
                      <a:pt x="147" y="185"/>
                      <a:pt x="147" y="185"/>
                    </a:cubicBezTo>
                    <a:cubicBezTo>
                      <a:pt x="147" y="181"/>
                      <a:pt x="145" y="179"/>
                      <a:pt x="142" y="179"/>
                    </a:cubicBezTo>
                    <a:lnTo>
                      <a:pt x="112" y="179"/>
                    </a:lnTo>
                    <a:close/>
                    <a:moveTo>
                      <a:pt x="55" y="179"/>
                    </a:moveTo>
                    <a:cubicBezTo>
                      <a:pt x="52" y="179"/>
                      <a:pt x="49" y="181"/>
                      <a:pt x="49" y="185"/>
                    </a:cubicBezTo>
                    <a:cubicBezTo>
                      <a:pt x="49" y="214"/>
                      <a:pt x="49" y="214"/>
                      <a:pt x="49" y="214"/>
                    </a:cubicBezTo>
                    <a:cubicBezTo>
                      <a:pt x="49" y="217"/>
                      <a:pt x="52" y="220"/>
                      <a:pt x="55" y="220"/>
                    </a:cubicBezTo>
                    <a:cubicBezTo>
                      <a:pt x="85" y="220"/>
                      <a:pt x="85" y="220"/>
                      <a:pt x="85" y="220"/>
                    </a:cubicBezTo>
                    <a:cubicBezTo>
                      <a:pt x="88" y="220"/>
                      <a:pt x="91" y="217"/>
                      <a:pt x="91" y="214"/>
                    </a:cubicBezTo>
                    <a:cubicBezTo>
                      <a:pt x="91" y="185"/>
                      <a:pt x="91" y="185"/>
                      <a:pt x="91" y="185"/>
                    </a:cubicBezTo>
                    <a:cubicBezTo>
                      <a:pt x="91" y="181"/>
                      <a:pt x="88" y="179"/>
                      <a:pt x="85" y="179"/>
                    </a:cubicBezTo>
                    <a:lnTo>
                      <a:pt x="55" y="179"/>
                    </a:lnTo>
                    <a:close/>
                    <a:moveTo>
                      <a:pt x="169" y="179"/>
                    </a:moveTo>
                    <a:cubicBezTo>
                      <a:pt x="166" y="179"/>
                      <a:pt x="163" y="181"/>
                      <a:pt x="163" y="185"/>
                    </a:cubicBezTo>
                    <a:cubicBezTo>
                      <a:pt x="163" y="214"/>
                      <a:pt x="163" y="214"/>
                      <a:pt x="163" y="214"/>
                    </a:cubicBezTo>
                    <a:cubicBezTo>
                      <a:pt x="163" y="217"/>
                      <a:pt x="166" y="220"/>
                      <a:pt x="169" y="220"/>
                    </a:cubicBezTo>
                    <a:cubicBezTo>
                      <a:pt x="198" y="220"/>
                      <a:pt x="198" y="220"/>
                      <a:pt x="198" y="220"/>
                    </a:cubicBezTo>
                    <a:cubicBezTo>
                      <a:pt x="202" y="220"/>
                      <a:pt x="204" y="217"/>
                      <a:pt x="204" y="214"/>
                    </a:cubicBezTo>
                    <a:cubicBezTo>
                      <a:pt x="204" y="185"/>
                      <a:pt x="204" y="185"/>
                      <a:pt x="204" y="185"/>
                    </a:cubicBezTo>
                    <a:cubicBezTo>
                      <a:pt x="204" y="181"/>
                      <a:pt x="202" y="179"/>
                      <a:pt x="198" y="179"/>
                    </a:cubicBezTo>
                    <a:lnTo>
                      <a:pt x="169" y="1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01" name="Freeform 3"/>
              <p:cNvSpPr>
                <a:spLocks noChangeAspect="1" noEditPoints="1"/>
              </p:cNvSpPr>
              <p:nvPr/>
            </p:nvSpPr>
            <p:spPr bwMode="auto">
              <a:xfrm>
                <a:off x="5028776" y="3444389"/>
                <a:ext cx="183647" cy="139723"/>
              </a:xfrm>
              <a:custGeom>
                <a:avLst/>
                <a:gdLst>
                  <a:gd name="T0" fmla="*/ 2147483647 w 464"/>
                  <a:gd name="T1" fmla="*/ 2147483647 h 361"/>
                  <a:gd name="T2" fmla="*/ 2147483647 w 464"/>
                  <a:gd name="T3" fmla="*/ 2147483647 h 361"/>
                  <a:gd name="T4" fmla="*/ 2147483647 w 464"/>
                  <a:gd name="T5" fmla="*/ 2147483647 h 361"/>
                  <a:gd name="T6" fmla="*/ 2147483647 w 464"/>
                  <a:gd name="T7" fmla="*/ 0 h 361"/>
                  <a:gd name="T8" fmla="*/ 2147483647 w 464"/>
                  <a:gd name="T9" fmla="*/ 2147483647 h 361"/>
                  <a:gd name="T10" fmla="*/ 2147483647 w 464"/>
                  <a:gd name="T11" fmla="*/ 2147483647 h 361"/>
                  <a:gd name="T12" fmla="*/ 2147483647 w 464"/>
                  <a:gd name="T13" fmla="*/ 2147483647 h 361"/>
                  <a:gd name="T14" fmla="*/ 2147483647 w 464"/>
                  <a:gd name="T15" fmla="*/ 2147483647 h 361"/>
                  <a:gd name="T16" fmla="*/ 2147483647 w 464"/>
                  <a:gd name="T17" fmla="*/ 2147483647 h 361"/>
                  <a:gd name="T18" fmla="*/ 2147483647 w 464"/>
                  <a:gd name="T19" fmla="*/ 2147483647 h 361"/>
                  <a:gd name="T20" fmla="*/ 2147483647 w 464"/>
                  <a:gd name="T21" fmla="*/ 2147483647 h 361"/>
                  <a:gd name="T22" fmla="*/ 2147483647 w 464"/>
                  <a:gd name="T23" fmla="*/ 2147483647 h 361"/>
                  <a:gd name="T24" fmla="*/ 2147483647 w 464"/>
                  <a:gd name="T25" fmla="*/ 2147483647 h 361"/>
                  <a:gd name="T26" fmla="*/ 2147483647 w 464"/>
                  <a:gd name="T27" fmla="*/ 2147483647 h 361"/>
                  <a:gd name="T28" fmla="*/ 2147483647 w 464"/>
                  <a:gd name="T29" fmla="*/ 2147483647 h 361"/>
                  <a:gd name="T30" fmla="*/ 2147483647 w 464"/>
                  <a:gd name="T31" fmla="*/ 2147483647 h 361"/>
                  <a:gd name="T32" fmla="*/ 2147483647 w 464"/>
                  <a:gd name="T33" fmla="*/ 2147483647 h 361"/>
                  <a:gd name="T34" fmla="*/ 2147483647 w 464"/>
                  <a:gd name="T35" fmla="*/ 2147483647 h 361"/>
                  <a:gd name="T36" fmla="*/ 2147483647 w 464"/>
                  <a:gd name="T37" fmla="*/ 2147483647 h 361"/>
                  <a:gd name="T38" fmla="*/ 2147483647 w 464"/>
                  <a:gd name="T39" fmla="*/ 2147483647 h 361"/>
                  <a:gd name="T40" fmla="*/ 2147483647 w 464"/>
                  <a:gd name="T41" fmla="*/ 2147483647 h 361"/>
                  <a:gd name="T42" fmla="*/ 2147483647 w 464"/>
                  <a:gd name="T43" fmla="*/ 2147483647 h 361"/>
                  <a:gd name="T44" fmla="*/ 2147483647 w 464"/>
                  <a:gd name="T45" fmla="*/ 2147483647 h 361"/>
                  <a:gd name="T46" fmla="*/ 2147483647 w 464"/>
                  <a:gd name="T47" fmla="*/ 2147483647 h 361"/>
                  <a:gd name="T48" fmla="*/ 2147483647 w 464"/>
                  <a:gd name="T49" fmla="*/ 2147483647 h 361"/>
                  <a:gd name="T50" fmla="*/ 2147483647 w 464"/>
                  <a:gd name="T51" fmla="*/ 2147483647 h 361"/>
                  <a:gd name="T52" fmla="*/ 2147483647 w 464"/>
                  <a:gd name="T53" fmla="*/ 2147483647 h 361"/>
                  <a:gd name="T54" fmla="*/ 2147483647 w 464"/>
                  <a:gd name="T55" fmla="*/ 2147483647 h 361"/>
                  <a:gd name="T56" fmla="*/ 2147483647 w 464"/>
                  <a:gd name="T57" fmla="*/ 2147483647 h 361"/>
                  <a:gd name="T58" fmla="*/ 2147483647 w 464"/>
                  <a:gd name="T59" fmla="*/ 2147483647 h 361"/>
                  <a:gd name="T60" fmla="*/ 2147483647 w 464"/>
                  <a:gd name="T61" fmla="*/ 2147483647 h 361"/>
                  <a:gd name="T62" fmla="*/ 2147483647 w 464"/>
                  <a:gd name="T63" fmla="*/ 2147483647 h 361"/>
                  <a:gd name="T64" fmla="*/ 2147483647 w 464"/>
                  <a:gd name="T65" fmla="*/ 2147483647 h 361"/>
                  <a:gd name="T66" fmla="*/ 2147483647 w 464"/>
                  <a:gd name="T67" fmla="*/ 2147483647 h 361"/>
                  <a:gd name="T68" fmla="*/ 2147483647 w 464"/>
                  <a:gd name="T69" fmla="*/ 2147483647 h 361"/>
                  <a:gd name="T70" fmla="*/ 2147483647 w 464"/>
                  <a:gd name="T71" fmla="*/ 2147483647 h 361"/>
                  <a:gd name="T72" fmla="*/ 2147483647 w 464"/>
                  <a:gd name="T73" fmla="*/ 2147483647 h 361"/>
                  <a:gd name="T74" fmla="*/ 2147483647 w 464"/>
                  <a:gd name="T75" fmla="*/ 2147483647 h 361"/>
                  <a:gd name="T76" fmla="*/ 2147483647 w 464"/>
                  <a:gd name="T77" fmla="*/ 2147483647 h 361"/>
                  <a:gd name="T78" fmla="*/ 2147483647 w 464"/>
                  <a:gd name="T79" fmla="*/ 2147483647 h 361"/>
                  <a:gd name="T80" fmla="*/ 2147483647 w 464"/>
                  <a:gd name="T81" fmla="*/ 2147483647 h 361"/>
                  <a:gd name="T82" fmla="*/ 2147483647 w 464"/>
                  <a:gd name="T83" fmla="*/ 2147483647 h 361"/>
                  <a:gd name="T84" fmla="*/ 2147483647 w 464"/>
                  <a:gd name="T85" fmla="*/ 2147483647 h 361"/>
                  <a:gd name="T86" fmla="*/ 2147483647 w 464"/>
                  <a:gd name="T87" fmla="*/ 2147483647 h 361"/>
                  <a:gd name="T88" fmla="*/ 2147483647 w 464"/>
                  <a:gd name="T89" fmla="*/ 2147483647 h 36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464" h="361">
                    <a:moveTo>
                      <a:pt x="458" y="114"/>
                    </a:moveTo>
                    <a:cubicBezTo>
                      <a:pt x="458" y="114"/>
                      <a:pt x="437" y="103"/>
                      <a:pt x="408" y="88"/>
                    </a:cubicBezTo>
                    <a:cubicBezTo>
                      <a:pt x="408" y="52"/>
                      <a:pt x="408" y="52"/>
                      <a:pt x="408" y="52"/>
                    </a:cubicBezTo>
                    <a:cubicBezTo>
                      <a:pt x="408" y="41"/>
                      <a:pt x="400" y="32"/>
                      <a:pt x="389" y="32"/>
                    </a:cubicBezTo>
                    <a:cubicBezTo>
                      <a:pt x="357" y="32"/>
                      <a:pt x="357" y="32"/>
                      <a:pt x="357" y="32"/>
                    </a:cubicBezTo>
                    <a:cubicBezTo>
                      <a:pt x="347" y="32"/>
                      <a:pt x="338" y="41"/>
                      <a:pt x="338" y="52"/>
                    </a:cubicBezTo>
                    <a:cubicBezTo>
                      <a:pt x="292" y="28"/>
                      <a:pt x="249" y="6"/>
                      <a:pt x="245" y="3"/>
                    </a:cubicBezTo>
                    <a:cubicBezTo>
                      <a:pt x="241" y="1"/>
                      <a:pt x="236" y="0"/>
                      <a:pt x="232" y="0"/>
                    </a:cubicBezTo>
                    <a:cubicBezTo>
                      <a:pt x="224" y="1"/>
                      <a:pt x="219" y="3"/>
                      <a:pt x="219" y="3"/>
                    </a:cubicBezTo>
                    <a:cubicBezTo>
                      <a:pt x="6" y="114"/>
                      <a:pt x="6" y="114"/>
                      <a:pt x="6" y="114"/>
                    </a:cubicBezTo>
                    <a:cubicBezTo>
                      <a:pt x="2" y="116"/>
                      <a:pt x="0" y="121"/>
                      <a:pt x="3" y="125"/>
                    </a:cubicBezTo>
                    <a:cubicBezTo>
                      <a:pt x="5" y="129"/>
                      <a:pt x="9" y="130"/>
                      <a:pt x="13" y="128"/>
                    </a:cubicBezTo>
                    <a:cubicBezTo>
                      <a:pt x="226" y="18"/>
                      <a:pt x="226" y="18"/>
                      <a:pt x="226" y="18"/>
                    </a:cubicBezTo>
                    <a:cubicBezTo>
                      <a:pt x="227" y="17"/>
                      <a:pt x="229" y="16"/>
                      <a:pt x="232" y="16"/>
                    </a:cubicBezTo>
                    <a:cubicBezTo>
                      <a:pt x="234" y="16"/>
                      <a:pt x="236" y="17"/>
                      <a:pt x="238" y="18"/>
                    </a:cubicBezTo>
                    <a:cubicBezTo>
                      <a:pt x="242" y="20"/>
                      <a:pt x="291" y="45"/>
                      <a:pt x="340" y="71"/>
                    </a:cubicBezTo>
                    <a:cubicBezTo>
                      <a:pt x="341" y="71"/>
                      <a:pt x="343" y="72"/>
                      <a:pt x="345" y="72"/>
                    </a:cubicBezTo>
                    <a:cubicBezTo>
                      <a:pt x="347" y="72"/>
                      <a:pt x="349" y="71"/>
                      <a:pt x="352" y="69"/>
                    </a:cubicBezTo>
                    <a:cubicBezTo>
                      <a:pt x="354" y="67"/>
                      <a:pt x="354" y="64"/>
                      <a:pt x="354" y="62"/>
                    </a:cubicBezTo>
                    <a:cubicBezTo>
                      <a:pt x="354" y="52"/>
                      <a:pt x="354" y="52"/>
                      <a:pt x="354" y="52"/>
                    </a:cubicBezTo>
                    <a:cubicBezTo>
                      <a:pt x="354" y="50"/>
                      <a:pt x="356" y="48"/>
                      <a:pt x="357" y="48"/>
                    </a:cubicBezTo>
                    <a:cubicBezTo>
                      <a:pt x="389" y="48"/>
                      <a:pt x="389" y="48"/>
                      <a:pt x="389" y="48"/>
                    </a:cubicBezTo>
                    <a:cubicBezTo>
                      <a:pt x="391" y="48"/>
                      <a:pt x="392" y="50"/>
                      <a:pt x="392" y="52"/>
                    </a:cubicBezTo>
                    <a:cubicBezTo>
                      <a:pt x="392" y="90"/>
                      <a:pt x="392" y="90"/>
                      <a:pt x="392" y="90"/>
                    </a:cubicBezTo>
                    <a:cubicBezTo>
                      <a:pt x="392" y="93"/>
                      <a:pt x="393" y="96"/>
                      <a:pt x="395" y="98"/>
                    </a:cubicBezTo>
                    <a:cubicBezTo>
                      <a:pt x="396" y="100"/>
                      <a:pt x="398" y="101"/>
                      <a:pt x="399" y="101"/>
                    </a:cubicBezTo>
                    <a:cubicBezTo>
                      <a:pt x="429" y="117"/>
                      <a:pt x="451" y="128"/>
                      <a:pt x="451" y="128"/>
                    </a:cubicBezTo>
                    <a:cubicBezTo>
                      <a:pt x="452" y="129"/>
                      <a:pt x="454" y="129"/>
                      <a:pt x="455" y="129"/>
                    </a:cubicBezTo>
                    <a:cubicBezTo>
                      <a:pt x="458" y="129"/>
                      <a:pt x="460" y="128"/>
                      <a:pt x="462" y="125"/>
                    </a:cubicBezTo>
                    <a:cubicBezTo>
                      <a:pt x="464" y="121"/>
                      <a:pt x="462" y="116"/>
                      <a:pt x="458" y="114"/>
                    </a:cubicBezTo>
                    <a:close/>
                    <a:moveTo>
                      <a:pt x="400" y="166"/>
                    </a:moveTo>
                    <a:cubicBezTo>
                      <a:pt x="405" y="166"/>
                      <a:pt x="408" y="162"/>
                      <a:pt x="408" y="158"/>
                    </a:cubicBezTo>
                    <a:cubicBezTo>
                      <a:pt x="408" y="158"/>
                      <a:pt x="408" y="158"/>
                      <a:pt x="408" y="158"/>
                    </a:cubicBezTo>
                    <a:cubicBezTo>
                      <a:pt x="408" y="140"/>
                      <a:pt x="408" y="140"/>
                      <a:pt x="408" y="140"/>
                    </a:cubicBezTo>
                    <a:cubicBezTo>
                      <a:pt x="408" y="129"/>
                      <a:pt x="400" y="122"/>
                      <a:pt x="392" y="119"/>
                    </a:cubicBezTo>
                    <a:cubicBezTo>
                      <a:pt x="386" y="115"/>
                      <a:pt x="251" y="46"/>
                      <a:pt x="243" y="42"/>
                    </a:cubicBezTo>
                    <a:cubicBezTo>
                      <a:pt x="239" y="40"/>
                      <a:pt x="236" y="39"/>
                      <a:pt x="232" y="39"/>
                    </a:cubicBezTo>
                    <a:cubicBezTo>
                      <a:pt x="225" y="39"/>
                      <a:pt x="221" y="42"/>
                      <a:pt x="220" y="42"/>
                    </a:cubicBezTo>
                    <a:cubicBezTo>
                      <a:pt x="71" y="119"/>
                      <a:pt x="71" y="119"/>
                      <a:pt x="71" y="119"/>
                    </a:cubicBezTo>
                    <a:cubicBezTo>
                      <a:pt x="64" y="122"/>
                      <a:pt x="56" y="129"/>
                      <a:pt x="55" y="140"/>
                    </a:cubicBezTo>
                    <a:cubicBezTo>
                      <a:pt x="55" y="342"/>
                      <a:pt x="55" y="342"/>
                      <a:pt x="55" y="342"/>
                    </a:cubicBezTo>
                    <a:cubicBezTo>
                      <a:pt x="55" y="352"/>
                      <a:pt x="64" y="361"/>
                      <a:pt x="75" y="361"/>
                    </a:cubicBezTo>
                    <a:cubicBezTo>
                      <a:pt x="113" y="361"/>
                      <a:pt x="113" y="361"/>
                      <a:pt x="113" y="361"/>
                    </a:cubicBezTo>
                    <a:cubicBezTo>
                      <a:pt x="133" y="361"/>
                      <a:pt x="154" y="361"/>
                      <a:pt x="159" y="361"/>
                    </a:cubicBezTo>
                    <a:cubicBezTo>
                      <a:pt x="167" y="361"/>
                      <a:pt x="174" y="357"/>
                      <a:pt x="176" y="352"/>
                    </a:cubicBezTo>
                    <a:cubicBezTo>
                      <a:pt x="179" y="348"/>
                      <a:pt x="179" y="344"/>
                      <a:pt x="179" y="342"/>
                    </a:cubicBezTo>
                    <a:cubicBezTo>
                      <a:pt x="179" y="225"/>
                      <a:pt x="179" y="225"/>
                      <a:pt x="179" y="225"/>
                    </a:cubicBezTo>
                    <a:cubicBezTo>
                      <a:pt x="179" y="223"/>
                      <a:pt x="180" y="222"/>
                      <a:pt x="182" y="222"/>
                    </a:cubicBezTo>
                    <a:cubicBezTo>
                      <a:pt x="289" y="222"/>
                      <a:pt x="289" y="222"/>
                      <a:pt x="289" y="222"/>
                    </a:cubicBezTo>
                    <a:cubicBezTo>
                      <a:pt x="291" y="222"/>
                      <a:pt x="293" y="223"/>
                      <a:pt x="293" y="225"/>
                    </a:cubicBezTo>
                    <a:cubicBezTo>
                      <a:pt x="293" y="341"/>
                      <a:pt x="293" y="341"/>
                      <a:pt x="293" y="341"/>
                    </a:cubicBezTo>
                    <a:cubicBezTo>
                      <a:pt x="293" y="342"/>
                      <a:pt x="293" y="342"/>
                      <a:pt x="293" y="342"/>
                    </a:cubicBezTo>
                    <a:cubicBezTo>
                      <a:pt x="293" y="343"/>
                      <a:pt x="293" y="347"/>
                      <a:pt x="295" y="352"/>
                    </a:cubicBezTo>
                    <a:cubicBezTo>
                      <a:pt x="297" y="356"/>
                      <a:pt x="304" y="361"/>
                      <a:pt x="311" y="361"/>
                    </a:cubicBezTo>
                    <a:cubicBezTo>
                      <a:pt x="312" y="361"/>
                      <a:pt x="312" y="361"/>
                      <a:pt x="312" y="361"/>
                    </a:cubicBezTo>
                    <a:cubicBezTo>
                      <a:pt x="324" y="361"/>
                      <a:pt x="389" y="361"/>
                      <a:pt x="389" y="361"/>
                    </a:cubicBezTo>
                    <a:cubicBezTo>
                      <a:pt x="400" y="361"/>
                      <a:pt x="408" y="352"/>
                      <a:pt x="408" y="342"/>
                    </a:cubicBezTo>
                    <a:cubicBezTo>
                      <a:pt x="408" y="191"/>
                      <a:pt x="408" y="191"/>
                      <a:pt x="408" y="191"/>
                    </a:cubicBezTo>
                    <a:cubicBezTo>
                      <a:pt x="408" y="186"/>
                      <a:pt x="405" y="183"/>
                      <a:pt x="400" y="183"/>
                    </a:cubicBezTo>
                    <a:cubicBezTo>
                      <a:pt x="396" y="183"/>
                      <a:pt x="392" y="186"/>
                      <a:pt x="392" y="191"/>
                    </a:cubicBezTo>
                    <a:cubicBezTo>
                      <a:pt x="392" y="342"/>
                      <a:pt x="392" y="342"/>
                      <a:pt x="392" y="342"/>
                    </a:cubicBezTo>
                    <a:cubicBezTo>
                      <a:pt x="392" y="344"/>
                      <a:pt x="391" y="345"/>
                      <a:pt x="389" y="345"/>
                    </a:cubicBezTo>
                    <a:cubicBezTo>
                      <a:pt x="312" y="345"/>
                      <a:pt x="312" y="345"/>
                      <a:pt x="312" y="345"/>
                    </a:cubicBezTo>
                    <a:cubicBezTo>
                      <a:pt x="309" y="345"/>
                      <a:pt x="310" y="345"/>
                      <a:pt x="309" y="344"/>
                    </a:cubicBezTo>
                    <a:cubicBezTo>
                      <a:pt x="309" y="343"/>
                      <a:pt x="309" y="342"/>
                      <a:pt x="309" y="342"/>
                    </a:cubicBezTo>
                    <a:cubicBezTo>
                      <a:pt x="309" y="342"/>
                      <a:pt x="309" y="342"/>
                      <a:pt x="309" y="342"/>
                    </a:cubicBezTo>
                    <a:cubicBezTo>
                      <a:pt x="309" y="342"/>
                      <a:pt x="309" y="342"/>
                      <a:pt x="309" y="342"/>
                    </a:cubicBezTo>
                    <a:cubicBezTo>
                      <a:pt x="309" y="225"/>
                      <a:pt x="309" y="225"/>
                      <a:pt x="309" y="225"/>
                    </a:cubicBezTo>
                    <a:cubicBezTo>
                      <a:pt x="309" y="214"/>
                      <a:pt x="300" y="206"/>
                      <a:pt x="289" y="206"/>
                    </a:cubicBezTo>
                    <a:cubicBezTo>
                      <a:pt x="182" y="206"/>
                      <a:pt x="182" y="206"/>
                      <a:pt x="182" y="206"/>
                    </a:cubicBezTo>
                    <a:cubicBezTo>
                      <a:pt x="171" y="206"/>
                      <a:pt x="163" y="214"/>
                      <a:pt x="163" y="225"/>
                    </a:cubicBezTo>
                    <a:cubicBezTo>
                      <a:pt x="163" y="342"/>
                      <a:pt x="163" y="342"/>
                      <a:pt x="163" y="342"/>
                    </a:cubicBezTo>
                    <a:cubicBezTo>
                      <a:pt x="163" y="342"/>
                      <a:pt x="163" y="342"/>
                      <a:pt x="163" y="342"/>
                    </a:cubicBezTo>
                    <a:cubicBezTo>
                      <a:pt x="163" y="342"/>
                      <a:pt x="163" y="342"/>
                      <a:pt x="163" y="342"/>
                    </a:cubicBezTo>
                    <a:cubicBezTo>
                      <a:pt x="163" y="342"/>
                      <a:pt x="163" y="344"/>
                      <a:pt x="162" y="344"/>
                    </a:cubicBezTo>
                    <a:cubicBezTo>
                      <a:pt x="162" y="345"/>
                      <a:pt x="162" y="345"/>
                      <a:pt x="159" y="345"/>
                    </a:cubicBezTo>
                    <a:cubicBezTo>
                      <a:pt x="75" y="345"/>
                      <a:pt x="75" y="345"/>
                      <a:pt x="75" y="345"/>
                    </a:cubicBezTo>
                    <a:cubicBezTo>
                      <a:pt x="73" y="345"/>
                      <a:pt x="71" y="344"/>
                      <a:pt x="71" y="342"/>
                    </a:cubicBezTo>
                    <a:cubicBezTo>
                      <a:pt x="71" y="140"/>
                      <a:pt x="71" y="140"/>
                      <a:pt x="71" y="140"/>
                    </a:cubicBezTo>
                    <a:cubicBezTo>
                      <a:pt x="71" y="138"/>
                      <a:pt x="73" y="135"/>
                      <a:pt x="78" y="133"/>
                    </a:cubicBezTo>
                    <a:cubicBezTo>
                      <a:pt x="78" y="133"/>
                      <a:pt x="78" y="133"/>
                      <a:pt x="78" y="133"/>
                    </a:cubicBezTo>
                    <a:cubicBezTo>
                      <a:pt x="227" y="56"/>
                      <a:pt x="227" y="56"/>
                      <a:pt x="227" y="56"/>
                    </a:cubicBezTo>
                    <a:cubicBezTo>
                      <a:pt x="228" y="56"/>
                      <a:pt x="230" y="55"/>
                      <a:pt x="232" y="55"/>
                    </a:cubicBezTo>
                    <a:cubicBezTo>
                      <a:pt x="234" y="55"/>
                      <a:pt x="235" y="55"/>
                      <a:pt x="236" y="56"/>
                    </a:cubicBezTo>
                    <a:cubicBezTo>
                      <a:pt x="240" y="58"/>
                      <a:pt x="277" y="77"/>
                      <a:pt x="314" y="96"/>
                    </a:cubicBezTo>
                    <a:cubicBezTo>
                      <a:pt x="350" y="115"/>
                      <a:pt x="385" y="133"/>
                      <a:pt x="385" y="133"/>
                    </a:cubicBezTo>
                    <a:cubicBezTo>
                      <a:pt x="386" y="133"/>
                      <a:pt x="386" y="133"/>
                      <a:pt x="386" y="133"/>
                    </a:cubicBezTo>
                    <a:cubicBezTo>
                      <a:pt x="391" y="135"/>
                      <a:pt x="393" y="138"/>
                      <a:pt x="392" y="140"/>
                    </a:cubicBezTo>
                    <a:cubicBezTo>
                      <a:pt x="392" y="158"/>
                      <a:pt x="392" y="158"/>
                      <a:pt x="392" y="158"/>
                    </a:cubicBezTo>
                    <a:cubicBezTo>
                      <a:pt x="392" y="162"/>
                      <a:pt x="396" y="166"/>
                      <a:pt x="400" y="1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02" name="Freeform 3"/>
              <p:cNvSpPr>
                <a:spLocks noChangeAspect="1"/>
              </p:cNvSpPr>
              <p:nvPr/>
            </p:nvSpPr>
            <p:spPr bwMode="auto">
              <a:xfrm>
                <a:off x="4629096" y="3814177"/>
                <a:ext cx="161696" cy="157927"/>
              </a:xfrm>
              <a:custGeom>
                <a:avLst/>
                <a:gdLst>
                  <a:gd name="T0" fmla="*/ 2147483647 w 409"/>
                  <a:gd name="T1" fmla="*/ 2147483647 h 408"/>
                  <a:gd name="T2" fmla="*/ 2147483647 w 409"/>
                  <a:gd name="T3" fmla="*/ 2147483647 h 408"/>
                  <a:gd name="T4" fmla="*/ 2147483647 w 409"/>
                  <a:gd name="T5" fmla="*/ 2147483647 h 408"/>
                  <a:gd name="T6" fmla="*/ 2147483647 w 409"/>
                  <a:gd name="T7" fmla="*/ 2147483647 h 408"/>
                  <a:gd name="T8" fmla="*/ 2147483647 w 409"/>
                  <a:gd name="T9" fmla="*/ 2147483647 h 408"/>
                  <a:gd name="T10" fmla="*/ 2147483647 w 409"/>
                  <a:gd name="T11" fmla="*/ 2147483647 h 408"/>
                  <a:gd name="T12" fmla="*/ 2147483647 w 409"/>
                  <a:gd name="T13" fmla="*/ 2147483647 h 408"/>
                  <a:gd name="T14" fmla="*/ 2147483647 w 409"/>
                  <a:gd name="T15" fmla="*/ 2147483647 h 408"/>
                  <a:gd name="T16" fmla="*/ 2147483647 w 409"/>
                  <a:gd name="T17" fmla="*/ 2147483647 h 408"/>
                  <a:gd name="T18" fmla="*/ 2147483647 w 409"/>
                  <a:gd name="T19" fmla="*/ 2147483647 h 408"/>
                  <a:gd name="T20" fmla="*/ 2147483647 w 409"/>
                  <a:gd name="T21" fmla="*/ 2147483647 h 408"/>
                  <a:gd name="T22" fmla="*/ 2147483647 w 409"/>
                  <a:gd name="T23" fmla="*/ 2147483647 h 408"/>
                  <a:gd name="T24" fmla="*/ 2147483647 w 409"/>
                  <a:gd name="T25" fmla="*/ 2147483647 h 408"/>
                  <a:gd name="T26" fmla="*/ 2147483647 w 409"/>
                  <a:gd name="T27" fmla="*/ 2147483647 h 408"/>
                  <a:gd name="T28" fmla="*/ 2147483647 w 409"/>
                  <a:gd name="T29" fmla="*/ 2147483647 h 408"/>
                  <a:gd name="T30" fmla="*/ 2147483647 w 409"/>
                  <a:gd name="T31" fmla="*/ 2147483647 h 408"/>
                  <a:gd name="T32" fmla="*/ 2147483647 w 409"/>
                  <a:gd name="T33" fmla="*/ 2147483647 h 408"/>
                  <a:gd name="T34" fmla="*/ 2147483647 w 409"/>
                  <a:gd name="T35" fmla="*/ 2147483647 h 408"/>
                  <a:gd name="T36" fmla="*/ 2147483647 w 409"/>
                  <a:gd name="T37" fmla="*/ 2147483647 h 408"/>
                  <a:gd name="T38" fmla="*/ 2147483647 w 409"/>
                  <a:gd name="T39" fmla="*/ 2147483647 h 408"/>
                  <a:gd name="T40" fmla="*/ 2147483647 w 409"/>
                  <a:gd name="T41" fmla="*/ 2147483647 h 408"/>
                  <a:gd name="T42" fmla="*/ 2147483647 w 409"/>
                  <a:gd name="T43" fmla="*/ 2147483647 h 408"/>
                  <a:gd name="T44" fmla="*/ 2147483647 w 409"/>
                  <a:gd name="T45" fmla="*/ 2147483647 h 408"/>
                  <a:gd name="T46" fmla="*/ 2147483647 w 409"/>
                  <a:gd name="T47" fmla="*/ 2147483647 h 408"/>
                  <a:gd name="T48" fmla="*/ 2147483647 w 409"/>
                  <a:gd name="T49" fmla="*/ 2147483647 h 408"/>
                  <a:gd name="T50" fmla="*/ 2147483647 w 409"/>
                  <a:gd name="T51" fmla="*/ 2147483647 h 408"/>
                  <a:gd name="T52" fmla="*/ 2147483647 w 409"/>
                  <a:gd name="T53" fmla="*/ 2147483647 h 408"/>
                  <a:gd name="T54" fmla="*/ 2147483647 w 409"/>
                  <a:gd name="T55" fmla="*/ 2147483647 h 408"/>
                  <a:gd name="T56" fmla="*/ 2147483647 w 409"/>
                  <a:gd name="T57" fmla="*/ 2147483647 h 408"/>
                  <a:gd name="T58" fmla="*/ 2147483647 w 409"/>
                  <a:gd name="T59" fmla="*/ 2147483647 h 408"/>
                  <a:gd name="T60" fmla="*/ 2147483647 w 409"/>
                  <a:gd name="T61" fmla="*/ 2147483647 h 408"/>
                  <a:gd name="T62" fmla="*/ 2147483647 w 409"/>
                  <a:gd name="T63" fmla="*/ 2147483647 h 408"/>
                  <a:gd name="T64" fmla="*/ 2147483647 w 409"/>
                  <a:gd name="T65" fmla="*/ 2147483647 h 408"/>
                  <a:gd name="T66" fmla="*/ 2147483647 w 409"/>
                  <a:gd name="T67" fmla="*/ 2147483647 h 408"/>
                  <a:gd name="T68" fmla="*/ 2147483647 w 409"/>
                  <a:gd name="T69" fmla="*/ 2147483647 h 408"/>
                  <a:gd name="T70" fmla="*/ 2147483647 w 409"/>
                  <a:gd name="T71" fmla="*/ 2147483647 h 408"/>
                  <a:gd name="T72" fmla="*/ 2147483647 w 409"/>
                  <a:gd name="T73" fmla="*/ 2147483647 h 408"/>
                  <a:gd name="T74" fmla="*/ 2147483647 w 409"/>
                  <a:gd name="T75" fmla="*/ 2147483647 h 408"/>
                  <a:gd name="T76" fmla="*/ 2147483647 w 409"/>
                  <a:gd name="T77" fmla="*/ 2147483647 h 408"/>
                  <a:gd name="T78" fmla="*/ 2147483647 w 409"/>
                  <a:gd name="T79" fmla="*/ 2147483647 h 408"/>
                  <a:gd name="T80" fmla="*/ 2147483647 w 409"/>
                  <a:gd name="T81" fmla="*/ 2147483647 h 408"/>
                  <a:gd name="T82" fmla="*/ 2147483647 w 409"/>
                  <a:gd name="T83" fmla="*/ 2147483647 h 408"/>
                  <a:gd name="T84" fmla="*/ 2147483647 w 409"/>
                  <a:gd name="T85" fmla="*/ 2147483647 h 408"/>
                  <a:gd name="T86" fmla="*/ 2147483647 w 409"/>
                  <a:gd name="T87" fmla="*/ 2147483647 h 408"/>
                  <a:gd name="T88" fmla="*/ 2147483647 w 409"/>
                  <a:gd name="T89" fmla="*/ 2147483647 h 408"/>
                  <a:gd name="T90" fmla="*/ 2147483647 w 409"/>
                  <a:gd name="T91" fmla="*/ 2147483647 h 408"/>
                  <a:gd name="T92" fmla="*/ 2147483647 w 409"/>
                  <a:gd name="T93" fmla="*/ 2147483647 h 408"/>
                  <a:gd name="T94" fmla="*/ 2147483647 w 409"/>
                  <a:gd name="T95" fmla="*/ 2147483647 h 408"/>
                  <a:gd name="T96" fmla="*/ 2147483647 w 409"/>
                  <a:gd name="T97" fmla="*/ 2147483647 h 408"/>
                  <a:gd name="T98" fmla="*/ 2147483647 w 409"/>
                  <a:gd name="T99" fmla="*/ 2147483647 h 408"/>
                  <a:gd name="T100" fmla="*/ 2147483647 w 409"/>
                  <a:gd name="T101" fmla="*/ 2147483647 h 408"/>
                  <a:gd name="T102" fmla="*/ 2147483647 w 409"/>
                  <a:gd name="T103" fmla="*/ 2147483647 h 408"/>
                  <a:gd name="T104" fmla="*/ 2147483647 w 409"/>
                  <a:gd name="T105" fmla="*/ 2147483647 h 408"/>
                  <a:gd name="T106" fmla="*/ 2147483647 w 409"/>
                  <a:gd name="T107" fmla="*/ 2147483647 h 408"/>
                  <a:gd name="T108" fmla="*/ 2147483647 w 409"/>
                  <a:gd name="T109" fmla="*/ 2147483647 h 408"/>
                  <a:gd name="T110" fmla="*/ 2147483647 w 409"/>
                  <a:gd name="T111" fmla="*/ 2147483647 h 408"/>
                  <a:gd name="T112" fmla="*/ 2147483647 w 409"/>
                  <a:gd name="T113" fmla="*/ 2147483647 h 408"/>
                  <a:gd name="T114" fmla="*/ 2147483647 w 409"/>
                  <a:gd name="T115" fmla="*/ 2147483647 h 408"/>
                  <a:gd name="T116" fmla="*/ 2147483647 w 409"/>
                  <a:gd name="T117" fmla="*/ 2147483647 h 40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409" h="408">
                    <a:moveTo>
                      <a:pt x="364" y="266"/>
                    </a:moveTo>
                    <a:cubicBezTo>
                      <a:pt x="358" y="260"/>
                      <a:pt x="347" y="260"/>
                      <a:pt x="335" y="266"/>
                    </a:cubicBezTo>
                    <a:cubicBezTo>
                      <a:pt x="329" y="242"/>
                      <a:pt x="329" y="242"/>
                      <a:pt x="329" y="242"/>
                    </a:cubicBezTo>
                    <a:cubicBezTo>
                      <a:pt x="330" y="241"/>
                      <a:pt x="332" y="240"/>
                      <a:pt x="333" y="239"/>
                    </a:cubicBezTo>
                    <a:cubicBezTo>
                      <a:pt x="340" y="232"/>
                      <a:pt x="346" y="223"/>
                      <a:pt x="349" y="216"/>
                    </a:cubicBezTo>
                    <a:cubicBezTo>
                      <a:pt x="354" y="202"/>
                      <a:pt x="350" y="195"/>
                      <a:pt x="346" y="192"/>
                    </a:cubicBezTo>
                    <a:cubicBezTo>
                      <a:pt x="340" y="186"/>
                      <a:pt x="330" y="186"/>
                      <a:pt x="318" y="192"/>
                    </a:cubicBezTo>
                    <a:cubicBezTo>
                      <a:pt x="307" y="146"/>
                      <a:pt x="307" y="146"/>
                      <a:pt x="307" y="146"/>
                    </a:cubicBezTo>
                    <a:cubicBezTo>
                      <a:pt x="364" y="90"/>
                      <a:pt x="364" y="90"/>
                      <a:pt x="364" y="90"/>
                    </a:cubicBezTo>
                    <a:cubicBezTo>
                      <a:pt x="375" y="78"/>
                      <a:pt x="409" y="37"/>
                      <a:pt x="390" y="19"/>
                    </a:cubicBezTo>
                    <a:cubicBezTo>
                      <a:pt x="372" y="0"/>
                      <a:pt x="331" y="34"/>
                      <a:pt x="319" y="46"/>
                    </a:cubicBezTo>
                    <a:cubicBezTo>
                      <a:pt x="263" y="102"/>
                      <a:pt x="263" y="102"/>
                      <a:pt x="263" y="102"/>
                    </a:cubicBezTo>
                    <a:cubicBezTo>
                      <a:pt x="216" y="91"/>
                      <a:pt x="216" y="91"/>
                      <a:pt x="216" y="91"/>
                    </a:cubicBezTo>
                    <a:cubicBezTo>
                      <a:pt x="223" y="79"/>
                      <a:pt x="223" y="68"/>
                      <a:pt x="216" y="62"/>
                    </a:cubicBezTo>
                    <a:cubicBezTo>
                      <a:pt x="213" y="59"/>
                      <a:pt x="206" y="54"/>
                      <a:pt x="193" y="60"/>
                    </a:cubicBezTo>
                    <a:cubicBezTo>
                      <a:pt x="185" y="63"/>
                      <a:pt x="177" y="68"/>
                      <a:pt x="169" y="76"/>
                    </a:cubicBezTo>
                    <a:cubicBezTo>
                      <a:pt x="168" y="77"/>
                      <a:pt x="167" y="78"/>
                      <a:pt x="166" y="79"/>
                    </a:cubicBezTo>
                    <a:cubicBezTo>
                      <a:pt x="144" y="75"/>
                      <a:pt x="144" y="75"/>
                      <a:pt x="144" y="75"/>
                    </a:cubicBezTo>
                    <a:cubicBezTo>
                      <a:pt x="150" y="63"/>
                      <a:pt x="150" y="52"/>
                      <a:pt x="144" y="46"/>
                    </a:cubicBezTo>
                    <a:cubicBezTo>
                      <a:pt x="133" y="35"/>
                      <a:pt x="112" y="45"/>
                      <a:pt x="97" y="60"/>
                    </a:cubicBezTo>
                    <a:cubicBezTo>
                      <a:pt x="96" y="61"/>
                      <a:pt x="95" y="62"/>
                      <a:pt x="94" y="63"/>
                    </a:cubicBezTo>
                    <a:cubicBezTo>
                      <a:pt x="50" y="53"/>
                      <a:pt x="50" y="53"/>
                      <a:pt x="50" y="53"/>
                    </a:cubicBezTo>
                    <a:cubicBezTo>
                      <a:pt x="48" y="53"/>
                      <a:pt x="45" y="54"/>
                      <a:pt x="43" y="55"/>
                    </a:cubicBezTo>
                    <a:cubicBezTo>
                      <a:pt x="13" y="86"/>
                      <a:pt x="13" y="86"/>
                      <a:pt x="13" y="86"/>
                    </a:cubicBezTo>
                    <a:cubicBezTo>
                      <a:pt x="11" y="87"/>
                      <a:pt x="10" y="90"/>
                      <a:pt x="10" y="92"/>
                    </a:cubicBezTo>
                    <a:cubicBezTo>
                      <a:pt x="11" y="95"/>
                      <a:pt x="12" y="97"/>
                      <a:pt x="15" y="98"/>
                    </a:cubicBezTo>
                    <a:cubicBezTo>
                      <a:pt x="31" y="108"/>
                      <a:pt x="31" y="108"/>
                      <a:pt x="31" y="108"/>
                    </a:cubicBezTo>
                    <a:cubicBezTo>
                      <a:pt x="35" y="110"/>
                      <a:pt x="40" y="108"/>
                      <a:pt x="42" y="104"/>
                    </a:cubicBezTo>
                    <a:cubicBezTo>
                      <a:pt x="44" y="100"/>
                      <a:pt x="43" y="96"/>
                      <a:pt x="39" y="94"/>
                    </a:cubicBezTo>
                    <a:cubicBezTo>
                      <a:pt x="32" y="89"/>
                      <a:pt x="32" y="89"/>
                      <a:pt x="32" y="89"/>
                    </a:cubicBezTo>
                    <a:cubicBezTo>
                      <a:pt x="51" y="70"/>
                      <a:pt x="51" y="70"/>
                      <a:pt x="51" y="70"/>
                    </a:cubicBezTo>
                    <a:cubicBezTo>
                      <a:pt x="95" y="80"/>
                      <a:pt x="95" y="80"/>
                      <a:pt x="95" y="80"/>
                    </a:cubicBezTo>
                    <a:cubicBezTo>
                      <a:pt x="98" y="81"/>
                      <a:pt x="101" y="79"/>
                      <a:pt x="103" y="77"/>
                    </a:cubicBezTo>
                    <a:cubicBezTo>
                      <a:pt x="104" y="75"/>
                      <a:pt x="106" y="73"/>
                      <a:pt x="108" y="71"/>
                    </a:cubicBezTo>
                    <a:cubicBezTo>
                      <a:pt x="120" y="59"/>
                      <a:pt x="130" y="57"/>
                      <a:pt x="133" y="57"/>
                    </a:cubicBezTo>
                    <a:cubicBezTo>
                      <a:pt x="133" y="59"/>
                      <a:pt x="132" y="66"/>
                      <a:pt x="125" y="75"/>
                    </a:cubicBezTo>
                    <a:cubicBezTo>
                      <a:pt x="123" y="77"/>
                      <a:pt x="123" y="80"/>
                      <a:pt x="124" y="83"/>
                    </a:cubicBezTo>
                    <a:cubicBezTo>
                      <a:pt x="124" y="85"/>
                      <a:pt x="127" y="87"/>
                      <a:pt x="129" y="88"/>
                    </a:cubicBezTo>
                    <a:cubicBezTo>
                      <a:pt x="167" y="96"/>
                      <a:pt x="167" y="96"/>
                      <a:pt x="167" y="96"/>
                    </a:cubicBezTo>
                    <a:cubicBezTo>
                      <a:pt x="170" y="97"/>
                      <a:pt x="173" y="96"/>
                      <a:pt x="175" y="93"/>
                    </a:cubicBezTo>
                    <a:cubicBezTo>
                      <a:pt x="177" y="91"/>
                      <a:pt x="179" y="89"/>
                      <a:pt x="180" y="87"/>
                    </a:cubicBezTo>
                    <a:cubicBezTo>
                      <a:pt x="192" y="75"/>
                      <a:pt x="202" y="73"/>
                      <a:pt x="205" y="73"/>
                    </a:cubicBezTo>
                    <a:cubicBezTo>
                      <a:pt x="205" y="75"/>
                      <a:pt x="204" y="82"/>
                      <a:pt x="197" y="91"/>
                    </a:cubicBezTo>
                    <a:cubicBezTo>
                      <a:pt x="195" y="93"/>
                      <a:pt x="195" y="96"/>
                      <a:pt x="196" y="99"/>
                    </a:cubicBezTo>
                    <a:cubicBezTo>
                      <a:pt x="197" y="101"/>
                      <a:pt x="199" y="103"/>
                      <a:pt x="201" y="104"/>
                    </a:cubicBezTo>
                    <a:cubicBezTo>
                      <a:pt x="264" y="118"/>
                      <a:pt x="264" y="118"/>
                      <a:pt x="264" y="118"/>
                    </a:cubicBezTo>
                    <a:cubicBezTo>
                      <a:pt x="267" y="119"/>
                      <a:pt x="269" y="118"/>
                      <a:pt x="271" y="116"/>
                    </a:cubicBezTo>
                    <a:cubicBezTo>
                      <a:pt x="330" y="57"/>
                      <a:pt x="330" y="57"/>
                      <a:pt x="330" y="57"/>
                    </a:cubicBezTo>
                    <a:cubicBezTo>
                      <a:pt x="350" y="39"/>
                      <a:pt x="374" y="25"/>
                      <a:pt x="379" y="30"/>
                    </a:cubicBezTo>
                    <a:cubicBezTo>
                      <a:pt x="384" y="35"/>
                      <a:pt x="370" y="59"/>
                      <a:pt x="352" y="79"/>
                    </a:cubicBezTo>
                    <a:cubicBezTo>
                      <a:pt x="293" y="138"/>
                      <a:pt x="293" y="138"/>
                      <a:pt x="293" y="138"/>
                    </a:cubicBezTo>
                    <a:cubicBezTo>
                      <a:pt x="291" y="140"/>
                      <a:pt x="290" y="142"/>
                      <a:pt x="291" y="145"/>
                    </a:cubicBezTo>
                    <a:cubicBezTo>
                      <a:pt x="305" y="207"/>
                      <a:pt x="305" y="207"/>
                      <a:pt x="305" y="207"/>
                    </a:cubicBezTo>
                    <a:cubicBezTo>
                      <a:pt x="305" y="209"/>
                      <a:pt x="307" y="211"/>
                      <a:pt x="310" y="212"/>
                    </a:cubicBezTo>
                    <a:cubicBezTo>
                      <a:pt x="312" y="213"/>
                      <a:pt x="315" y="213"/>
                      <a:pt x="317" y="211"/>
                    </a:cubicBezTo>
                    <a:cubicBezTo>
                      <a:pt x="327" y="204"/>
                      <a:pt x="333" y="203"/>
                      <a:pt x="335" y="203"/>
                    </a:cubicBezTo>
                    <a:cubicBezTo>
                      <a:pt x="336" y="206"/>
                      <a:pt x="333" y="216"/>
                      <a:pt x="321" y="228"/>
                    </a:cubicBezTo>
                    <a:cubicBezTo>
                      <a:pt x="319" y="230"/>
                      <a:pt x="317" y="231"/>
                      <a:pt x="315" y="233"/>
                    </a:cubicBezTo>
                    <a:cubicBezTo>
                      <a:pt x="313" y="235"/>
                      <a:pt x="312" y="238"/>
                      <a:pt x="313" y="241"/>
                    </a:cubicBezTo>
                    <a:cubicBezTo>
                      <a:pt x="322" y="281"/>
                      <a:pt x="322" y="281"/>
                      <a:pt x="322" y="281"/>
                    </a:cubicBezTo>
                    <a:cubicBezTo>
                      <a:pt x="322" y="284"/>
                      <a:pt x="324" y="286"/>
                      <a:pt x="327" y="287"/>
                    </a:cubicBezTo>
                    <a:cubicBezTo>
                      <a:pt x="329" y="288"/>
                      <a:pt x="332" y="287"/>
                      <a:pt x="334" y="286"/>
                    </a:cubicBezTo>
                    <a:cubicBezTo>
                      <a:pt x="344" y="278"/>
                      <a:pt x="351" y="277"/>
                      <a:pt x="353" y="277"/>
                    </a:cubicBezTo>
                    <a:cubicBezTo>
                      <a:pt x="353" y="280"/>
                      <a:pt x="350" y="290"/>
                      <a:pt x="339" y="302"/>
                    </a:cubicBezTo>
                    <a:cubicBezTo>
                      <a:pt x="337" y="304"/>
                      <a:pt x="335" y="306"/>
                      <a:pt x="332" y="307"/>
                    </a:cubicBezTo>
                    <a:cubicBezTo>
                      <a:pt x="330" y="309"/>
                      <a:pt x="329" y="313"/>
                      <a:pt x="330" y="316"/>
                    </a:cubicBezTo>
                    <a:cubicBezTo>
                      <a:pt x="339" y="358"/>
                      <a:pt x="339" y="358"/>
                      <a:pt x="339" y="358"/>
                    </a:cubicBezTo>
                    <a:cubicBezTo>
                      <a:pt x="320" y="377"/>
                      <a:pt x="320" y="377"/>
                      <a:pt x="320" y="377"/>
                    </a:cubicBezTo>
                    <a:cubicBezTo>
                      <a:pt x="233" y="220"/>
                      <a:pt x="233" y="220"/>
                      <a:pt x="233" y="220"/>
                    </a:cubicBezTo>
                    <a:cubicBezTo>
                      <a:pt x="232" y="218"/>
                      <a:pt x="230" y="216"/>
                      <a:pt x="228" y="216"/>
                    </a:cubicBezTo>
                    <a:cubicBezTo>
                      <a:pt x="225" y="215"/>
                      <a:pt x="223" y="216"/>
                      <a:pt x="221" y="218"/>
                    </a:cubicBezTo>
                    <a:cubicBezTo>
                      <a:pt x="132" y="296"/>
                      <a:pt x="132" y="296"/>
                      <a:pt x="132" y="296"/>
                    </a:cubicBezTo>
                    <a:cubicBezTo>
                      <a:pt x="130" y="298"/>
                      <a:pt x="129" y="300"/>
                      <a:pt x="130" y="303"/>
                    </a:cubicBezTo>
                    <a:cubicBezTo>
                      <a:pt x="136" y="384"/>
                      <a:pt x="136" y="384"/>
                      <a:pt x="136" y="384"/>
                    </a:cubicBezTo>
                    <a:cubicBezTo>
                      <a:pt x="130" y="388"/>
                      <a:pt x="130" y="388"/>
                      <a:pt x="130" y="388"/>
                    </a:cubicBezTo>
                    <a:cubicBezTo>
                      <a:pt x="102" y="335"/>
                      <a:pt x="102" y="335"/>
                      <a:pt x="102" y="335"/>
                    </a:cubicBezTo>
                    <a:cubicBezTo>
                      <a:pt x="101" y="333"/>
                      <a:pt x="99" y="332"/>
                      <a:pt x="97" y="331"/>
                    </a:cubicBezTo>
                    <a:cubicBezTo>
                      <a:pt x="94" y="331"/>
                      <a:pt x="92" y="331"/>
                      <a:pt x="90" y="333"/>
                    </a:cubicBezTo>
                    <a:cubicBezTo>
                      <a:pt x="66" y="352"/>
                      <a:pt x="57" y="355"/>
                      <a:pt x="54" y="355"/>
                    </a:cubicBezTo>
                    <a:cubicBezTo>
                      <a:pt x="54" y="352"/>
                      <a:pt x="57" y="343"/>
                      <a:pt x="76" y="319"/>
                    </a:cubicBezTo>
                    <a:cubicBezTo>
                      <a:pt x="78" y="317"/>
                      <a:pt x="78" y="315"/>
                      <a:pt x="78" y="312"/>
                    </a:cubicBezTo>
                    <a:cubicBezTo>
                      <a:pt x="77" y="310"/>
                      <a:pt x="76" y="308"/>
                      <a:pt x="74" y="307"/>
                    </a:cubicBezTo>
                    <a:cubicBezTo>
                      <a:pt x="21" y="279"/>
                      <a:pt x="21" y="279"/>
                      <a:pt x="21" y="279"/>
                    </a:cubicBezTo>
                    <a:cubicBezTo>
                      <a:pt x="25" y="273"/>
                      <a:pt x="25" y="273"/>
                      <a:pt x="25" y="273"/>
                    </a:cubicBezTo>
                    <a:cubicBezTo>
                      <a:pt x="106" y="279"/>
                      <a:pt x="106" y="279"/>
                      <a:pt x="106" y="279"/>
                    </a:cubicBezTo>
                    <a:cubicBezTo>
                      <a:pt x="109" y="280"/>
                      <a:pt x="111" y="279"/>
                      <a:pt x="113" y="277"/>
                    </a:cubicBezTo>
                    <a:cubicBezTo>
                      <a:pt x="191" y="188"/>
                      <a:pt x="191" y="188"/>
                      <a:pt x="191" y="188"/>
                    </a:cubicBezTo>
                    <a:cubicBezTo>
                      <a:pt x="193" y="186"/>
                      <a:pt x="193" y="184"/>
                      <a:pt x="193" y="181"/>
                    </a:cubicBezTo>
                    <a:cubicBezTo>
                      <a:pt x="192" y="179"/>
                      <a:pt x="191" y="177"/>
                      <a:pt x="189" y="176"/>
                    </a:cubicBezTo>
                    <a:cubicBezTo>
                      <a:pt x="67" y="109"/>
                      <a:pt x="67" y="109"/>
                      <a:pt x="67" y="109"/>
                    </a:cubicBezTo>
                    <a:cubicBezTo>
                      <a:pt x="63" y="107"/>
                      <a:pt x="58" y="108"/>
                      <a:pt x="56" y="112"/>
                    </a:cubicBezTo>
                    <a:cubicBezTo>
                      <a:pt x="54" y="116"/>
                      <a:pt x="55" y="121"/>
                      <a:pt x="59" y="123"/>
                    </a:cubicBezTo>
                    <a:cubicBezTo>
                      <a:pt x="172" y="185"/>
                      <a:pt x="172" y="185"/>
                      <a:pt x="172" y="185"/>
                    </a:cubicBezTo>
                    <a:cubicBezTo>
                      <a:pt x="103" y="263"/>
                      <a:pt x="103" y="263"/>
                      <a:pt x="103" y="263"/>
                    </a:cubicBezTo>
                    <a:cubicBezTo>
                      <a:pt x="22" y="257"/>
                      <a:pt x="22" y="257"/>
                      <a:pt x="22" y="257"/>
                    </a:cubicBezTo>
                    <a:cubicBezTo>
                      <a:pt x="19" y="257"/>
                      <a:pt x="17" y="258"/>
                      <a:pt x="15" y="260"/>
                    </a:cubicBezTo>
                    <a:cubicBezTo>
                      <a:pt x="2" y="277"/>
                      <a:pt x="2" y="277"/>
                      <a:pt x="2" y="277"/>
                    </a:cubicBezTo>
                    <a:cubicBezTo>
                      <a:pt x="1" y="279"/>
                      <a:pt x="0" y="282"/>
                      <a:pt x="1" y="284"/>
                    </a:cubicBezTo>
                    <a:cubicBezTo>
                      <a:pt x="1" y="286"/>
                      <a:pt x="3" y="288"/>
                      <a:pt x="5" y="289"/>
                    </a:cubicBezTo>
                    <a:cubicBezTo>
                      <a:pt x="58" y="316"/>
                      <a:pt x="58" y="316"/>
                      <a:pt x="58" y="316"/>
                    </a:cubicBezTo>
                    <a:cubicBezTo>
                      <a:pt x="38" y="343"/>
                      <a:pt x="33" y="358"/>
                      <a:pt x="42" y="367"/>
                    </a:cubicBezTo>
                    <a:cubicBezTo>
                      <a:pt x="51" y="376"/>
                      <a:pt x="66" y="371"/>
                      <a:pt x="93" y="351"/>
                    </a:cubicBezTo>
                    <a:cubicBezTo>
                      <a:pt x="120" y="404"/>
                      <a:pt x="120" y="404"/>
                      <a:pt x="120" y="404"/>
                    </a:cubicBezTo>
                    <a:cubicBezTo>
                      <a:pt x="121" y="406"/>
                      <a:pt x="123" y="408"/>
                      <a:pt x="125" y="408"/>
                    </a:cubicBezTo>
                    <a:cubicBezTo>
                      <a:pt x="126" y="408"/>
                      <a:pt x="126" y="408"/>
                      <a:pt x="127" y="408"/>
                    </a:cubicBezTo>
                    <a:cubicBezTo>
                      <a:pt x="129" y="408"/>
                      <a:pt x="130" y="408"/>
                      <a:pt x="132" y="407"/>
                    </a:cubicBezTo>
                    <a:cubicBezTo>
                      <a:pt x="149" y="394"/>
                      <a:pt x="149" y="394"/>
                      <a:pt x="149" y="394"/>
                    </a:cubicBezTo>
                    <a:cubicBezTo>
                      <a:pt x="151" y="392"/>
                      <a:pt x="152" y="390"/>
                      <a:pt x="152" y="387"/>
                    </a:cubicBezTo>
                    <a:cubicBezTo>
                      <a:pt x="146" y="306"/>
                      <a:pt x="146" y="306"/>
                      <a:pt x="146" y="306"/>
                    </a:cubicBezTo>
                    <a:cubicBezTo>
                      <a:pt x="224" y="236"/>
                      <a:pt x="224" y="236"/>
                      <a:pt x="224" y="236"/>
                    </a:cubicBezTo>
                    <a:cubicBezTo>
                      <a:pt x="311" y="394"/>
                      <a:pt x="311" y="394"/>
                      <a:pt x="311" y="394"/>
                    </a:cubicBezTo>
                    <a:cubicBezTo>
                      <a:pt x="312" y="397"/>
                      <a:pt x="314" y="398"/>
                      <a:pt x="317" y="399"/>
                    </a:cubicBezTo>
                    <a:cubicBezTo>
                      <a:pt x="319" y="399"/>
                      <a:pt x="322" y="398"/>
                      <a:pt x="323" y="396"/>
                    </a:cubicBezTo>
                    <a:cubicBezTo>
                      <a:pt x="354" y="366"/>
                      <a:pt x="354" y="366"/>
                      <a:pt x="354" y="366"/>
                    </a:cubicBezTo>
                    <a:cubicBezTo>
                      <a:pt x="355" y="364"/>
                      <a:pt x="356" y="361"/>
                      <a:pt x="356" y="359"/>
                    </a:cubicBezTo>
                    <a:cubicBezTo>
                      <a:pt x="346" y="317"/>
                      <a:pt x="346" y="317"/>
                      <a:pt x="346" y="317"/>
                    </a:cubicBezTo>
                    <a:cubicBezTo>
                      <a:pt x="348" y="316"/>
                      <a:pt x="349" y="314"/>
                      <a:pt x="350" y="313"/>
                    </a:cubicBezTo>
                    <a:cubicBezTo>
                      <a:pt x="365" y="298"/>
                      <a:pt x="375" y="277"/>
                      <a:pt x="364" y="2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03" name="Freeform 3"/>
              <p:cNvSpPr>
                <a:spLocks noChangeAspect="1" noEditPoints="1"/>
              </p:cNvSpPr>
              <p:nvPr/>
            </p:nvSpPr>
            <p:spPr bwMode="auto">
              <a:xfrm>
                <a:off x="5972362" y="4435112"/>
                <a:ext cx="136227" cy="110369"/>
              </a:xfrm>
              <a:custGeom>
                <a:avLst/>
                <a:gdLst>
                  <a:gd name="T0" fmla="*/ 2147483647 w 344"/>
                  <a:gd name="T1" fmla="*/ 2147483647 h 285"/>
                  <a:gd name="T2" fmla="*/ 2147483647 w 344"/>
                  <a:gd name="T3" fmla="*/ 2147483647 h 285"/>
                  <a:gd name="T4" fmla="*/ 2147483647 w 344"/>
                  <a:gd name="T5" fmla="*/ 2147483647 h 285"/>
                  <a:gd name="T6" fmla="*/ 2147483647 w 344"/>
                  <a:gd name="T7" fmla="*/ 2147483647 h 285"/>
                  <a:gd name="T8" fmla="*/ 2147483647 w 344"/>
                  <a:gd name="T9" fmla="*/ 2147483647 h 285"/>
                  <a:gd name="T10" fmla="*/ 2147483647 w 344"/>
                  <a:gd name="T11" fmla="*/ 2147483647 h 285"/>
                  <a:gd name="T12" fmla="*/ 2147483647 w 344"/>
                  <a:gd name="T13" fmla="*/ 2147483647 h 285"/>
                  <a:gd name="T14" fmla="*/ 2147483647 w 344"/>
                  <a:gd name="T15" fmla="*/ 2147483647 h 285"/>
                  <a:gd name="T16" fmla="*/ 2147483647 w 344"/>
                  <a:gd name="T17" fmla="*/ 2147483647 h 285"/>
                  <a:gd name="T18" fmla="*/ 2147483647 w 344"/>
                  <a:gd name="T19" fmla="*/ 2147483647 h 285"/>
                  <a:gd name="T20" fmla="*/ 2147483647 w 344"/>
                  <a:gd name="T21" fmla="*/ 2147483647 h 285"/>
                  <a:gd name="T22" fmla="*/ 2147483647 w 344"/>
                  <a:gd name="T23" fmla="*/ 2147483647 h 285"/>
                  <a:gd name="T24" fmla="*/ 2147483647 w 344"/>
                  <a:gd name="T25" fmla="*/ 2147483647 h 285"/>
                  <a:gd name="T26" fmla="*/ 2147483647 w 344"/>
                  <a:gd name="T27" fmla="*/ 2147483647 h 285"/>
                  <a:gd name="T28" fmla="*/ 2147483647 w 344"/>
                  <a:gd name="T29" fmla="*/ 2147483647 h 285"/>
                  <a:gd name="T30" fmla="*/ 2147483647 w 344"/>
                  <a:gd name="T31" fmla="*/ 2147483647 h 285"/>
                  <a:gd name="T32" fmla="*/ 2147483647 w 344"/>
                  <a:gd name="T33" fmla="*/ 2147483647 h 285"/>
                  <a:gd name="T34" fmla="*/ 2147483647 w 344"/>
                  <a:gd name="T35" fmla="*/ 2147483647 h 285"/>
                  <a:gd name="T36" fmla="*/ 2147483647 w 344"/>
                  <a:gd name="T37" fmla="*/ 2147483647 h 285"/>
                  <a:gd name="T38" fmla="*/ 2147483647 w 344"/>
                  <a:gd name="T39" fmla="*/ 2147483647 h 285"/>
                  <a:gd name="T40" fmla="*/ 2147483647 w 344"/>
                  <a:gd name="T41" fmla="*/ 2147483647 h 285"/>
                  <a:gd name="T42" fmla="*/ 2147483647 w 344"/>
                  <a:gd name="T43" fmla="*/ 2147483647 h 285"/>
                  <a:gd name="T44" fmla="*/ 2147483647 w 344"/>
                  <a:gd name="T45" fmla="*/ 2147483647 h 285"/>
                  <a:gd name="T46" fmla="*/ 2147483647 w 344"/>
                  <a:gd name="T47" fmla="*/ 2147483647 h 285"/>
                  <a:gd name="T48" fmla="*/ 2147483647 w 344"/>
                  <a:gd name="T49" fmla="*/ 2147483647 h 285"/>
                  <a:gd name="T50" fmla="*/ 2147483647 w 344"/>
                  <a:gd name="T51" fmla="*/ 2147483647 h 285"/>
                  <a:gd name="T52" fmla="*/ 2147483647 w 344"/>
                  <a:gd name="T53" fmla="*/ 2147483647 h 285"/>
                  <a:gd name="T54" fmla="*/ 2147483647 w 344"/>
                  <a:gd name="T55" fmla="*/ 2147483647 h 285"/>
                  <a:gd name="T56" fmla="*/ 2147483647 w 344"/>
                  <a:gd name="T57" fmla="*/ 2147483647 h 285"/>
                  <a:gd name="T58" fmla="*/ 2147483647 w 344"/>
                  <a:gd name="T59" fmla="*/ 2147483647 h 285"/>
                  <a:gd name="T60" fmla="*/ 2147483647 w 344"/>
                  <a:gd name="T61" fmla="*/ 2147483647 h 285"/>
                  <a:gd name="T62" fmla="*/ 2147483647 w 344"/>
                  <a:gd name="T63" fmla="*/ 2147483647 h 285"/>
                  <a:gd name="T64" fmla="*/ 2147483647 w 344"/>
                  <a:gd name="T65" fmla="*/ 2147483647 h 285"/>
                  <a:gd name="T66" fmla="*/ 2147483647 w 344"/>
                  <a:gd name="T67" fmla="*/ 2147483647 h 285"/>
                  <a:gd name="T68" fmla="*/ 2147483647 w 344"/>
                  <a:gd name="T69" fmla="*/ 2147483647 h 285"/>
                  <a:gd name="T70" fmla="*/ 2147483647 w 344"/>
                  <a:gd name="T71" fmla="*/ 2147483647 h 285"/>
                  <a:gd name="T72" fmla="*/ 2147483647 w 344"/>
                  <a:gd name="T73" fmla="*/ 2147483647 h 285"/>
                  <a:gd name="T74" fmla="*/ 2147483647 w 344"/>
                  <a:gd name="T75" fmla="*/ 2147483647 h 285"/>
                  <a:gd name="T76" fmla="*/ 2147483647 w 344"/>
                  <a:gd name="T77" fmla="*/ 2147483647 h 285"/>
                  <a:gd name="T78" fmla="*/ 2147483647 w 344"/>
                  <a:gd name="T79" fmla="*/ 2147483647 h 285"/>
                  <a:gd name="T80" fmla="*/ 2147483647 w 344"/>
                  <a:gd name="T81" fmla="*/ 2147483647 h 285"/>
                  <a:gd name="T82" fmla="*/ 2147483647 w 344"/>
                  <a:gd name="T83" fmla="*/ 2147483647 h 285"/>
                  <a:gd name="T84" fmla="*/ 2147483647 w 344"/>
                  <a:gd name="T85" fmla="*/ 2147483647 h 285"/>
                  <a:gd name="T86" fmla="*/ 2147483647 w 344"/>
                  <a:gd name="T87" fmla="*/ 2147483647 h 285"/>
                  <a:gd name="T88" fmla="*/ 2147483647 w 344"/>
                  <a:gd name="T89" fmla="*/ 2147483647 h 285"/>
                  <a:gd name="T90" fmla="*/ 2147483647 w 344"/>
                  <a:gd name="T91" fmla="*/ 2147483647 h 285"/>
                  <a:gd name="T92" fmla="*/ 2147483647 w 344"/>
                  <a:gd name="T93" fmla="*/ 2147483647 h 285"/>
                  <a:gd name="T94" fmla="*/ 2147483647 w 344"/>
                  <a:gd name="T95" fmla="*/ 2147483647 h 285"/>
                  <a:gd name="T96" fmla="*/ 2147483647 w 344"/>
                  <a:gd name="T97" fmla="*/ 2147483647 h 285"/>
                  <a:gd name="T98" fmla="*/ 2147483647 w 344"/>
                  <a:gd name="T99" fmla="*/ 2147483647 h 285"/>
                  <a:gd name="T100" fmla="*/ 2147483647 w 344"/>
                  <a:gd name="T101" fmla="*/ 2147483647 h 285"/>
                  <a:gd name="T102" fmla="*/ 2147483647 w 344"/>
                  <a:gd name="T103" fmla="*/ 2147483647 h 285"/>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344" h="285">
                    <a:moveTo>
                      <a:pt x="131" y="2"/>
                    </a:moveTo>
                    <a:cubicBezTo>
                      <a:pt x="127" y="0"/>
                      <a:pt x="122" y="2"/>
                      <a:pt x="120" y="6"/>
                    </a:cubicBezTo>
                    <a:cubicBezTo>
                      <a:pt x="2" y="273"/>
                      <a:pt x="2" y="273"/>
                      <a:pt x="2" y="273"/>
                    </a:cubicBezTo>
                    <a:cubicBezTo>
                      <a:pt x="0" y="278"/>
                      <a:pt x="2" y="282"/>
                      <a:pt x="6" y="284"/>
                    </a:cubicBezTo>
                    <a:cubicBezTo>
                      <a:pt x="7" y="285"/>
                      <a:pt x="8" y="285"/>
                      <a:pt x="9" y="285"/>
                    </a:cubicBezTo>
                    <a:cubicBezTo>
                      <a:pt x="12" y="285"/>
                      <a:pt x="15" y="283"/>
                      <a:pt x="16" y="280"/>
                    </a:cubicBezTo>
                    <a:cubicBezTo>
                      <a:pt x="135" y="12"/>
                      <a:pt x="135" y="12"/>
                      <a:pt x="135" y="12"/>
                    </a:cubicBezTo>
                    <a:cubicBezTo>
                      <a:pt x="137" y="8"/>
                      <a:pt x="135" y="3"/>
                      <a:pt x="131" y="2"/>
                    </a:cubicBezTo>
                    <a:close/>
                    <a:moveTo>
                      <a:pt x="172" y="1"/>
                    </a:moveTo>
                    <a:cubicBezTo>
                      <a:pt x="168" y="1"/>
                      <a:pt x="164" y="4"/>
                      <a:pt x="164" y="9"/>
                    </a:cubicBezTo>
                    <a:cubicBezTo>
                      <a:pt x="164" y="25"/>
                      <a:pt x="164" y="25"/>
                      <a:pt x="164" y="25"/>
                    </a:cubicBezTo>
                    <a:cubicBezTo>
                      <a:pt x="164" y="29"/>
                      <a:pt x="168" y="33"/>
                      <a:pt x="172" y="33"/>
                    </a:cubicBezTo>
                    <a:cubicBezTo>
                      <a:pt x="177" y="33"/>
                      <a:pt x="180" y="29"/>
                      <a:pt x="180" y="25"/>
                    </a:cubicBezTo>
                    <a:cubicBezTo>
                      <a:pt x="180" y="9"/>
                      <a:pt x="180" y="9"/>
                      <a:pt x="180" y="9"/>
                    </a:cubicBezTo>
                    <a:cubicBezTo>
                      <a:pt x="180" y="4"/>
                      <a:pt x="177" y="1"/>
                      <a:pt x="172" y="1"/>
                    </a:cubicBezTo>
                    <a:close/>
                    <a:moveTo>
                      <a:pt x="172" y="159"/>
                    </a:moveTo>
                    <a:cubicBezTo>
                      <a:pt x="168" y="159"/>
                      <a:pt x="164" y="162"/>
                      <a:pt x="164" y="167"/>
                    </a:cubicBezTo>
                    <a:cubicBezTo>
                      <a:pt x="164" y="202"/>
                      <a:pt x="164" y="202"/>
                      <a:pt x="164" y="202"/>
                    </a:cubicBezTo>
                    <a:cubicBezTo>
                      <a:pt x="164" y="207"/>
                      <a:pt x="168" y="210"/>
                      <a:pt x="172" y="210"/>
                    </a:cubicBezTo>
                    <a:cubicBezTo>
                      <a:pt x="177" y="210"/>
                      <a:pt x="180" y="207"/>
                      <a:pt x="180" y="202"/>
                    </a:cubicBezTo>
                    <a:cubicBezTo>
                      <a:pt x="180" y="167"/>
                      <a:pt x="180" y="167"/>
                      <a:pt x="180" y="167"/>
                    </a:cubicBezTo>
                    <a:cubicBezTo>
                      <a:pt x="180" y="162"/>
                      <a:pt x="177" y="159"/>
                      <a:pt x="172" y="159"/>
                    </a:cubicBezTo>
                    <a:close/>
                    <a:moveTo>
                      <a:pt x="172" y="70"/>
                    </a:moveTo>
                    <a:cubicBezTo>
                      <a:pt x="168" y="70"/>
                      <a:pt x="164" y="74"/>
                      <a:pt x="164" y="78"/>
                    </a:cubicBezTo>
                    <a:cubicBezTo>
                      <a:pt x="164" y="114"/>
                      <a:pt x="164" y="114"/>
                      <a:pt x="164" y="114"/>
                    </a:cubicBezTo>
                    <a:cubicBezTo>
                      <a:pt x="164" y="118"/>
                      <a:pt x="168" y="122"/>
                      <a:pt x="172" y="122"/>
                    </a:cubicBezTo>
                    <a:cubicBezTo>
                      <a:pt x="177" y="122"/>
                      <a:pt x="180" y="118"/>
                      <a:pt x="180" y="114"/>
                    </a:cubicBezTo>
                    <a:cubicBezTo>
                      <a:pt x="180" y="78"/>
                      <a:pt x="180" y="78"/>
                      <a:pt x="180" y="78"/>
                    </a:cubicBezTo>
                    <a:cubicBezTo>
                      <a:pt x="180" y="74"/>
                      <a:pt x="177" y="70"/>
                      <a:pt x="172" y="70"/>
                    </a:cubicBezTo>
                    <a:close/>
                    <a:moveTo>
                      <a:pt x="172" y="247"/>
                    </a:moveTo>
                    <a:cubicBezTo>
                      <a:pt x="168" y="247"/>
                      <a:pt x="164" y="251"/>
                      <a:pt x="164" y="255"/>
                    </a:cubicBezTo>
                    <a:cubicBezTo>
                      <a:pt x="164" y="271"/>
                      <a:pt x="164" y="271"/>
                      <a:pt x="164" y="271"/>
                    </a:cubicBezTo>
                    <a:cubicBezTo>
                      <a:pt x="164" y="276"/>
                      <a:pt x="168" y="279"/>
                      <a:pt x="172" y="279"/>
                    </a:cubicBezTo>
                    <a:cubicBezTo>
                      <a:pt x="177" y="279"/>
                      <a:pt x="180" y="276"/>
                      <a:pt x="180" y="271"/>
                    </a:cubicBezTo>
                    <a:cubicBezTo>
                      <a:pt x="180" y="255"/>
                      <a:pt x="180" y="255"/>
                      <a:pt x="180" y="255"/>
                    </a:cubicBezTo>
                    <a:cubicBezTo>
                      <a:pt x="180" y="251"/>
                      <a:pt x="177" y="247"/>
                      <a:pt x="172" y="247"/>
                    </a:cubicBezTo>
                    <a:close/>
                    <a:moveTo>
                      <a:pt x="235" y="30"/>
                    </a:moveTo>
                    <a:cubicBezTo>
                      <a:pt x="224" y="6"/>
                      <a:pt x="224" y="6"/>
                      <a:pt x="224" y="6"/>
                    </a:cubicBezTo>
                    <a:cubicBezTo>
                      <a:pt x="222" y="2"/>
                      <a:pt x="218" y="0"/>
                      <a:pt x="213" y="2"/>
                    </a:cubicBezTo>
                    <a:cubicBezTo>
                      <a:pt x="209" y="3"/>
                      <a:pt x="208" y="8"/>
                      <a:pt x="209" y="12"/>
                    </a:cubicBezTo>
                    <a:cubicBezTo>
                      <a:pt x="220" y="36"/>
                      <a:pt x="220" y="36"/>
                      <a:pt x="220" y="36"/>
                    </a:cubicBezTo>
                    <a:cubicBezTo>
                      <a:pt x="222" y="39"/>
                      <a:pt x="224" y="41"/>
                      <a:pt x="227" y="41"/>
                    </a:cubicBezTo>
                    <a:cubicBezTo>
                      <a:pt x="229" y="41"/>
                      <a:pt x="230" y="41"/>
                      <a:pt x="231" y="41"/>
                    </a:cubicBezTo>
                    <a:cubicBezTo>
                      <a:pt x="235" y="39"/>
                      <a:pt x="237" y="34"/>
                      <a:pt x="235" y="30"/>
                    </a:cubicBezTo>
                    <a:close/>
                    <a:moveTo>
                      <a:pt x="343" y="273"/>
                    </a:moveTo>
                    <a:cubicBezTo>
                      <a:pt x="248" y="60"/>
                      <a:pt x="248" y="60"/>
                      <a:pt x="248" y="60"/>
                    </a:cubicBezTo>
                    <a:cubicBezTo>
                      <a:pt x="246" y="56"/>
                      <a:pt x="241" y="54"/>
                      <a:pt x="237" y="56"/>
                    </a:cubicBezTo>
                    <a:cubicBezTo>
                      <a:pt x="233" y="58"/>
                      <a:pt x="232" y="62"/>
                      <a:pt x="233" y="66"/>
                    </a:cubicBezTo>
                    <a:cubicBezTo>
                      <a:pt x="328" y="280"/>
                      <a:pt x="328" y="280"/>
                      <a:pt x="328" y="280"/>
                    </a:cubicBezTo>
                    <a:cubicBezTo>
                      <a:pt x="329" y="283"/>
                      <a:pt x="332" y="285"/>
                      <a:pt x="335" y="285"/>
                    </a:cubicBezTo>
                    <a:cubicBezTo>
                      <a:pt x="336" y="285"/>
                      <a:pt x="337" y="285"/>
                      <a:pt x="339" y="284"/>
                    </a:cubicBezTo>
                    <a:cubicBezTo>
                      <a:pt x="343" y="282"/>
                      <a:pt x="344" y="278"/>
                      <a:pt x="343" y="2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04" name="Freeform 3"/>
              <p:cNvSpPr>
                <a:spLocks noChangeAspect="1" noEditPoints="1"/>
              </p:cNvSpPr>
              <p:nvPr/>
            </p:nvSpPr>
            <p:spPr bwMode="auto">
              <a:xfrm>
                <a:off x="5769598" y="3847891"/>
                <a:ext cx="95345" cy="148743"/>
              </a:xfrm>
              <a:custGeom>
                <a:avLst/>
                <a:gdLst>
                  <a:gd name="T0" fmla="*/ 2147483647 w 241"/>
                  <a:gd name="T1" fmla="*/ 2147483647 h 384"/>
                  <a:gd name="T2" fmla="*/ 2147483647 w 241"/>
                  <a:gd name="T3" fmla="*/ 2147483647 h 384"/>
                  <a:gd name="T4" fmla="*/ 2147483647 w 241"/>
                  <a:gd name="T5" fmla="*/ 2147483647 h 384"/>
                  <a:gd name="T6" fmla="*/ 2147483647 w 241"/>
                  <a:gd name="T7" fmla="*/ 2147483647 h 384"/>
                  <a:gd name="T8" fmla="*/ 2147483647 w 241"/>
                  <a:gd name="T9" fmla="*/ 2147483647 h 384"/>
                  <a:gd name="T10" fmla="*/ 2147483647 w 241"/>
                  <a:gd name="T11" fmla="*/ 2147483647 h 384"/>
                  <a:gd name="T12" fmla="*/ 2147483647 w 241"/>
                  <a:gd name="T13" fmla="*/ 2147483647 h 384"/>
                  <a:gd name="T14" fmla="*/ 2147483647 w 241"/>
                  <a:gd name="T15" fmla="*/ 0 h 384"/>
                  <a:gd name="T16" fmla="*/ 0 w 241"/>
                  <a:gd name="T17" fmla="*/ 2147483647 h 384"/>
                  <a:gd name="T18" fmla="*/ 2147483647 w 241"/>
                  <a:gd name="T19" fmla="*/ 2147483647 h 384"/>
                  <a:gd name="T20" fmla="*/ 2147483647 w 241"/>
                  <a:gd name="T21" fmla="*/ 2147483647 h 384"/>
                  <a:gd name="T22" fmla="*/ 2147483647 w 241"/>
                  <a:gd name="T23" fmla="*/ 2147483647 h 384"/>
                  <a:gd name="T24" fmla="*/ 2147483647 w 241"/>
                  <a:gd name="T25" fmla="*/ 2147483647 h 384"/>
                  <a:gd name="T26" fmla="*/ 2147483647 w 241"/>
                  <a:gd name="T27" fmla="*/ 2147483647 h 384"/>
                  <a:gd name="T28" fmla="*/ 2147483647 w 241"/>
                  <a:gd name="T29" fmla="*/ 2147483647 h 384"/>
                  <a:gd name="T30" fmla="*/ 2147483647 w 241"/>
                  <a:gd name="T31" fmla="*/ 2147483647 h 384"/>
                  <a:gd name="T32" fmla="*/ 2147483647 w 241"/>
                  <a:gd name="T33" fmla="*/ 2147483647 h 384"/>
                  <a:gd name="T34" fmla="*/ 2147483647 w 241"/>
                  <a:gd name="T35" fmla="*/ 2147483647 h 384"/>
                  <a:gd name="T36" fmla="*/ 2147483647 w 241"/>
                  <a:gd name="T37" fmla="*/ 2147483647 h 384"/>
                  <a:gd name="T38" fmla="*/ 2147483647 w 241"/>
                  <a:gd name="T39" fmla="*/ 2147483647 h 384"/>
                  <a:gd name="T40" fmla="*/ 2147483647 w 241"/>
                  <a:gd name="T41" fmla="*/ 2147483647 h 384"/>
                  <a:gd name="T42" fmla="*/ 2147483647 w 241"/>
                  <a:gd name="T43" fmla="*/ 2147483647 h 384"/>
                  <a:gd name="T44" fmla="*/ 2147483647 w 241"/>
                  <a:gd name="T45" fmla="*/ 2147483647 h 384"/>
                  <a:gd name="T46" fmla="*/ 2147483647 w 241"/>
                  <a:gd name="T47" fmla="*/ 2147483647 h 384"/>
                  <a:gd name="T48" fmla="*/ 2147483647 w 241"/>
                  <a:gd name="T49" fmla="*/ 2147483647 h 384"/>
                  <a:gd name="T50" fmla="*/ 2147483647 w 241"/>
                  <a:gd name="T51" fmla="*/ 2147483647 h 384"/>
                  <a:gd name="T52" fmla="*/ 2147483647 w 241"/>
                  <a:gd name="T53" fmla="*/ 2147483647 h 384"/>
                  <a:gd name="T54" fmla="*/ 2147483647 w 241"/>
                  <a:gd name="T55" fmla="*/ 2147483647 h 384"/>
                  <a:gd name="T56" fmla="*/ 2147483647 w 241"/>
                  <a:gd name="T57" fmla="*/ 2147483647 h 384"/>
                  <a:gd name="T58" fmla="*/ 2147483647 w 241"/>
                  <a:gd name="T59" fmla="*/ 2147483647 h 384"/>
                  <a:gd name="T60" fmla="*/ 2147483647 w 241"/>
                  <a:gd name="T61" fmla="*/ 2147483647 h 384"/>
                  <a:gd name="T62" fmla="*/ 2147483647 w 241"/>
                  <a:gd name="T63" fmla="*/ 2147483647 h 384"/>
                  <a:gd name="T64" fmla="*/ 2147483647 w 241"/>
                  <a:gd name="T65" fmla="*/ 2147483647 h 384"/>
                  <a:gd name="T66" fmla="*/ 2147483647 w 241"/>
                  <a:gd name="T67" fmla="*/ 2147483647 h 384"/>
                  <a:gd name="T68" fmla="*/ 2147483647 w 241"/>
                  <a:gd name="T69" fmla="*/ 2147483647 h 384"/>
                  <a:gd name="T70" fmla="*/ 2147483647 w 241"/>
                  <a:gd name="T71" fmla="*/ 2147483647 h 384"/>
                  <a:gd name="T72" fmla="*/ 2147483647 w 241"/>
                  <a:gd name="T73" fmla="*/ 2147483647 h 384"/>
                  <a:gd name="T74" fmla="*/ 2147483647 w 241"/>
                  <a:gd name="T75" fmla="*/ 2147483647 h 384"/>
                  <a:gd name="T76" fmla="*/ 2147483647 w 241"/>
                  <a:gd name="T77" fmla="*/ 2147483647 h 384"/>
                  <a:gd name="T78" fmla="*/ 2147483647 w 241"/>
                  <a:gd name="T79" fmla="*/ 2147483647 h 384"/>
                  <a:gd name="T80" fmla="*/ 2147483647 w 241"/>
                  <a:gd name="T81" fmla="*/ 2147483647 h 384"/>
                  <a:gd name="T82" fmla="*/ 2147483647 w 241"/>
                  <a:gd name="T83" fmla="*/ 2147483647 h 384"/>
                  <a:gd name="T84" fmla="*/ 2147483647 w 241"/>
                  <a:gd name="T85" fmla="*/ 2147483647 h 384"/>
                  <a:gd name="T86" fmla="*/ 2147483647 w 241"/>
                  <a:gd name="T87" fmla="*/ 2147483647 h 384"/>
                  <a:gd name="T88" fmla="*/ 2147483647 w 241"/>
                  <a:gd name="T89" fmla="*/ 2147483647 h 384"/>
                  <a:gd name="T90" fmla="*/ 2147483647 w 241"/>
                  <a:gd name="T91" fmla="*/ 2147483647 h 384"/>
                  <a:gd name="T92" fmla="*/ 2147483647 w 241"/>
                  <a:gd name="T93" fmla="*/ 2147483647 h 384"/>
                  <a:gd name="T94" fmla="*/ 2147483647 w 241"/>
                  <a:gd name="T95" fmla="*/ 2147483647 h 384"/>
                  <a:gd name="T96" fmla="*/ 2147483647 w 241"/>
                  <a:gd name="T97" fmla="*/ 2147483647 h 384"/>
                  <a:gd name="T98" fmla="*/ 2147483647 w 241"/>
                  <a:gd name="T99" fmla="*/ 2147483647 h 384"/>
                  <a:gd name="T100" fmla="*/ 2147483647 w 241"/>
                  <a:gd name="T101" fmla="*/ 2147483647 h 384"/>
                  <a:gd name="T102" fmla="*/ 2147483647 w 241"/>
                  <a:gd name="T103" fmla="*/ 2147483647 h 38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241" h="384">
                    <a:moveTo>
                      <a:pt x="117" y="356"/>
                    </a:moveTo>
                    <a:cubicBezTo>
                      <a:pt x="127" y="356"/>
                      <a:pt x="135" y="348"/>
                      <a:pt x="135" y="339"/>
                    </a:cubicBezTo>
                    <a:cubicBezTo>
                      <a:pt x="135" y="329"/>
                      <a:pt x="127" y="321"/>
                      <a:pt x="117" y="321"/>
                    </a:cubicBezTo>
                    <a:cubicBezTo>
                      <a:pt x="107" y="321"/>
                      <a:pt x="99" y="329"/>
                      <a:pt x="99" y="339"/>
                    </a:cubicBezTo>
                    <a:cubicBezTo>
                      <a:pt x="99" y="348"/>
                      <a:pt x="107" y="356"/>
                      <a:pt x="117" y="356"/>
                    </a:cubicBezTo>
                    <a:close/>
                    <a:moveTo>
                      <a:pt x="135" y="26"/>
                    </a:moveTo>
                    <a:cubicBezTo>
                      <a:pt x="99" y="26"/>
                      <a:pt x="99" y="26"/>
                      <a:pt x="99" y="26"/>
                    </a:cubicBezTo>
                    <a:cubicBezTo>
                      <a:pt x="95" y="26"/>
                      <a:pt x="91" y="30"/>
                      <a:pt x="91" y="34"/>
                    </a:cubicBezTo>
                    <a:cubicBezTo>
                      <a:pt x="91" y="39"/>
                      <a:pt x="95" y="42"/>
                      <a:pt x="99" y="42"/>
                    </a:cubicBezTo>
                    <a:cubicBezTo>
                      <a:pt x="135" y="42"/>
                      <a:pt x="135" y="42"/>
                      <a:pt x="135" y="42"/>
                    </a:cubicBezTo>
                    <a:cubicBezTo>
                      <a:pt x="139" y="42"/>
                      <a:pt x="143" y="39"/>
                      <a:pt x="143" y="34"/>
                    </a:cubicBezTo>
                    <a:cubicBezTo>
                      <a:pt x="143" y="30"/>
                      <a:pt x="139" y="26"/>
                      <a:pt x="135" y="26"/>
                    </a:cubicBezTo>
                    <a:close/>
                    <a:moveTo>
                      <a:pt x="233" y="91"/>
                    </a:moveTo>
                    <a:cubicBezTo>
                      <a:pt x="237" y="91"/>
                      <a:pt x="241" y="87"/>
                      <a:pt x="241" y="83"/>
                    </a:cubicBezTo>
                    <a:cubicBezTo>
                      <a:pt x="241" y="19"/>
                      <a:pt x="241" y="19"/>
                      <a:pt x="241" y="19"/>
                    </a:cubicBezTo>
                    <a:cubicBezTo>
                      <a:pt x="241" y="9"/>
                      <a:pt x="232" y="0"/>
                      <a:pt x="221" y="0"/>
                    </a:cubicBezTo>
                    <a:cubicBezTo>
                      <a:pt x="19" y="0"/>
                      <a:pt x="19" y="0"/>
                      <a:pt x="19" y="0"/>
                    </a:cubicBezTo>
                    <a:cubicBezTo>
                      <a:pt x="8" y="0"/>
                      <a:pt x="0" y="9"/>
                      <a:pt x="0" y="19"/>
                    </a:cubicBezTo>
                    <a:cubicBezTo>
                      <a:pt x="0" y="364"/>
                      <a:pt x="0" y="364"/>
                      <a:pt x="0" y="364"/>
                    </a:cubicBezTo>
                    <a:cubicBezTo>
                      <a:pt x="0" y="375"/>
                      <a:pt x="8" y="384"/>
                      <a:pt x="19" y="384"/>
                    </a:cubicBezTo>
                    <a:cubicBezTo>
                      <a:pt x="221" y="384"/>
                      <a:pt x="221" y="384"/>
                      <a:pt x="221" y="384"/>
                    </a:cubicBezTo>
                    <a:cubicBezTo>
                      <a:pt x="232" y="384"/>
                      <a:pt x="241" y="375"/>
                      <a:pt x="241" y="364"/>
                    </a:cubicBezTo>
                    <a:cubicBezTo>
                      <a:pt x="241" y="114"/>
                      <a:pt x="241" y="114"/>
                      <a:pt x="241" y="114"/>
                    </a:cubicBezTo>
                    <a:cubicBezTo>
                      <a:pt x="241" y="110"/>
                      <a:pt x="237" y="106"/>
                      <a:pt x="233" y="106"/>
                    </a:cubicBezTo>
                    <a:cubicBezTo>
                      <a:pt x="228" y="106"/>
                      <a:pt x="225" y="110"/>
                      <a:pt x="225" y="114"/>
                    </a:cubicBezTo>
                    <a:cubicBezTo>
                      <a:pt x="225" y="296"/>
                      <a:pt x="225" y="296"/>
                      <a:pt x="225" y="296"/>
                    </a:cubicBezTo>
                    <a:cubicBezTo>
                      <a:pt x="16" y="296"/>
                      <a:pt x="16" y="296"/>
                      <a:pt x="16" y="296"/>
                    </a:cubicBezTo>
                    <a:cubicBezTo>
                      <a:pt x="16" y="69"/>
                      <a:pt x="16" y="69"/>
                      <a:pt x="16" y="69"/>
                    </a:cubicBezTo>
                    <a:cubicBezTo>
                      <a:pt x="225" y="69"/>
                      <a:pt x="225" y="69"/>
                      <a:pt x="225" y="69"/>
                    </a:cubicBezTo>
                    <a:cubicBezTo>
                      <a:pt x="225" y="83"/>
                      <a:pt x="225" y="83"/>
                      <a:pt x="225" y="83"/>
                    </a:cubicBezTo>
                    <a:cubicBezTo>
                      <a:pt x="225" y="87"/>
                      <a:pt x="228" y="91"/>
                      <a:pt x="233" y="91"/>
                    </a:cubicBezTo>
                    <a:close/>
                    <a:moveTo>
                      <a:pt x="225" y="312"/>
                    </a:moveTo>
                    <a:cubicBezTo>
                      <a:pt x="225" y="364"/>
                      <a:pt x="225" y="364"/>
                      <a:pt x="225" y="364"/>
                    </a:cubicBezTo>
                    <a:cubicBezTo>
                      <a:pt x="225" y="366"/>
                      <a:pt x="223" y="368"/>
                      <a:pt x="221" y="368"/>
                    </a:cubicBezTo>
                    <a:cubicBezTo>
                      <a:pt x="19" y="368"/>
                      <a:pt x="19" y="368"/>
                      <a:pt x="19" y="368"/>
                    </a:cubicBezTo>
                    <a:cubicBezTo>
                      <a:pt x="17" y="368"/>
                      <a:pt x="16" y="366"/>
                      <a:pt x="16" y="364"/>
                    </a:cubicBezTo>
                    <a:cubicBezTo>
                      <a:pt x="16" y="312"/>
                      <a:pt x="16" y="312"/>
                      <a:pt x="16" y="312"/>
                    </a:cubicBezTo>
                    <a:lnTo>
                      <a:pt x="225" y="312"/>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14" y="137"/>
                    </a:moveTo>
                    <a:cubicBezTo>
                      <a:pt x="114" y="142"/>
                      <a:pt x="114" y="142"/>
                      <a:pt x="114" y="142"/>
                    </a:cubicBezTo>
                    <a:cubicBezTo>
                      <a:pt x="111" y="143"/>
                      <a:pt x="109" y="143"/>
                      <a:pt x="106" y="144"/>
                    </a:cubicBezTo>
                    <a:cubicBezTo>
                      <a:pt x="103" y="146"/>
                      <a:pt x="99" y="148"/>
                      <a:pt x="96" y="151"/>
                    </a:cubicBezTo>
                    <a:cubicBezTo>
                      <a:pt x="93" y="154"/>
                      <a:pt x="91" y="159"/>
                      <a:pt x="91" y="165"/>
                    </a:cubicBezTo>
                    <a:cubicBezTo>
                      <a:pt x="91" y="170"/>
                      <a:pt x="92" y="174"/>
                      <a:pt x="94" y="178"/>
                    </a:cubicBezTo>
                    <a:cubicBezTo>
                      <a:pt x="98" y="183"/>
                      <a:pt x="103" y="186"/>
                      <a:pt x="108" y="188"/>
                    </a:cubicBezTo>
                    <a:cubicBezTo>
                      <a:pt x="113" y="189"/>
                      <a:pt x="117" y="190"/>
                      <a:pt x="120" y="190"/>
                    </a:cubicBezTo>
                    <a:cubicBezTo>
                      <a:pt x="123" y="191"/>
                      <a:pt x="127" y="192"/>
                      <a:pt x="131" y="194"/>
                    </a:cubicBezTo>
                    <a:cubicBezTo>
                      <a:pt x="134" y="195"/>
                      <a:pt x="137" y="197"/>
                      <a:pt x="138" y="200"/>
                    </a:cubicBezTo>
                    <a:cubicBezTo>
                      <a:pt x="138" y="201"/>
                      <a:pt x="138" y="202"/>
                      <a:pt x="138" y="204"/>
                    </a:cubicBezTo>
                    <a:cubicBezTo>
                      <a:pt x="138" y="206"/>
                      <a:pt x="138" y="207"/>
                      <a:pt x="137" y="209"/>
                    </a:cubicBezTo>
                    <a:cubicBezTo>
                      <a:pt x="135" y="210"/>
                      <a:pt x="132" y="212"/>
                      <a:pt x="128" y="213"/>
                    </a:cubicBezTo>
                    <a:cubicBezTo>
                      <a:pt x="125" y="214"/>
                      <a:pt x="121" y="214"/>
                      <a:pt x="121" y="214"/>
                    </a:cubicBezTo>
                    <a:cubicBezTo>
                      <a:pt x="121" y="214"/>
                      <a:pt x="121" y="214"/>
                      <a:pt x="121" y="214"/>
                    </a:cubicBezTo>
                    <a:cubicBezTo>
                      <a:pt x="116" y="214"/>
                      <a:pt x="111" y="212"/>
                      <a:pt x="107" y="210"/>
                    </a:cubicBezTo>
                    <a:cubicBezTo>
                      <a:pt x="105" y="209"/>
                      <a:pt x="103" y="208"/>
                      <a:pt x="102" y="207"/>
                    </a:cubicBezTo>
                    <a:cubicBezTo>
                      <a:pt x="102" y="207"/>
                      <a:pt x="101" y="206"/>
                      <a:pt x="101" y="206"/>
                    </a:cubicBezTo>
                    <a:cubicBezTo>
                      <a:pt x="101" y="206"/>
                      <a:pt x="101" y="206"/>
                      <a:pt x="101" y="206"/>
                    </a:cubicBezTo>
                    <a:cubicBezTo>
                      <a:pt x="98" y="203"/>
                      <a:pt x="93" y="204"/>
                      <a:pt x="91" y="207"/>
                    </a:cubicBezTo>
                    <a:cubicBezTo>
                      <a:pt x="89" y="210"/>
                      <a:pt x="89" y="214"/>
                      <a:pt x="92" y="217"/>
                    </a:cubicBezTo>
                    <a:cubicBezTo>
                      <a:pt x="92" y="217"/>
                      <a:pt x="101" y="224"/>
                      <a:pt x="114" y="227"/>
                    </a:cubicBezTo>
                    <a:cubicBezTo>
                      <a:pt x="114" y="233"/>
                      <a:pt x="114" y="233"/>
                      <a:pt x="114" y="233"/>
                    </a:cubicBezTo>
                    <a:cubicBezTo>
                      <a:pt x="114" y="236"/>
                      <a:pt x="117" y="240"/>
                      <a:pt x="121" y="240"/>
                    </a:cubicBezTo>
                    <a:cubicBezTo>
                      <a:pt x="125" y="240"/>
                      <a:pt x="128" y="236"/>
                      <a:pt x="128" y="233"/>
                    </a:cubicBezTo>
                    <a:cubicBezTo>
                      <a:pt x="128" y="227"/>
                      <a:pt x="128" y="227"/>
                      <a:pt x="128" y="227"/>
                    </a:cubicBezTo>
                    <a:cubicBezTo>
                      <a:pt x="130" y="227"/>
                      <a:pt x="133" y="226"/>
                      <a:pt x="136" y="225"/>
                    </a:cubicBezTo>
                    <a:cubicBezTo>
                      <a:pt x="140" y="223"/>
                      <a:pt x="144" y="221"/>
                      <a:pt x="147" y="218"/>
                    </a:cubicBezTo>
                    <a:cubicBezTo>
                      <a:pt x="150" y="214"/>
                      <a:pt x="152" y="209"/>
                      <a:pt x="152" y="203"/>
                    </a:cubicBezTo>
                    <a:cubicBezTo>
                      <a:pt x="152" y="200"/>
                      <a:pt x="152" y="197"/>
                      <a:pt x="150" y="194"/>
                    </a:cubicBezTo>
                    <a:cubicBezTo>
                      <a:pt x="148" y="187"/>
                      <a:pt x="142" y="183"/>
                      <a:pt x="136" y="181"/>
                    </a:cubicBezTo>
                    <a:cubicBezTo>
                      <a:pt x="131" y="179"/>
                      <a:pt x="126" y="178"/>
                      <a:pt x="123" y="177"/>
                    </a:cubicBezTo>
                    <a:cubicBezTo>
                      <a:pt x="118" y="176"/>
                      <a:pt x="113" y="175"/>
                      <a:pt x="110" y="173"/>
                    </a:cubicBezTo>
                    <a:cubicBezTo>
                      <a:pt x="108" y="172"/>
                      <a:pt x="107" y="172"/>
                      <a:pt x="106" y="170"/>
                    </a:cubicBezTo>
                    <a:cubicBezTo>
                      <a:pt x="105" y="169"/>
                      <a:pt x="105" y="168"/>
                      <a:pt x="105" y="165"/>
                    </a:cubicBezTo>
                    <a:cubicBezTo>
                      <a:pt x="105" y="163"/>
                      <a:pt x="105" y="162"/>
                      <a:pt x="106" y="160"/>
                    </a:cubicBezTo>
                    <a:cubicBezTo>
                      <a:pt x="108" y="159"/>
                      <a:pt x="111" y="157"/>
                      <a:pt x="114" y="156"/>
                    </a:cubicBezTo>
                    <a:cubicBezTo>
                      <a:pt x="116" y="156"/>
                      <a:pt x="118" y="156"/>
                      <a:pt x="119" y="156"/>
                    </a:cubicBezTo>
                    <a:cubicBezTo>
                      <a:pt x="119" y="156"/>
                      <a:pt x="120" y="156"/>
                      <a:pt x="120" y="156"/>
                    </a:cubicBezTo>
                    <a:cubicBezTo>
                      <a:pt x="120" y="156"/>
                      <a:pt x="120" y="156"/>
                      <a:pt x="120" y="156"/>
                    </a:cubicBezTo>
                    <a:cubicBezTo>
                      <a:pt x="126" y="156"/>
                      <a:pt x="130" y="157"/>
                      <a:pt x="132" y="158"/>
                    </a:cubicBezTo>
                    <a:cubicBezTo>
                      <a:pt x="133" y="158"/>
                      <a:pt x="134" y="159"/>
                      <a:pt x="134" y="159"/>
                    </a:cubicBezTo>
                    <a:cubicBezTo>
                      <a:pt x="135" y="159"/>
                      <a:pt x="135" y="159"/>
                      <a:pt x="135" y="159"/>
                    </a:cubicBezTo>
                    <a:cubicBezTo>
                      <a:pt x="135" y="159"/>
                      <a:pt x="135" y="159"/>
                      <a:pt x="135" y="159"/>
                    </a:cubicBezTo>
                    <a:cubicBezTo>
                      <a:pt x="138" y="162"/>
                      <a:pt x="142" y="162"/>
                      <a:pt x="145" y="159"/>
                    </a:cubicBezTo>
                    <a:cubicBezTo>
                      <a:pt x="147" y="156"/>
                      <a:pt x="147" y="152"/>
                      <a:pt x="144" y="149"/>
                    </a:cubicBezTo>
                    <a:cubicBezTo>
                      <a:pt x="143" y="148"/>
                      <a:pt x="138" y="144"/>
                      <a:pt x="127" y="142"/>
                    </a:cubicBezTo>
                    <a:cubicBezTo>
                      <a:pt x="127" y="137"/>
                      <a:pt x="127" y="137"/>
                      <a:pt x="127" y="137"/>
                    </a:cubicBezTo>
                    <a:cubicBezTo>
                      <a:pt x="127" y="133"/>
                      <a:pt x="124" y="130"/>
                      <a:pt x="121" y="130"/>
                    </a:cubicBezTo>
                    <a:cubicBezTo>
                      <a:pt x="117" y="130"/>
                      <a:pt x="114" y="133"/>
                      <a:pt x="114" y="137"/>
                    </a:cubicBezTo>
                    <a:close/>
                    <a:moveTo>
                      <a:pt x="34" y="185"/>
                    </a:moveTo>
                    <a:cubicBezTo>
                      <a:pt x="34" y="233"/>
                      <a:pt x="73" y="272"/>
                      <a:pt x="121" y="272"/>
                    </a:cubicBezTo>
                    <a:cubicBezTo>
                      <a:pt x="169" y="272"/>
                      <a:pt x="208" y="233"/>
                      <a:pt x="208" y="185"/>
                    </a:cubicBezTo>
                    <a:cubicBezTo>
                      <a:pt x="208" y="137"/>
                      <a:pt x="169" y="98"/>
                      <a:pt x="121" y="98"/>
                    </a:cubicBezTo>
                    <a:cubicBezTo>
                      <a:pt x="73" y="98"/>
                      <a:pt x="34" y="137"/>
                      <a:pt x="34" y="185"/>
                    </a:cubicBezTo>
                    <a:close/>
                    <a:moveTo>
                      <a:pt x="192" y="185"/>
                    </a:moveTo>
                    <a:cubicBezTo>
                      <a:pt x="192" y="224"/>
                      <a:pt x="160" y="256"/>
                      <a:pt x="121" y="256"/>
                    </a:cubicBezTo>
                    <a:cubicBezTo>
                      <a:pt x="82" y="256"/>
                      <a:pt x="50" y="224"/>
                      <a:pt x="50" y="185"/>
                    </a:cubicBezTo>
                    <a:cubicBezTo>
                      <a:pt x="50" y="146"/>
                      <a:pt x="82" y="114"/>
                      <a:pt x="121" y="114"/>
                    </a:cubicBezTo>
                    <a:cubicBezTo>
                      <a:pt x="160" y="114"/>
                      <a:pt x="192" y="146"/>
                      <a:pt x="192" y="1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05" name="Freeform 3"/>
              <p:cNvSpPr>
                <a:spLocks noChangeAspect="1" noEditPoints="1"/>
              </p:cNvSpPr>
              <p:nvPr/>
            </p:nvSpPr>
            <p:spPr bwMode="auto">
              <a:xfrm>
                <a:off x="4448685" y="3423879"/>
                <a:ext cx="142092" cy="138246"/>
              </a:xfrm>
              <a:custGeom>
                <a:avLst/>
                <a:gdLst>
                  <a:gd name="T0" fmla="*/ 2147483647 w 359"/>
                  <a:gd name="T1" fmla="*/ 2147483647 h 357"/>
                  <a:gd name="T2" fmla="*/ 2147483647 w 359"/>
                  <a:gd name="T3" fmla="*/ 2147483647 h 357"/>
                  <a:gd name="T4" fmla="*/ 2147483647 w 359"/>
                  <a:gd name="T5" fmla="*/ 2147483647 h 357"/>
                  <a:gd name="T6" fmla="*/ 2147483647 w 359"/>
                  <a:gd name="T7" fmla="*/ 2147483647 h 357"/>
                  <a:gd name="T8" fmla="*/ 2147483647 w 359"/>
                  <a:gd name="T9" fmla="*/ 2147483647 h 357"/>
                  <a:gd name="T10" fmla="*/ 2147483647 w 359"/>
                  <a:gd name="T11" fmla="*/ 2147483647 h 357"/>
                  <a:gd name="T12" fmla="*/ 2147483647 w 359"/>
                  <a:gd name="T13" fmla="*/ 2147483647 h 357"/>
                  <a:gd name="T14" fmla="*/ 2147483647 w 359"/>
                  <a:gd name="T15" fmla="*/ 2147483647 h 357"/>
                  <a:gd name="T16" fmla="*/ 2147483647 w 359"/>
                  <a:gd name="T17" fmla="*/ 2147483647 h 357"/>
                  <a:gd name="T18" fmla="*/ 2147483647 w 359"/>
                  <a:gd name="T19" fmla="*/ 2147483647 h 357"/>
                  <a:gd name="T20" fmla="*/ 2147483647 w 359"/>
                  <a:gd name="T21" fmla="*/ 2147483647 h 357"/>
                  <a:gd name="T22" fmla="*/ 2147483647 w 359"/>
                  <a:gd name="T23" fmla="*/ 2147483647 h 357"/>
                  <a:gd name="T24" fmla="*/ 2147483647 w 359"/>
                  <a:gd name="T25" fmla="*/ 2147483647 h 357"/>
                  <a:gd name="T26" fmla="*/ 2147483647 w 359"/>
                  <a:gd name="T27" fmla="*/ 2147483647 h 357"/>
                  <a:gd name="T28" fmla="*/ 2147483647 w 359"/>
                  <a:gd name="T29" fmla="*/ 2147483647 h 357"/>
                  <a:gd name="T30" fmla="*/ 2147483647 w 359"/>
                  <a:gd name="T31" fmla="*/ 2147483647 h 357"/>
                  <a:gd name="T32" fmla="*/ 2147483647 w 359"/>
                  <a:gd name="T33" fmla="*/ 2147483647 h 357"/>
                  <a:gd name="T34" fmla="*/ 2147483647 w 359"/>
                  <a:gd name="T35" fmla="*/ 2147483647 h 357"/>
                  <a:gd name="T36" fmla="*/ 2147483647 w 359"/>
                  <a:gd name="T37" fmla="*/ 2147483647 h 357"/>
                  <a:gd name="T38" fmla="*/ 2147483647 w 359"/>
                  <a:gd name="T39" fmla="*/ 2147483647 h 357"/>
                  <a:gd name="T40" fmla="*/ 2147483647 w 359"/>
                  <a:gd name="T41" fmla="*/ 2147483647 h 357"/>
                  <a:gd name="T42" fmla="*/ 2147483647 w 359"/>
                  <a:gd name="T43" fmla="*/ 2147483647 h 357"/>
                  <a:gd name="T44" fmla="*/ 2147483647 w 359"/>
                  <a:gd name="T45" fmla="*/ 2147483647 h 357"/>
                  <a:gd name="T46" fmla="*/ 2147483647 w 359"/>
                  <a:gd name="T47" fmla="*/ 2147483647 h 357"/>
                  <a:gd name="T48" fmla="*/ 2147483647 w 359"/>
                  <a:gd name="T49" fmla="*/ 2147483647 h 357"/>
                  <a:gd name="T50" fmla="*/ 2147483647 w 359"/>
                  <a:gd name="T51" fmla="*/ 2147483647 h 357"/>
                  <a:gd name="T52" fmla="*/ 2147483647 w 359"/>
                  <a:gd name="T53" fmla="*/ 2147483647 h 357"/>
                  <a:gd name="T54" fmla="*/ 2147483647 w 359"/>
                  <a:gd name="T55" fmla="*/ 2147483647 h 357"/>
                  <a:gd name="T56" fmla="*/ 2147483647 w 359"/>
                  <a:gd name="T57" fmla="*/ 2147483647 h 357"/>
                  <a:gd name="T58" fmla="*/ 2147483647 w 359"/>
                  <a:gd name="T59" fmla="*/ 2147483647 h 357"/>
                  <a:gd name="T60" fmla="*/ 2147483647 w 359"/>
                  <a:gd name="T61" fmla="*/ 2147483647 h 357"/>
                  <a:gd name="T62" fmla="*/ 2147483647 w 359"/>
                  <a:gd name="T63" fmla="*/ 2147483647 h 357"/>
                  <a:gd name="T64" fmla="*/ 2147483647 w 359"/>
                  <a:gd name="T65" fmla="*/ 2147483647 h 357"/>
                  <a:gd name="T66" fmla="*/ 2147483647 w 359"/>
                  <a:gd name="T67" fmla="*/ 2147483647 h 357"/>
                  <a:gd name="T68" fmla="*/ 2147483647 w 359"/>
                  <a:gd name="T69" fmla="*/ 2147483647 h 357"/>
                  <a:gd name="T70" fmla="*/ 2147483647 w 359"/>
                  <a:gd name="T71" fmla="*/ 2147483647 h 357"/>
                  <a:gd name="T72" fmla="*/ 2147483647 w 359"/>
                  <a:gd name="T73" fmla="*/ 2147483647 h 357"/>
                  <a:gd name="T74" fmla="*/ 2147483647 w 359"/>
                  <a:gd name="T75" fmla="*/ 2147483647 h 357"/>
                  <a:gd name="T76" fmla="*/ 2147483647 w 359"/>
                  <a:gd name="T77" fmla="*/ 2147483647 h 357"/>
                  <a:gd name="T78" fmla="*/ 2147483647 w 359"/>
                  <a:gd name="T79" fmla="*/ 2147483647 h 357"/>
                  <a:gd name="T80" fmla="*/ 2147483647 w 359"/>
                  <a:gd name="T81" fmla="*/ 2147483647 h 357"/>
                  <a:gd name="T82" fmla="*/ 2147483647 w 359"/>
                  <a:gd name="T83" fmla="*/ 2147483647 h 357"/>
                  <a:gd name="T84" fmla="*/ 2147483647 w 359"/>
                  <a:gd name="T85" fmla="*/ 2147483647 h 357"/>
                  <a:gd name="T86" fmla="*/ 2147483647 w 359"/>
                  <a:gd name="T87" fmla="*/ 2147483647 h 357"/>
                  <a:gd name="T88" fmla="*/ 2147483647 w 359"/>
                  <a:gd name="T89" fmla="*/ 2147483647 h 357"/>
                  <a:gd name="T90" fmla="*/ 2147483647 w 359"/>
                  <a:gd name="T91" fmla="*/ 2147483647 h 357"/>
                  <a:gd name="T92" fmla="*/ 2147483647 w 359"/>
                  <a:gd name="T93" fmla="*/ 2147483647 h 357"/>
                  <a:gd name="T94" fmla="*/ 2147483647 w 359"/>
                  <a:gd name="T95" fmla="*/ 2147483647 h 357"/>
                  <a:gd name="T96" fmla="*/ 2147483647 w 359"/>
                  <a:gd name="T97" fmla="*/ 2147483647 h 357"/>
                  <a:gd name="T98" fmla="*/ 2147483647 w 359"/>
                  <a:gd name="T99" fmla="*/ 2147483647 h 357"/>
                  <a:gd name="T100" fmla="*/ 2147483647 w 359"/>
                  <a:gd name="T101" fmla="*/ 2147483647 h 357"/>
                  <a:gd name="T102" fmla="*/ 2147483647 w 359"/>
                  <a:gd name="T103" fmla="*/ 2147483647 h 357"/>
                  <a:gd name="T104" fmla="*/ 2147483647 w 359"/>
                  <a:gd name="T105" fmla="*/ 2147483647 h 357"/>
                  <a:gd name="T106" fmla="*/ 2147483647 w 359"/>
                  <a:gd name="T107" fmla="*/ 2147483647 h 357"/>
                  <a:gd name="T108" fmla="*/ 2147483647 w 359"/>
                  <a:gd name="T109" fmla="*/ 2147483647 h 357"/>
                  <a:gd name="T110" fmla="*/ 2147483647 w 359"/>
                  <a:gd name="T111" fmla="*/ 2147483647 h 357"/>
                  <a:gd name="T112" fmla="*/ 2147483647 w 359"/>
                  <a:gd name="T113" fmla="*/ 2147483647 h 357"/>
                  <a:gd name="T114" fmla="*/ 2147483647 w 359"/>
                  <a:gd name="T115" fmla="*/ 2147483647 h 35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59" h="357">
                    <a:moveTo>
                      <a:pt x="355" y="50"/>
                    </a:moveTo>
                    <a:cubicBezTo>
                      <a:pt x="359" y="34"/>
                      <a:pt x="356" y="21"/>
                      <a:pt x="347" y="12"/>
                    </a:cubicBezTo>
                    <a:cubicBezTo>
                      <a:pt x="338" y="3"/>
                      <a:pt x="325" y="0"/>
                      <a:pt x="310" y="4"/>
                    </a:cubicBezTo>
                    <a:cubicBezTo>
                      <a:pt x="296" y="7"/>
                      <a:pt x="282" y="16"/>
                      <a:pt x="270" y="28"/>
                    </a:cubicBezTo>
                    <a:cubicBezTo>
                      <a:pt x="267" y="30"/>
                      <a:pt x="265" y="33"/>
                      <a:pt x="263" y="35"/>
                    </a:cubicBezTo>
                    <a:cubicBezTo>
                      <a:pt x="243" y="33"/>
                      <a:pt x="243" y="33"/>
                      <a:pt x="243" y="33"/>
                    </a:cubicBezTo>
                    <a:cubicBezTo>
                      <a:pt x="239" y="33"/>
                      <a:pt x="235" y="36"/>
                      <a:pt x="234" y="40"/>
                    </a:cubicBezTo>
                    <a:cubicBezTo>
                      <a:pt x="234" y="45"/>
                      <a:pt x="237" y="49"/>
                      <a:pt x="242" y="49"/>
                    </a:cubicBezTo>
                    <a:cubicBezTo>
                      <a:pt x="253" y="50"/>
                      <a:pt x="253" y="50"/>
                      <a:pt x="253" y="50"/>
                    </a:cubicBezTo>
                    <a:cubicBezTo>
                      <a:pt x="249" y="57"/>
                      <a:pt x="247" y="63"/>
                      <a:pt x="246" y="70"/>
                    </a:cubicBezTo>
                    <a:cubicBezTo>
                      <a:pt x="242" y="71"/>
                      <a:pt x="239" y="73"/>
                      <a:pt x="236" y="76"/>
                    </a:cubicBezTo>
                    <a:cubicBezTo>
                      <a:pt x="223" y="89"/>
                      <a:pt x="223" y="110"/>
                      <a:pt x="236" y="123"/>
                    </a:cubicBezTo>
                    <a:cubicBezTo>
                      <a:pt x="242" y="129"/>
                      <a:pt x="251" y="133"/>
                      <a:pt x="260" y="133"/>
                    </a:cubicBezTo>
                    <a:cubicBezTo>
                      <a:pt x="268" y="133"/>
                      <a:pt x="277" y="129"/>
                      <a:pt x="283" y="123"/>
                    </a:cubicBezTo>
                    <a:cubicBezTo>
                      <a:pt x="296" y="110"/>
                      <a:pt x="296" y="89"/>
                      <a:pt x="283" y="76"/>
                    </a:cubicBezTo>
                    <a:cubicBezTo>
                      <a:pt x="277" y="71"/>
                      <a:pt x="270" y="67"/>
                      <a:pt x="263" y="67"/>
                    </a:cubicBezTo>
                    <a:cubicBezTo>
                      <a:pt x="265" y="62"/>
                      <a:pt x="267" y="57"/>
                      <a:pt x="271" y="52"/>
                    </a:cubicBezTo>
                    <a:cubicBezTo>
                      <a:pt x="304" y="55"/>
                      <a:pt x="304" y="55"/>
                      <a:pt x="304" y="55"/>
                    </a:cubicBezTo>
                    <a:cubicBezTo>
                      <a:pt x="315" y="161"/>
                      <a:pt x="315" y="161"/>
                      <a:pt x="315" y="161"/>
                    </a:cubicBezTo>
                    <a:cubicBezTo>
                      <a:pt x="137" y="339"/>
                      <a:pt x="137" y="339"/>
                      <a:pt x="137" y="339"/>
                    </a:cubicBezTo>
                    <a:cubicBezTo>
                      <a:pt x="134" y="342"/>
                      <a:pt x="129" y="342"/>
                      <a:pt x="126" y="339"/>
                    </a:cubicBezTo>
                    <a:cubicBezTo>
                      <a:pt x="20" y="233"/>
                      <a:pt x="20" y="233"/>
                      <a:pt x="20" y="233"/>
                    </a:cubicBezTo>
                    <a:cubicBezTo>
                      <a:pt x="17" y="230"/>
                      <a:pt x="17" y="225"/>
                      <a:pt x="20" y="222"/>
                    </a:cubicBezTo>
                    <a:cubicBezTo>
                      <a:pt x="198" y="44"/>
                      <a:pt x="198" y="44"/>
                      <a:pt x="198" y="44"/>
                    </a:cubicBezTo>
                    <a:cubicBezTo>
                      <a:pt x="210" y="45"/>
                      <a:pt x="210" y="45"/>
                      <a:pt x="210" y="45"/>
                    </a:cubicBezTo>
                    <a:cubicBezTo>
                      <a:pt x="214" y="46"/>
                      <a:pt x="218" y="43"/>
                      <a:pt x="219" y="38"/>
                    </a:cubicBezTo>
                    <a:cubicBezTo>
                      <a:pt x="219" y="34"/>
                      <a:pt x="216" y="30"/>
                      <a:pt x="212" y="29"/>
                    </a:cubicBezTo>
                    <a:cubicBezTo>
                      <a:pt x="197" y="28"/>
                      <a:pt x="197" y="28"/>
                      <a:pt x="197" y="28"/>
                    </a:cubicBezTo>
                    <a:cubicBezTo>
                      <a:pt x="194" y="27"/>
                      <a:pt x="192" y="28"/>
                      <a:pt x="190" y="30"/>
                    </a:cubicBezTo>
                    <a:cubicBezTo>
                      <a:pt x="9" y="211"/>
                      <a:pt x="9" y="211"/>
                      <a:pt x="9" y="211"/>
                    </a:cubicBezTo>
                    <a:cubicBezTo>
                      <a:pt x="0" y="220"/>
                      <a:pt x="0" y="235"/>
                      <a:pt x="9" y="245"/>
                    </a:cubicBezTo>
                    <a:cubicBezTo>
                      <a:pt x="114" y="350"/>
                      <a:pt x="114" y="350"/>
                      <a:pt x="114" y="350"/>
                    </a:cubicBezTo>
                    <a:cubicBezTo>
                      <a:pt x="119" y="355"/>
                      <a:pt x="125" y="357"/>
                      <a:pt x="131" y="357"/>
                    </a:cubicBezTo>
                    <a:cubicBezTo>
                      <a:pt x="137" y="357"/>
                      <a:pt x="143" y="355"/>
                      <a:pt x="148" y="350"/>
                    </a:cubicBezTo>
                    <a:cubicBezTo>
                      <a:pt x="329" y="169"/>
                      <a:pt x="329" y="169"/>
                      <a:pt x="329" y="169"/>
                    </a:cubicBezTo>
                    <a:cubicBezTo>
                      <a:pt x="331" y="167"/>
                      <a:pt x="332" y="165"/>
                      <a:pt x="331" y="163"/>
                    </a:cubicBezTo>
                    <a:cubicBezTo>
                      <a:pt x="324" y="96"/>
                      <a:pt x="324" y="96"/>
                      <a:pt x="324" y="96"/>
                    </a:cubicBezTo>
                    <a:cubicBezTo>
                      <a:pt x="325" y="96"/>
                      <a:pt x="325" y="95"/>
                      <a:pt x="326" y="95"/>
                    </a:cubicBezTo>
                    <a:cubicBezTo>
                      <a:pt x="340" y="80"/>
                      <a:pt x="350" y="65"/>
                      <a:pt x="355" y="50"/>
                    </a:cubicBezTo>
                    <a:close/>
                    <a:moveTo>
                      <a:pt x="260" y="117"/>
                    </a:moveTo>
                    <a:cubicBezTo>
                      <a:pt x="255" y="117"/>
                      <a:pt x="251" y="115"/>
                      <a:pt x="247" y="112"/>
                    </a:cubicBezTo>
                    <a:cubicBezTo>
                      <a:pt x="242" y="106"/>
                      <a:pt x="241" y="97"/>
                      <a:pt x="245" y="90"/>
                    </a:cubicBezTo>
                    <a:cubicBezTo>
                      <a:pt x="247" y="96"/>
                      <a:pt x="250" y="101"/>
                      <a:pt x="254" y="105"/>
                    </a:cubicBezTo>
                    <a:cubicBezTo>
                      <a:pt x="258" y="109"/>
                      <a:pt x="263" y="112"/>
                      <a:pt x="269" y="114"/>
                    </a:cubicBezTo>
                    <a:cubicBezTo>
                      <a:pt x="266" y="115"/>
                      <a:pt x="263" y="117"/>
                      <a:pt x="260" y="117"/>
                    </a:cubicBezTo>
                    <a:close/>
                    <a:moveTo>
                      <a:pt x="272" y="88"/>
                    </a:moveTo>
                    <a:cubicBezTo>
                      <a:pt x="275" y="91"/>
                      <a:pt x="276" y="95"/>
                      <a:pt x="276" y="99"/>
                    </a:cubicBezTo>
                    <a:cubicBezTo>
                      <a:pt x="272" y="98"/>
                      <a:pt x="268" y="97"/>
                      <a:pt x="265" y="94"/>
                    </a:cubicBezTo>
                    <a:cubicBezTo>
                      <a:pt x="262" y="91"/>
                      <a:pt x="261" y="87"/>
                      <a:pt x="260" y="83"/>
                    </a:cubicBezTo>
                    <a:cubicBezTo>
                      <a:pt x="265" y="83"/>
                      <a:pt x="269" y="85"/>
                      <a:pt x="272" y="88"/>
                    </a:cubicBezTo>
                    <a:close/>
                    <a:moveTo>
                      <a:pt x="322" y="75"/>
                    </a:moveTo>
                    <a:cubicBezTo>
                      <a:pt x="319" y="47"/>
                      <a:pt x="319" y="47"/>
                      <a:pt x="319" y="47"/>
                    </a:cubicBezTo>
                    <a:cubicBezTo>
                      <a:pt x="319" y="43"/>
                      <a:pt x="316" y="40"/>
                      <a:pt x="312" y="40"/>
                    </a:cubicBezTo>
                    <a:cubicBezTo>
                      <a:pt x="283" y="37"/>
                      <a:pt x="283" y="37"/>
                      <a:pt x="283" y="37"/>
                    </a:cubicBezTo>
                    <a:cubicBezTo>
                      <a:pt x="293" y="28"/>
                      <a:pt x="303" y="22"/>
                      <a:pt x="314" y="20"/>
                    </a:cubicBezTo>
                    <a:cubicBezTo>
                      <a:pt x="319" y="18"/>
                      <a:pt x="330" y="17"/>
                      <a:pt x="336" y="23"/>
                    </a:cubicBezTo>
                    <a:cubicBezTo>
                      <a:pt x="342" y="30"/>
                      <a:pt x="341" y="40"/>
                      <a:pt x="339" y="46"/>
                    </a:cubicBezTo>
                    <a:cubicBezTo>
                      <a:pt x="337" y="55"/>
                      <a:pt x="331" y="65"/>
                      <a:pt x="322"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06" name="Freeform 6"/>
              <p:cNvSpPr>
                <a:spLocks noEditPoints="1"/>
              </p:cNvSpPr>
              <p:nvPr/>
            </p:nvSpPr>
            <p:spPr bwMode="auto">
              <a:xfrm>
                <a:off x="5304938" y="3403391"/>
                <a:ext cx="115785" cy="151367"/>
              </a:xfrm>
              <a:custGeom>
                <a:avLst/>
                <a:gdLst>
                  <a:gd name="T0" fmla="*/ 2147483647 w 292"/>
                  <a:gd name="T1" fmla="*/ 2147483647 h 391"/>
                  <a:gd name="T2" fmla="*/ 2147483647 w 292"/>
                  <a:gd name="T3" fmla="*/ 0 h 391"/>
                  <a:gd name="T4" fmla="*/ 0 w 292"/>
                  <a:gd name="T5" fmla="*/ 2147483647 h 391"/>
                  <a:gd name="T6" fmla="*/ 2147483647 w 292"/>
                  <a:gd name="T7" fmla="*/ 2147483647 h 391"/>
                  <a:gd name="T8" fmla="*/ 2147483647 w 292"/>
                  <a:gd name="T9" fmla="*/ 2147483647 h 391"/>
                  <a:gd name="T10" fmla="*/ 2147483647 w 292"/>
                  <a:gd name="T11" fmla="*/ 2147483647 h 391"/>
                  <a:gd name="T12" fmla="*/ 2147483647 w 292"/>
                  <a:gd name="T13" fmla="*/ 2147483647 h 391"/>
                  <a:gd name="T14" fmla="*/ 2147483647 w 292"/>
                  <a:gd name="T15" fmla="*/ 2147483647 h 391"/>
                  <a:gd name="T16" fmla="*/ 2147483647 w 292"/>
                  <a:gd name="T17" fmla="*/ 2147483647 h 391"/>
                  <a:gd name="T18" fmla="*/ 2147483647 w 292"/>
                  <a:gd name="T19" fmla="*/ 2147483647 h 391"/>
                  <a:gd name="T20" fmla="*/ 2147483647 w 292"/>
                  <a:gd name="T21" fmla="*/ 2147483647 h 391"/>
                  <a:gd name="T22" fmla="*/ 2147483647 w 292"/>
                  <a:gd name="T23" fmla="*/ 2147483647 h 391"/>
                  <a:gd name="T24" fmla="*/ 2147483647 w 292"/>
                  <a:gd name="T25" fmla="*/ 2147483647 h 391"/>
                  <a:gd name="T26" fmla="*/ 2147483647 w 292"/>
                  <a:gd name="T27" fmla="*/ 2147483647 h 391"/>
                  <a:gd name="T28" fmla="*/ 2147483647 w 292"/>
                  <a:gd name="T29" fmla="*/ 2147483647 h 391"/>
                  <a:gd name="T30" fmla="*/ 2147483647 w 292"/>
                  <a:gd name="T31" fmla="*/ 2147483647 h 391"/>
                  <a:gd name="T32" fmla="*/ 2147483647 w 292"/>
                  <a:gd name="T33" fmla="*/ 2147483647 h 391"/>
                  <a:gd name="T34" fmla="*/ 2147483647 w 292"/>
                  <a:gd name="T35" fmla="*/ 2147483647 h 391"/>
                  <a:gd name="T36" fmla="*/ 2147483647 w 292"/>
                  <a:gd name="T37" fmla="*/ 2147483647 h 391"/>
                  <a:gd name="T38" fmla="*/ 2147483647 w 292"/>
                  <a:gd name="T39" fmla="*/ 2147483647 h 391"/>
                  <a:gd name="T40" fmla="*/ 2147483647 w 292"/>
                  <a:gd name="T41" fmla="*/ 2147483647 h 391"/>
                  <a:gd name="T42" fmla="*/ 2147483647 w 292"/>
                  <a:gd name="T43" fmla="*/ 2147483647 h 391"/>
                  <a:gd name="T44" fmla="*/ 2147483647 w 292"/>
                  <a:gd name="T45" fmla="*/ 2147483647 h 391"/>
                  <a:gd name="T46" fmla="*/ 2147483647 w 292"/>
                  <a:gd name="T47" fmla="*/ 2147483647 h 391"/>
                  <a:gd name="T48" fmla="*/ 2147483647 w 292"/>
                  <a:gd name="T49" fmla="*/ 2147483647 h 391"/>
                  <a:gd name="T50" fmla="*/ 2147483647 w 292"/>
                  <a:gd name="T51" fmla="*/ 2147483647 h 391"/>
                  <a:gd name="T52" fmla="*/ 2147483647 w 292"/>
                  <a:gd name="T53" fmla="*/ 2147483647 h 391"/>
                  <a:gd name="T54" fmla="*/ 2147483647 w 292"/>
                  <a:gd name="T55" fmla="*/ 2147483647 h 391"/>
                  <a:gd name="T56" fmla="*/ 2147483647 w 292"/>
                  <a:gd name="T57" fmla="*/ 2147483647 h 391"/>
                  <a:gd name="T58" fmla="*/ 2147483647 w 292"/>
                  <a:gd name="T59" fmla="*/ 2147483647 h 391"/>
                  <a:gd name="T60" fmla="*/ 2147483647 w 292"/>
                  <a:gd name="T61" fmla="*/ 2147483647 h 391"/>
                  <a:gd name="T62" fmla="*/ 2147483647 w 292"/>
                  <a:gd name="T63" fmla="*/ 2147483647 h 391"/>
                  <a:gd name="T64" fmla="*/ 2147483647 w 292"/>
                  <a:gd name="T65" fmla="*/ 2147483647 h 391"/>
                  <a:gd name="T66" fmla="*/ 2147483647 w 292"/>
                  <a:gd name="T67" fmla="*/ 2147483647 h 391"/>
                  <a:gd name="T68" fmla="*/ 2147483647 w 292"/>
                  <a:gd name="T69" fmla="*/ 2147483647 h 391"/>
                  <a:gd name="T70" fmla="*/ 2147483647 w 292"/>
                  <a:gd name="T71" fmla="*/ 2147483647 h 391"/>
                  <a:gd name="T72" fmla="*/ 2147483647 w 292"/>
                  <a:gd name="T73" fmla="*/ 2147483647 h 391"/>
                  <a:gd name="T74" fmla="*/ 2147483647 w 292"/>
                  <a:gd name="T75" fmla="*/ 2147483647 h 391"/>
                  <a:gd name="T76" fmla="*/ 2147483647 w 292"/>
                  <a:gd name="T77" fmla="*/ 2147483647 h 391"/>
                  <a:gd name="T78" fmla="*/ 2147483647 w 292"/>
                  <a:gd name="T79" fmla="*/ 2147483647 h 391"/>
                  <a:gd name="T80" fmla="*/ 2147483647 w 292"/>
                  <a:gd name="T81" fmla="*/ 2147483647 h 391"/>
                  <a:gd name="T82" fmla="*/ 2147483647 w 292"/>
                  <a:gd name="T83" fmla="*/ 2147483647 h 391"/>
                  <a:gd name="T84" fmla="*/ 2147483647 w 292"/>
                  <a:gd name="T85" fmla="*/ 2147483647 h 391"/>
                  <a:gd name="T86" fmla="*/ 2147483647 w 292"/>
                  <a:gd name="T87" fmla="*/ 2147483647 h 391"/>
                  <a:gd name="T88" fmla="*/ 2147483647 w 292"/>
                  <a:gd name="T89" fmla="*/ 2147483647 h 391"/>
                  <a:gd name="T90" fmla="*/ 2147483647 w 292"/>
                  <a:gd name="T91" fmla="*/ 2147483647 h 391"/>
                  <a:gd name="T92" fmla="*/ 2147483647 w 292"/>
                  <a:gd name="T93" fmla="*/ 2147483647 h 391"/>
                  <a:gd name="T94" fmla="*/ 2147483647 w 292"/>
                  <a:gd name="T95" fmla="*/ 2147483647 h 39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292" h="391">
                    <a:moveTo>
                      <a:pt x="284" y="84"/>
                    </a:moveTo>
                    <a:cubicBezTo>
                      <a:pt x="288" y="84"/>
                      <a:pt x="292" y="80"/>
                      <a:pt x="292" y="76"/>
                    </a:cubicBezTo>
                    <a:cubicBezTo>
                      <a:pt x="292" y="49"/>
                      <a:pt x="292" y="49"/>
                      <a:pt x="292" y="49"/>
                    </a:cubicBezTo>
                    <a:cubicBezTo>
                      <a:pt x="292" y="22"/>
                      <a:pt x="270" y="0"/>
                      <a:pt x="244" y="0"/>
                    </a:cubicBezTo>
                    <a:cubicBezTo>
                      <a:pt x="48" y="0"/>
                      <a:pt x="48" y="0"/>
                      <a:pt x="48" y="0"/>
                    </a:cubicBezTo>
                    <a:cubicBezTo>
                      <a:pt x="22" y="0"/>
                      <a:pt x="0" y="22"/>
                      <a:pt x="0" y="49"/>
                    </a:cubicBezTo>
                    <a:cubicBezTo>
                      <a:pt x="0" y="343"/>
                      <a:pt x="0" y="343"/>
                      <a:pt x="0" y="343"/>
                    </a:cubicBezTo>
                    <a:cubicBezTo>
                      <a:pt x="0" y="370"/>
                      <a:pt x="22" y="391"/>
                      <a:pt x="48" y="391"/>
                    </a:cubicBezTo>
                    <a:cubicBezTo>
                      <a:pt x="244" y="391"/>
                      <a:pt x="244" y="391"/>
                      <a:pt x="244" y="391"/>
                    </a:cubicBezTo>
                    <a:cubicBezTo>
                      <a:pt x="270" y="391"/>
                      <a:pt x="292" y="370"/>
                      <a:pt x="292" y="343"/>
                    </a:cubicBezTo>
                    <a:cubicBezTo>
                      <a:pt x="292" y="108"/>
                      <a:pt x="292" y="108"/>
                      <a:pt x="292" y="108"/>
                    </a:cubicBezTo>
                    <a:cubicBezTo>
                      <a:pt x="292" y="103"/>
                      <a:pt x="288" y="100"/>
                      <a:pt x="284" y="100"/>
                    </a:cubicBezTo>
                    <a:cubicBezTo>
                      <a:pt x="280" y="100"/>
                      <a:pt x="276" y="103"/>
                      <a:pt x="276" y="108"/>
                    </a:cubicBezTo>
                    <a:cubicBezTo>
                      <a:pt x="276" y="343"/>
                      <a:pt x="276" y="343"/>
                      <a:pt x="276" y="343"/>
                    </a:cubicBezTo>
                    <a:cubicBezTo>
                      <a:pt x="276" y="361"/>
                      <a:pt x="262" y="375"/>
                      <a:pt x="244" y="375"/>
                    </a:cubicBezTo>
                    <a:cubicBezTo>
                      <a:pt x="48" y="375"/>
                      <a:pt x="48" y="375"/>
                      <a:pt x="48" y="375"/>
                    </a:cubicBezTo>
                    <a:cubicBezTo>
                      <a:pt x="30" y="375"/>
                      <a:pt x="16" y="361"/>
                      <a:pt x="16" y="343"/>
                    </a:cubicBezTo>
                    <a:cubicBezTo>
                      <a:pt x="16" y="49"/>
                      <a:pt x="16" y="49"/>
                      <a:pt x="16" y="49"/>
                    </a:cubicBezTo>
                    <a:cubicBezTo>
                      <a:pt x="16" y="31"/>
                      <a:pt x="30" y="16"/>
                      <a:pt x="48" y="16"/>
                    </a:cubicBezTo>
                    <a:cubicBezTo>
                      <a:pt x="244" y="16"/>
                      <a:pt x="244" y="16"/>
                      <a:pt x="244" y="16"/>
                    </a:cubicBezTo>
                    <a:cubicBezTo>
                      <a:pt x="262" y="16"/>
                      <a:pt x="276" y="31"/>
                      <a:pt x="276" y="49"/>
                    </a:cubicBezTo>
                    <a:cubicBezTo>
                      <a:pt x="276" y="76"/>
                      <a:pt x="276" y="76"/>
                      <a:pt x="276" y="76"/>
                    </a:cubicBezTo>
                    <a:cubicBezTo>
                      <a:pt x="276" y="80"/>
                      <a:pt x="280" y="84"/>
                      <a:pt x="284" y="84"/>
                    </a:cubicBezTo>
                    <a:close/>
                    <a:moveTo>
                      <a:pt x="216" y="70"/>
                    </a:moveTo>
                    <a:cubicBezTo>
                      <a:pt x="214" y="68"/>
                      <a:pt x="211" y="67"/>
                      <a:pt x="209" y="68"/>
                    </a:cubicBezTo>
                    <a:cubicBezTo>
                      <a:pt x="120" y="89"/>
                      <a:pt x="120" y="89"/>
                      <a:pt x="120" y="89"/>
                    </a:cubicBezTo>
                    <a:cubicBezTo>
                      <a:pt x="117" y="89"/>
                      <a:pt x="114" y="93"/>
                      <a:pt x="114" y="96"/>
                    </a:cubicBezTo>
                    <a:cubicBezTo>
                      <a:pt x="114" y="165"/>
                      <a:pt x="114" y="165"/>
                      <a:pt x="114" y="165"/>
                    </a:cubicBezTo>
                    <a:cubicBezTo>
                      <a:pt x="110" y="164"/>
                      <a:pt x="106" y="163"/>
                      <a:pt x="102" y="163"/>
                    </a:cubicBezTo>
                    <a:cubicBezTo>
                      <a:pt x="86" y="163"/>
                      <a:pt x="73" y="175"/>
                      <a:pt x="73" y="191"/>
                    </a:cubicBezTo>
                    <a:cubicBezTo>
                      <a:pt x="73" y="207"/>
                      <a:pt x="86" y="219"/>
                      <a:pt x="102" y="219"/>
                    </a:cubicBezTo>
                    <a:cubicBezTo>
                      <a:pt x="117" y="219"/>
                      <a:pt x="130" y="207"/>
                      <a:pt x="130" y="191"/>
                    </a:cubicBezTo>
                    <a:cubicBezTo>
                      <a:pt x="130" y="191"/>
                      <a:pt x="130" y="191"/>
                      <a:pt x="130" y="191"/>
                    </a:cubicBezTo>
                    <a:cubicBezTo>
                      <a:pt x="130" y="103"/>
                      <a:pt x="130" y="103"/>
                      <a:pt x="130" y="103"/>
                    </a:cubicBezTo>
                    <a:cubicBezTo>
                      <a:pt x="203" y="86"/>
                      <a:pt x="203" y="86"/>
                      <a:pt x="203" y="86"/>
                    </a:cubicBezTo>
                    <a:cubicBezTo>
                      <a:pt x="203" y="143"/>
                      <a:pt x="203" y="143"/>
                      <a:pt x="203" y="143"/>
                    </a:cubicBezTo>
                    <a:cubicBezTo>
                      <a:pt x="199" y="141"/>
                      <a:pt x="195" y="140"/>
                      <a:pt x="190" y="140"/>
                    </a:cubicBezTo>
                    <a:cubicBezTo>
                      <a:pt x="175" y="140"/>
                      <a:pt x="162" y="153"/>
                      <a:pt x="162" y="169"/>
                    </a:cubicBezTo>
                    <a:cubicBezTo>
                      <a:pt x="162" y="184"/>
                      <a:pt x="175" y="197"/>
                      <a:pt x="190" y="197"/>
                    </a:cubicBezTo>
                    <a:cubicBezTo>
                      <a:pt x="206" y="197"/>
                      <a:pt x="219" y="184"/>
                      <a:pt x="219" y="169"/>
                    </a:cubicBezTo>
                    <a:cubicBezTo>
                      <a:pt x="219" y="76"/>
                      <a:pt x="219" y="76"/>
                      <a:pt x="219" y="76"/>
                    </a:cubicBezTo>
                    <a:cubicBezTo>
                      <a:pt x="219" y="73"/>
                      <a:pt x="218" y="71"/>
                      <a:pt x="216" y="70"/>
                    </a:cubicBezTo>
                    <a:close/>
                    <a:moveTo>
                      <a:pt x="56" y="295"/>
                    </a:moveTo>
                    <a:cubicBezTo>
                      <a:pt x="49" y="295"/>
                      <a:pt x="44" y="300"/>
                      <a:pt x="44" y="307"/>
                    </a:cubicBezTo>
                    <a:cubicBezTo>
                      <a:pt x="44" y="333"/>
                      <a:pt x="44" y="333"/>
                      <a:pt x="44" y="333"/>
                    </a:cubicBezTo>
                    <a:cubicBezTo>
                      <a:pt x="44" y="340"/>
                      <a:pt x="49" y="345"/>
                      <a:pt x="56" y="345"/>
                    </a:cubicBezTo>
                    <a:cubicBezTo>
                      <a:pt x="82" y="345"/>
                      <a:pt x="82" y="345"/>
                      <a:pt x="82" y="345"/>
                    </a:cubicBezTo>
                    <a:cubicBezTo>
                      <a:pt x="88" y="345"/>
                      <a:pt x="93" y="340"/>
                      <a:pt x="93" y="333"/>
                    </a:cubicBezTo>
                    <a:cubicBezTo>
                      <a:pt x="93" y="307"/>
                      <a:pt x="93" y="307"/>
                      <a:pt x="93" y="307"/>
                    </a:cubicBezTo>
                    <a:cubicBezTo>
                      <a:pt x="93" y="300"/>
                      <a:pt x="88" y="295"/>
                      <a:pt x="82" y="295"/>
                    </a:cubicBezTo>
                    <a:lnTo>
                      <a:pt x="56" y="295"/>
                    </a:lnTo>
                    <a:close/>
                    <a:moveTo>
                      <a:pt x="120" y="285"/>
                    </a:moveTo>
                    <a:cubicBezTo>
                      <a:pt x="114" y="285"/>
                      <a:pt x="109" y="290"/>
                      <a:pt x="109" y="296"/>
                    </a:cubicBezTo>
                    <a:cubicBezTo>
                      <a:pt x="109" y="343"/>
                      <a:pt x="109" y="343"/>
                      <a:pt x="109" y="343"/>
                    </a:cubicBezTo>
                    <a:cubicBezTo>
                      <a:pt x="109" y="350"/>
                      <a:pt x="114" y="355"/>
                      <a:pt x="120" y="355"/>
                    </a:cubicBezTo>
                    <a:cubicBezTo>
                      <a:pt x="172" y="355"/>
                      <a:pt x="172" y="355"/>
                      <a:pt x="172" y="355"/>
                    </a:cubicBezTo>
                    <a:cubicBezTo>
                      <a:pt x="178" y="355"/>
                      <a:pt x="183" y="350"/>
                      <a:pt x="183" y="343"/>
                    </a:cubicBezTo>
                    <a:cubicBezTo>
                      <a:pt x="183" y="296"/>
                      <a:pt x="183" y="296"/>
                      <a:pt x="183" y="296"/>
                    </a:cubicBezTo>
                    <a:cubicBezTo>
                      <a:pt x="183" y="290"/>
                      <a:pt x="178" y="285"/>
                      <a:pt x="172" y="285"/>
                    </a:cubicBezTo>
                    <a:lnTo>
                      <a:pt x="120" y="285"/>
                    </a:lnTo>
                    <a:close/>
                    <a:moveTo>
                      <a:pt x="161" y="321"/>
                    </a:moveTo>
                    <a:cubicBezTo>
                      <a:pt x="134" y="336"/>
                      <a:pt x="134" y="336"/>
                      <a:pt x="134" y="336"/>
                    </a:cubicBezTo>
                    <a:cubicBezTo>
                      <a:pt x="134" y="336"/>
                      <a:pt x="133" y="336"/>
                      <a:pt x="133" y="336"/>
                    </a:cubicBezTo>
                    <a:cubicBezTo>
                      <a:pt x="133" y="336"/>
                      <a:pt x="132" y="335"/>
                      <a:pt x="132" y="335"/>
                    </a:cubicBezTo>
                    <a:cubicBezTo>
                      <a:pt x="132" y="305"/>
                      <a:pt x="132" y="305"/>
                      <a:pt x="132" y="305"/>
                    </a:cubicBezTo>
                    <a:cubicBezTo>
                      <a:pt x="132" y="304"/>
                      <a:pt x="133" y="304"/>
                      <a:pt x="133" y="304"/>
                    </a:cubicBezTo>
                    <a:cubicBezTo>
                      <a:pt x="133" y="303"/>
                      <a:pt x="134" y="303"/>
                      <a:pt x="134" y="304"/>
                    </a:cubicBezTo>
                    <a:cubicBezTo>
                      <a:pt x="161" y="319"/>
                      <a:pt x="161" y="319"/>
                      <a:pt x="161" y="319"/>
                    </a:cubicBezTo>
                    <a:cubicBezTo>
                      <a:pt x="161" y="319"/>
                      <a:pt x="161" y="319"/>
                      <a:pt x="161" y="320"/>
                    </a:cubicBezTo>
                    <a:cubicBezTo>
                      <a:pt x="161" y="320"/>
                      <a:pt x="161" y="321"/>
                      <a:pt x="161" y="321"/>
                    </a:cubicBezTo>
                    <a:close/>
                    <a:moveTo>
                      <a:pt x="262" y="233"/>
                    </a:moveTo>
                    <a:cubicBezTo>
                      <a:pt x="262" y="62"/>
                      <a:pt x="262" y="62"/>
                      <a:pt x="262" y="62"/>
                    </a:cubicBezTo>
                    <a:cubicBezTo>
                      <a:pt x="262" y="45"/>
                      <a:pt x="248" y="32"/>
                      <a:pt x="231" y="32"/>
                    </a:cubicBezTo>
                    <a:cubicBezTo>
                      <a:pt x="61" y="32"/>
                      <a:pt x="61" y="32"/>
                      <a:pt x="61" y="32"/>
                    </a:cubicBezTo>
                    <a:cubicBezTo>
                      <a:pt x="44" y="32"/>
                      <a:pt x="30" y="45"/>
                      <a:pt x="30" y="62"/>
                    </a:cubicBezTo>
                    <a:cubicBezTo>
                      <a:pt x="30" y="233"/>
                      <a:pt x="30" y="233"/>
                      <a:pt x="30" y="233"/>
                    </a:cubicBezTo>
                    <a:cubicBezTo>
                      <a:pt x="30" y="250"/>
                      <a:pt x="44" y="264"/>
                      <a:pt x="61" y="264"/>
                    </a:cubicBezTo>
                    <a:cubicBezTo>
                      <a:pt x="231" y="264"/>
                      <a:pt x="231" y="264"/>
                      <a:pt x="231" y="264"/>
                    </a:cubicBezTo>
                    <a:cubicBezTo>
                      <a:pt x="248" y="264"/>
                      <a:pt x="262" y="250"/>
                      <a:pt x="262" y="233"/>
                    </a:cubicBezTo>
                    <a:close/>
                    <a:moveTo>
                      <a:pt x="246" y="233"/>
                    </a:moveTo>
                    <a:cubicBezTo>
                      <a:pt x="246" y="241"/>
                      <a:pt x="239" y="248"/>
                      <a:pt x="231" y="248"/>
                    </a:cubicBezTo>
                    <a:cubicBezTo>
                      <a:pt x="61" y="248"/>
                      <a:pt x="61" y="248"/>
                      <a:pt x="61" y="248"/>
                    </a:cubicBezTo>
                    <a:cubicBezTo>
                      <a:pt x="53" y="248"/>
                      <a:pt x="46" y="241"/>
                      <a:pt x="46" y="233"/>
                    </a:cubicBezTo>
                    <a:cubicBezTo>
                      <a:pt x="46" y="62"/>
                      <a:pt x="46" y="62"/>
                      <a:pt x="46" y="62"/>
                    </a:cubicBezTo>
                    <a:cubicBezTo>
                      <a:pt x="46" y="54"/>
                      <a:pt x="53" y="48"/>
                      <a:pt x="61" y="48"/>
                    </a:cubicBezTo>
                    <a:cubicBezTo>
                      <a:pt x="231" y="48"/>
                      <a:pt x="231" y="48"/>
                      <a:pt x="231" y="48"/>
                    </a:cubicBezTo>
                    <a:cubicBezTo>
                      <a:pt x="239" y="48"/>
                      <a:pt x="246" y="54"/>
                      <a:pt x="246" y="62"/>
                    </a:cubicBezTo>
                    <a:lnTo>
                      <a:pt x="246" y="233"/>
                    </a:lnTo>
                    <a:close/>
                    <a:moveTo>
                      <a:pt x="210" y="295"/>
                    </a:moveTo>
                    <a:cubicBezTo>
                      <a:pt x="203" y="295"/>
                      <a:pt x="198" y="300"/>
                      <a:pt x="198" y="307"/>
                    </a:cubicBezTo>
                    <a:cubicBezTo>
                      <a:pt x="198" y="333"/>
                      <a:pt x="198" y="333"/>
                      <a:pt x="198" y="333"/>
                    </a:cubicBezTo>
                    <a:cubicBezTo>
                      <a:pt x="198" y="340"/>
                      <a:pt x="203" y="345"/>
                      <a:pt x="210" y="345"/>
                    </a:cubicBezTo>
                    <a:cubicBezTo>
                      <a:pt x="235" y="345"/>
                      <a:pt x="235" y="345"/>
                      <a:pt x="235" y="345"/>
                    </a:cubicBezTo>
                    <a:cubicBezTo>
                      <a:pt x="242" y="345"/>
                      <a:pt x="247" y="340"/>
                      <a:pt x="247" y="333"/>
                    </a:cubicBezTo>
                    <a:cubicBezTo>
                      <a:pt x="247" y="307"/>
                      <a:pt x="247" y="307"/>
                      <a:pt x="247" y="307"/>
                    </a:cubicBezTo>
                    <a:cubicBezTo>
                      <a:pt x="247" y="300"/>
                      <a:pt x="242" y="295"/>
                      <a:pt x="235" y="295"/>
                    </a:cubicBezTo>
                    <a:lnTo>
                      <a:pt x="210" y="2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07" name="Freeform 3"/>
              <p:cNvSpPr>
                <a:spLocks noChangeAspect="1" noEditPoints="1"/>
              </p:cNvSpPr>
              <p:nvPr/>
            </p:nvSpPr>
            <p:spPr bwMode="auto">
              <a:xfrm>
                <a:off x="5771073" y="4383824"/>
                <a:ext cx="136896" cy="150218"/>
              </a:xfrm>
              <a:custGeom>
                <a:avLst/>
                <a:gdLst>
                  <a:gd name="T0" fmla="*/ 2147483647 w 346"/>
                  <a:gd name="T1" fmla="*/ 2147483647 h 388"/>
                  <a:gd name="T2" fmla="*/ 2147483647 w 346"/>
                  <a:gd name="T3" fmla="*/ 2147483647 h 388"/>
                  <a:gd name="T4" fmla="*/ 2147483647 w 346"/>
                  <a:gd name="T5" fmla="*/ 2147483647 h 388"/>
                  <a:gd name="T6" fmla="*/ 2147483647 w 346"/>
                  <a:gd name="T7" fmla="*/ 2147483647 h 388"/>
                  <a:gd name="T8" fmla="*/ 2147483647 w 346"/>
                  <a:gd name="T9" fmla="*/ 2147483647 h 388"/>
                  <a:gd name="T10" fmla="*/ 2147483647 w 346"/>
                  <a:gd name="T11" fmla="*/ 2147483647 h 388"/>
                  <a:gd name="T12" fmla="*/ 2147483647 w 346"/>
                  <a:gd name="T13" fmla="*/ 2147483647 h 388"/>
                  <a:gd name="T14" fmla="*/ 2147483647 w 346"/>
                  <a:gd name="T15" fmla="*/ 2147483647 h 388"/>
                  <a:gd name="T16" fmla="*/ 2147483647 w 346"/>
                  <a:gd name="T17" fmla="*/ 2147483647 h 388"/>
                  <a:gd name="T18" fmla="*/ 2147483647 w 346"/>
                  <a:gd name="T19" fmla="*/ 2147483647 h 388"/>
                  <a:gd name="T20" fmla="*/ 2147483647 w 346"/>
                  <a:gd name="T21" fmla="*/ 2147483647 h 388"/>
                  <a:gd name="T22" fmla="*/ 2147483647 w 346"/>
                  <a:gd name="T23" fmla="*/ 2147483647 h 388"/>
                  <a:gd name="T24" fmla="*/ 2147483647 w 346"/>
                  <a:gd name="T25" fmla="*/ 2147483647 h 388"/>
                  <a:gd name="T26" fmla="*/ 2147483647 w 346"/>
                  <a:gd name="T27" fmla="*/ 2147483647 h 388"/>
                  <a:gd name="T28" fmla="*/ 2147483647 w 346"/>
                  <a:gd name="T29" fmla="*/ 2147483647 h 388"/>
                  <a:gd name="T30" fmla="*/ 2147483647 w 346"/>
                  <a:gd name="T31" fmla="*/ 2147483647 h 388"/>
                  <a:gd name="T32" fmla="*/ 2147483647 w 346"/>
                  <a:gd name="T33" fmla="*/ 2147483647 h 388"/>
                  <a:gd name="T34" fmla="*/ 2147483647 w 346"/>
                  <a:gd name="T35" fmla="*/ 2147483647 h 388"/>
                  <a:gd name="T36" fmla="*/ 2147483647 w 346"/>
                  <a:gd name="T37" fmla="*/ 2147483647 h 388"/>
                  <a:gd name="T38" fmla="*/ 2147483647 w 346"/>
                  <a:gd name="T39" fmla="*/ 2147483647 h 388"/>
                  <a:gd name="T40" fmla="*/ 2147483647 w 346"/>
                  <a:gd name="T41" fmla="*/ 2147483647 h 388"/>
                  <a:gd name="T42" fmla="*/ 2147483647 w 346"/>
                  <a:gd name="T43" fmla="*/ 2147483647 h 388"/>
                  <a:gd name="T44" fmla="*/ 2147483647 w 346"/>
                  <a:gd name="T45" fmla="*/ 2147483647 h 388"/>
                  <a:gd name="T46" fmla="*/ 2147483647 w 346"/>
                  <a:gd name="T47" fmla="*/ 2147483647 h 388"/>
                  <a:gd name="T48" fmla="*/ 2147483647 w 346"/>
                  <a:gd name="T49" fmla="*/ 2147483647 h 388"/>
                  <a:gd name="T50" fmla="*/ 2147483647 w 346"/>
                  <a:gd name="T51" fmla="*/ 2147483647 h 388"/>
                  <a:gd name="T52" fmla="*/ 2147483647 w 346"/>
                  <a:gd name="T53" fmla="*/ 2147483647 h 388"/>
                  <a:gd name="T54" fmla="*/ 2147483647 w 346"/>
                  <a:gd name="T55" fmla="*/ 2147483647 h 388"/>
                  <a:gd name="T56" fmla="*/ 2147483647 w 346"/>
                  <a:gd name="T57" fmla="*/ 2147483647 h 388"/>
                  <a:gd name="T58" fmla="*/ 2147483647 w 346"/>
                  <a:gd name="T59" fmla="*/ 2147483647 h 388"/>
                  <a:gd name="T60" fmla="*/ 2147483647 w 346"/>
                  <a:gd name="T61" fmla="*/ 2147483647 h 388"/>
                  <a:gd name="T62" fmla="*/ 2147483647 w 346"/>
                  <a:gd name="T63" fmla="*/ 2147483647 h 388"/>
                  <a:gd name="T64" fmla="*/ 2147483647 w 346"/>
                  <a:gd name="T65" fmla="*/ 2147483647 h 388"/>
                  <a:gd name="T66" fmla="*/ 2147483647 w 346"/>
                  <a:gd name="T67" fmla="*/ 2147483647 h 388"/>
                  <a:gd name="T68" fmla="*/ 2147483647 w 346"/>
                  <a:gd name="T69" fmla="*/ 2147483647 h 388"/>
                  <a:gd name="T70" fmla="*/ 2147483647 w 346"/>
                  <a:gd name="T71" fmla="*/ 2147483647 h 388"/>
                  <a:gd name="T72" fmla="*/ 2147483647 w 346"/>
                  <a:gd name="T73" fmla="*/ 2147483647 h 388"/>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346" h="388">
                    <a:moveTo>
                      <a:pt x="99" y="274"/>
                    </a:moveTo>
                    <a:cubicBezTo>
                      <a:pt x="124" y="274"/>
                      <a:pt x="145" y="253"/>
                      <a:pt x="145" y="228"/>
                    </a:cubicBezTo>
                    <a:cubicBezTo>
                      <a:pt x="145" y="228"/>
                      <a:pt x="145" y="228"/>
                      <a:pt x="145" y="228"/>
                    </a:cubicBezTo>
                    <a:cubicBezTo>
                      <a:pt x="145" y="48"/>
                      <a:pt x="145" y="48"/>
                      <a:pt x="145" y="48"/>
                    </a:cubicBezTo>
                    <a:cubicBezTo>
                      <a:pt x="277" y="18"/>
                      <a:pt x="277" y="18"/>
                      <a:pt x="277" y="18"/>
                    </a:cubicBezTo>
                    <a:cubicBezTo>
                      <a:pt x="277" y="41"/>
                      <a:pt x="277" y="41"/>
                      <a:pt x="277" y="41"/>
                    </a:cubicBezTo>
                    <a:cubicBezTo>
                      <a:pt x="277" y="45"/>
                      <a:pt x="281" y="49"/>
                      <a:pt x="285" y="49"/>
                    </a:cubicBezTo>
                    <a:cubicBezTo>
                      <a:pt x="289" y="49"/>
                      <a:pt x="293" y="45"/>
                      <a:pt x="293" y="41"/>
                    </a:cubicBezTo>
                    <a:cubicBezTo>
                      <a:pt x="293" y="8"/>
                      <a:pt x="293" y="8"/>
                      <a:pt x="293" y="8"/>
                    </a:cubicBezTo>
                    <a:cubicBezTo>
                      <a:pt x="293" y="6"/>
                      <a:pt x="292" y="3"/>
                      <a:pt x="290" y="2"/>
                    </a:cubicBezTo>
                    <a:cubicBezTo>
                      <a:pt x="288" y="0"/>
                      <a:pt x="286" y="0"/>
                      <a:pt x="283" y="0"/>
                    </a:cubicBezTo>
                    <a:cubicBezTo>
                      <a:pt x="135" y="34"/>
                      <a:pt x="135" y="34"/>
                      <a:pt x="135" y="34"/>
                    </a:cubicBezTo>
                    <a:cubicBezTo>
                      <a:pt x="131" y="35"/>
                      <a:pt x="129" y="38"/>
                      <a:pt x="129" y="42"/>
                    </a:cubicBezTo>
                    <a:cubicBezTo>
                      <a:pt x="129" y="194"/>
                      <a:pt x="129" y="194"/>
                      <a:pt x="129" y="194"/>
                    </a:cubicBezTo>
                    <a:cubicBezTo>
                      <a:pt x="121" y="187"/>
                      <a:pt x="110" y="183"/>
                      <a:pt x="99" y="183"/>
                    </a:cubicBezTo>
                    <a:cubicBezTo>
                      <a:pt x="74" y="183"/>
                      <a:pt x="53" y="203"/>
                      <a:pt x="53" y="228"/>
                    </a:cubicBezTo>
                    <a:cubicBezTo>
                      <a:pt x="53" y="253"/>
                      <a:pt x="74" y="274"/>
                      <a:pt x="99" y="274"/>
                    </a:cubicBezTo>
                    <a:close/>
                    <a:moveTo>
                      <a:pt x="285" y="65"/>
                    </a:moveTo>
                    <a:cubicBezTo>
                      <a:pt x="281" y="65"/>
                      <a:pt x="277" y="69"/>
                      <a:pt x="277" y="73"/>
                    </a:cubicBezTo>
                    <a:cubicBezTo>
                      <a:pt x="277" y="160"/>
                      <a:pt x="277" y="160"/>
                      <a:pt x="277" y="160"/>
                    </a:cubicBezTo>
                    <a:cubicBezTo>
                      <a:pt x="269" y="153"/>
                      <a:pt x="259" y="149"/>
                      <a:pt x="247" y="149"/>
                    </a:cubicBezTo>
                    <a:cubicBezTo>
                      <a:pt x="222" y="149"/>
                      <a:pt x="202" y="169"/>
                      <a:pt x="202" y="195"/>
                    </a:cubicBezTo>
                    <a:cubicBezTo>
                      <a:pt x="202" y="220"/>
                      <a:pt x="222" y="240"/>
                      <a:pt x="247" y="240"/>
                    </a:cubicBezTo>
                    <a:cubicBezTo>
                      <a:pt x="272" y="240"/>
                      <a:pt x="293" y="220"/>
                      <a:pt x="293" y="195"/>
                    </a:cubicBezTo>
                    <a:cubicBezTo>
                      <a:pt x="293" y="195"/>
                      <a:pt x="293" y="195"/>
                      <a:pt x="293" y="195"/>
                    </a:cubicBezTo>
                    <a:cubicBezTo>
                      <a:pt x="293" y="73"/>
                      <a:pt x="293" y="73"/>
                      <a:pt x="293" y="73"/>
                    </a:cubicBezTo>
                    <a:cubicBezTo>
                      <a:pt x="293" y="69"/>
                      <a:pt x="289" y="65"/>
                      <a:pt x="285" y="65"/>
                    </a:cubicBezTo>
                    <a:close/>
                    <a:moveTo>
                      <a:pt x="2" y="309"/>
                    </a:moveTo>
                    <a:cubicBezTo>
                      <a:pt x="2" y="310"/>
                      <a:pt x="6" y="319"/>
                      <a:pt x="17" y="328"/>
                    </a:cubicBezTo>
                    <a:cubicBezTo>
                      <a:pt x="28" y="337"/>
                      <a:pt x="45" y="346"/>
                      <a:pt x="71" y="346"/>
                    </a:cubicBezTo>
                    <a:cubicBezTo>
                      <a:pt x="72" y="346"/>
                      <a:pt x="72" y="346"/>
                      <a:pt x="72" y="346"/>
                    </a:cubicBezTo>
                    <a:cubicBezTo>
                      <a:pt x="98" y="346"/>
                      <a:pt x="132" y="337"/>
                      <a:pt x="177" y="313"/>
                    </a:cubicBezTo>
                    <a:cubicBezTo>
                      <a:pt x="221" y="290"/>
                      <a:pt x="252" y="282"/>
                      <a:pt x="275" y="282"/>
                    </a:cubicBezTo>
                    <a:cubicBezTo>
                      <a:pt x="297" y="282"/>
                      <a:pt x="311" y="289"/>
                      <a:pt x="319" y="296"/>
                    </a:cubicBezTo>
                    <a:cubicBezTo>
                      <a:pt x="323" y="300"/>
                      <a:pt x="326" y="303"/>
                      <a:pt x="327" y="305"/>
                    </a:cubicBezTo>
                    <a:cubicBezTo>
                      <a:pt x="328" y="307"/>
                      <a:pt x="329" y="308"/>
                      <a:pt x="329" y="308"/>
                    </a:cubicBezTo>
                    <a:cubicBezTo>
                      <a:pt x="329" y="309"/>
                      <a:pt x="329" y="309"/>
                      <a:pt x="330" y="309"/>
                    </a:cubicBezTo>
                    <a:cubicBezTo>
                      <a:pt x="330" y="309"/>
                      <a:pt x="330" y="309"/>
                      <a:pt x="330" y="309"/>
                    </a:cubicBezTo>
                    <a:cubicBezTo>
                      <a:pt x="331" y="313"/>
                      <a:pt x="336" y="315"/>
                      <a:pt x="340" y="313"/>
                    </a:cubicBezTo>
                    <a:cubicBezTo>
                      <a:pt x="344" y="312"/>
                      <a:pt x="346" y="307"/>
                      <a:pt x="344" y="303"/>
                    </a:cubicBezTo>
                    <a:cubicBezTo>
                      <a:pt x="344" y="302"/>
                      <a:pt x="340" y="293"/>
                      <a:pt x="329" y="284"/>
                    </a:cubicBezTo>
                    <a:cubicBezTo>
                      <a:pt x="319" y="275"/>
                      <a:pt x="301" y="266"/>
                      <a:pt x="275" y="266"/>
                    </a:cubicBezTo>
                    <a:cubicBezTo>
                      <a:pt x="249" y="266"/>
                      <a:pt x="215" y="275"/>
                      <a:pt x="169" y="299"/>
                    </a:cubicBezTo>
                    <a:cubicBezTo>
                      <a:pt x="126" y="322"/>
                      <a:pt x="94" y="330"/>
                      <a:pt x="72" y="330"/>
                    </a:cubicBezTo>
                    <a:cubicBezTo>
                      <a:pt x="49" y="330"/>
                      <a:pt x="36" y="323"/>
                      <a:pt x="27" y="316"/>
                    </a:cubicBezTo>
                    <a:cubicBezTo>
                      <a:pt x="23" y="312"/>
                      <a:pt x="21" y="309"/>
                      <a:pt x="19" y="306"/>
                    </a:cubicBezTo>
                    <a:cubicBezTo>
                      <a:pt x="18" y="305"/>
                      <a:pt x="18" y="304"/>
                      <a:pt x="17" y="304"/>
                    </a:cubicBezTo>
                    <a:cubicBezTo>
                      <a:pt x="17" y="303"/>
                      <a:pt x="17" y="303"/>
                      <a:pt x="17" y="303"/>
                    </a:cubicBezTo>
                    <a:cubicBezTo>
                      <a:pt x="17" y="303"/>
                      <a:pt x="17" y="303"/>
                      <a:pt x="17" y="303"/>
                    </a:cubicBezTo>
                    <a:cubicBezTo>
                      <a:pt x="15" y="299"/>
                      <a:pt x="10" y="297"/>
                      <a:pt x="6" y="299"/>
                    </a:cubicBezTo>
                    <a:cubicBezTo>
                      <a:pt x="2" y="300"/>
                      <a:pt x="0" y="305"/>
                      <a:pt x="2" y="309"/>
                    </a:cubicBezTo>
                    <a:close/>
                    <a:moveTo>
                      <a:pt x="329" y="326"/>
                    </a:moveTo>
                    <a:cubicBezTo>
                      <a:pt x="319" y="317"/>
                      <a:pt x="301" y="308"/>
                      <a:pt x="275" y="308"/>
                    </a:cubicBezTo>
                    <a:cubicBezTo>
                      <a:pt x="249" y="308"/>
                      <a:pt x="215" y="316"/>
                      <a:pt x="169" y="341"/>
                    </a:cubicBezTo>
                    <a:cubicBezTo>
                      <a:pt x="126" y="364"/>
                      <a:pt x="94" y="372"/>
                      <a:pt x="72" y="372"/>
                    </a:cubicBezTo>
                    <a:cubicBezTo>
                      <a:pt x="49" y="372"/>
                      <a:pt x="36" y="364"/>
                      <a:pt x="27" y="358"/>
                    </a:cubicBezTo>
                    <a:cubicBezTo>
                      <a:pt x="23" y="354"/>
                      <a:pt x="21" y="351"/>
                      <a:pt x="19" y="348"/>
                    </a:cubicBezTo>
                    <a:cubicBezTo>
                      <a:pt x="18" y="347"/>
                      <a:pt x="18" y="346"/>
                      <a:pt x="17" y="345"/>
                    </a:cubicBezTo>
                    <a:cubicBezTo>
                      <a:pt x="17" y="345"/>
                      <a:pt x="17" y="345"/>
                      <a:pt x="17" y="345"/>
                    </a:cubicBezTo>
                    <a:cubicBezTo>
                      <a:pt x="17" y="345"/>
                      <a:pt x="17" y="345"/>
                      <a:pt x="17" y="345"/>
                    </a:cubicBezTo>
                    <a:cubicBezTo>
                      <a:pt x="15" y="341"/>
                      <a:pt x="10" y="339"/>
                      <a:pt x="6" y="340"/>
                    </a:cubicBezTo>
                    <a:cubicBezTo>
                      <a:pt x="2" y="342"/>
                      <a:pt x="0" y="347"/>
                      <a:pt x="2" y="351"/>
                    </a:cubicBezTo>
                    <a:cubicBezTo>
                      <a:pt x="2" y="352"/>
                      <a:pt x="6" y="361"/>
                      <a:pt x="17" y="370"/>
                    </a:cubicBezTo>
                    <a:cubicBezTo>
                      <a:pt x="28" y="379"/>
                      <a:pt x="45" y="388"/>
                      <a:pt x="71" y="388"/>
                    </a:cubicBezTo>
                    <a:cubicBezTo>
                      <a:pt x="72" y="388"/>
                      <a:pt x="72" y="388"/>
                      <a:pt x="72" y="388"/>
                    </a:cubicBezTo>
                    <a:cubicBezTo>
                      <a:pt x="98" y="388"/>
                      <a:pt x="132" y="379"/>
                      <a:pt x="177" y="355"/>
                    </a:cubicBezTo>
                    <a:cubicBezTo>
                      <a:pt x="221" y="331"/>
                      <a:pt x="252" y="324"/>
                      <a:pt x="275" y="324"/>
                    </a:cubicBezTo>
                    <a:cubicBezTo>
                      <a:pt x="297" y="324"/>
                      <a:pt x="311" y="331"/>
                      <a:pt x="319" y="338"/>
                    </a:cubicBezTo>
                    <a:cubicBezTo>
                      <a:pt x="323" y="341"/>
                      <a:pt x="326" y="345"/>
                      <a:pt x="327" y="347"/>
                    </a:cubicBezTo>
                    <a:cubicBezTo>
                      <a:pt x="328" y="348"/>
                      <a:pt x="329" y="349"/>
                      <a:pt x="329" y="350"/>
                    </a:cubicBezTo>
                    <a:cubicBezTo>
                      <a:pt x="329" y="350"/>
                      <a:pt x="329" y="351"/>
                      <a:pt x="330" y="351"/>
                    </a:cubicBezTo>
                    <a:cubicBezTo>
                      <a:pt x="330" y="351"/>
                      <a:pt x="330" y="351"/>
                      <a:pt x="330" y="351"/>
                    </a:cubicBezTo>
                    <a:cubicBezTo>
                      <a:pt x="331" y="355"/>
                      <a:pt x="336" y="357"/>
                      <a:pt x="340" y="355"/>
                    </a:cubicBezTo>
                    <a:cubicBezTo>
                      <a:pt x="344" y="353"/>
                      <a:pt x="346" y="349"/>
                      <a:pt x="344" y="345"/>
                    </a:cubicBezTo>
                    <a:cubicBezTo>
                      <a:pt x="344" y="344"/>
                      <a:pt x="340" y="335"/>
                      <a:pt x="329" y="3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08" name="Freeform 3"/>
              <p:cNvSpPr>
                <a:spLocks noChangeAspect="1" noEditPoints="1"/>
              </p:cNvSpPr>
              <p:nvPr/>
            </p:nvSpPr>
            <p:spPr bwMode="auto">
              <a:xfrm>
                <a:off x="4851801" y="3825248"/>
                <a:ext cx="106905" cy="137426"/>
              </a:xfrm>
              <a:custGeom>
                <a:avLst/>
                <a:gdLst>
                  <a:gd name="T0" fmla="*/ 2147483647 w 270"/>
                  <a:gd name="T1" fmla="*/ 2147483647 h 355"/>
                  <a:gd name="T2" fmla="*/ 2147483647 w 270"/>
                  <a:gd name="T3" fmla="*/ 2147483647 h 355"/>
                  <a:gd name="T4" fmla="*/ 2147483647 w 270"/>
                  <a:gd name="T5" fmla="*/ 2147483647 h 355"/>
                  <a:gd name="T6" fmla="*/ 2147483647 w 270"/>
                  <a:gd name="T7" fmla="*/ 2147483647 h 355"/>
                  <a:gd name="T8" fmla="*/ 2147483647 w 270"/>
                  <a:gd name="T9" fmla="*/ 2147483647 h 355"/>
                  <a:gd name="T10" fmla="*/ 2147483647 w 270"/>
                  <a:gd name="T11" fmla="*/ 2147483647 h 355"/>
                  <a:gd name="T12" fmla="*/ 2147483647 w 270"/>
                  <a:gd name="T13" fmla="*/ 2147483647 h 355"/>
                  <a:gd name="T14" fmla="*/ 2147483647 w 270"/>
                  <a:gd name="T15" fmla="*/ 2147483647 h 355"/>
                  <a:gd name="T16" fmla="*/ 2147483647 w 270"/>
                  <a:gd name="T17" fmla="*/ 2147483647 h 355"/>
                  <a:gd name="T18" fmla="*/ 2147483647 w 270"/>
                  <a:gd name="T19" fmla="*/ 2147483647 h 355"/>
                  <a:gd name="T20" fmla="*/ 2147483647 w 270"/>
                  <a:gd name="T21" fmla="*/ 2147483647 h 355"/>
                  <a:gd name="T22" fmla="*/ 2147483647 w 270"/>
                  <a:gd name="T23" fmla="*/ 2147483647 h 355"/>
                  <a:gd name="T24" fmla="*/ 2147483647 w 270"/>
                  <a:gd name="T25" fmla="*/ 2147483647 h 355"/>
                  <a:gd name="T26" fmla="*/ 2147483647 w 270"/>
                  <a:gd name="T27" fmla="*/ 2147483647 h 355"/>
                  <a:gd name="T28" fmla="*/ 2147483647 w 270"/>
                  <a:gd name="T29" fmla="*/ 2147483647 h 355"/>
                  <a:gd name="T30" fmla="*/ 2147483647 w 270"/>
                  <a:gd name="T31" fmla="*/ 2147483647 h 355"/>
                  <a:gd name="T32" fmla="*/ 2147483647 w 270"/>
                  <a:gd name="T33" fmla="*/ 2147483647 h 355"/>
                  <a:gd name="T34" fmla="*/ 2147483647 w 270"/>
                  <a:gd name="T35" fmla="*/ 2147483647 h 355"/>
                  <a:gd name="T36" fmla="*/ 2147483647 w 270"/>
                  <a:gd name="T37" fmla="*/ 2147483647 h 355"/>
                  <a:gd name="T38" fmla="*/ 2147483647 w 270"/>
                  <a:gd name="T39" fmla="*/ 2147483647 h 355"/>
                  <a:gd name="T40" fmla="*/ 2147483647 w 270"/>
                  <a:gd name="T41" fmla="*/ 2147483647 h 355"/>
                  <a:gd name="T42" fmla="*/ 2147483647 w 270"/>
                  <a:gd name="T43" fmla="*/ 2147483647 h 355"/>
                  <a:gd name="T44" fmla="*/ 2147483647 w 270"/>
                  <a:gd name="T45" fmla="*/ 0 h 355"/>
                  <a:gd name="T46" fmla="*/ 2147483647 w 270"/>
                  <a:gd name="T47" fmla="*/ 2147483647 h 355"/>
                  <a:gd name="T48" fmla="*/ 2147483647 w 270"/>
                  <a:gd name="T49" fmla="*/ 2147483647 h 355"/>
                  <a:gd name="T50" fmla="*/ 0 w 270"/>
                  <a:gd name="T51" fmla="*/ 2147483647 h 355"/>
                  <a:gd name="T52" fmla="*/ 2147483647 w 270"/>
                  <a:gd name="T53" fmla="*/ 2147483647 h 355"/>
                  <a:gd name="T54" fmla="*/ 2147483647 w 270"/>
                  <a:gd name="T55" fmla="*/ 2147483647 h 355"/>
                  <a:gd name="T56" fmla="*/ 2147483647 w 270"/>
                  <a:gd name="T57" fmla="*/ 2147483647 h 355"/>
                  <a:gd name="T58" fmla="*/ 2147483647 w 270"/>
                  <a:gd name="T59" fmla="*/ 2147483647 h 355"/>
                  <a:gd name="T60" fmla="*/ 2147483647 w 270"/>
                  <a:gd name="T61" fmla="*/ 2147483647 h 355"/>
                  <a:gd name="T62" fmla="*/ 2147483647 w 270"/>
                  <a:gd name="T63" fmla="*/ 2147483647 h 355"/>
                  <a:gd name="T64" fmla="*/ 2147483647 w 270"/>
                  <a:gd name="T65" fmla="*/ 2147483647 h 355"/>
                  <a:gd name="T66" fmla="*/ 2147483647 w 270"/>
                  <a:gd name="T67" fmla="*/ 2147483647 h 35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70" h="355">
                    <a:moveTo>
                      <a:pt x="113" y="254"/>
                    </a:moveTo>
                    <a:cubicBezTo>
                      <a:pt x="106" y="297"/>
                      <a:pt x="106" y="297"/>
                      <a:pt x="106" y="297"/>
                    </a:cubicBezTo>
                    <a:cubicBezTo>
                      <a:pt x="105" y="300"/>
                      <a:pt x="106" y="302"/>
                      <a:pt x="107" y="304"/>
                    </a:cubicBezTo>
                    <a:cubicBezTo>
                      <a:pt x="109" y="306"/>
                      <a:pt x="111" y="307"/>
                      <a:pt x="113" y="307"/>
                    </a:cubicBezTo>
                    <a:cubicBezTo>
                      <a:pt x="157" y="307"/>
                      <a:pt x="157" y="307"/>
                      <a:pt x="157" y="307"/>
                    </a:cubicBezTo>
                    <a:cubicBezTo>
                      <a:pt x="160" y="307"/>
                      <a:pt x="162" y="306"/>
                      <a:pt x="164" y="304"/>
                    </a:cubicBezTo>
                    <a:cubicBezTo>
                      <a:pt x="165" y="302"/>
                      <a:pt x="166" y="300"/>
                      <a:pt x="165" y="297"/>
                    </a:cubicBezTo>
                    <a:cubicBezTo>
                      <a:pt x="157" y="254"/>
                      <a:pt x="157" y="254"/>
                      <a:pt x="157" y="254"/>
                    </a:cubicBezTo>
                    <a:cubicBezTo>
                      <a:pt x="167" y="248"/>
                      <a:pt x="173" y="237"/>
                      <a:pt x="173" y="225"/>
                    </a:cubicBezTo>
                    <a:cubicBezTo>
                      <a:pt x="173" y="206"/>
                      <a:pt x="157" y="188"/>
                      <a:pt x="135" y="188"/>
                    </a:cubicBezTo>
                    <a:cubicBezTo>
                      <a:pt x="114" y="188"/>
                      <a:pt x="97" y="206"/>
                      <a:pt x="97" y="225"/>
                    </a:cubicBezTo>
                    <a:cubicBezTo>
                      <a:pt x="97" y="237"/>
                      <a:pt x="103" y="248"/>
                      <a:pt x="113" y="254"/>
                    </a:cubicBezTo>
                    <a:close/>
                    <a:moveTo>
                      <a:pt x="135" y="204"/>
                    </a:moveTo>
                    <a:cubicBezTo>
                      <a:pt x="148" y="204"/>
                      <a:pt x="157" y="214"/>
                      <a:pt x="157" y="225"/>
                    </a:cubicBezTo>
                    <a:cubicBezTo>
                      <a:pt x="157" y="233"/>
                      <a:pt x="152" y="240"/>
                      <a:pt x="145" y="243"/>
                    </a:cubicBezTo>
                    <a:cubicBezTo>
                      <a:pt x="141" y="244"/>
                      <a:pt x="139" y="248"/>
                      <a:pt x="140" y="252"/>
                    </a:cubicBezTo>
                    <a:cubicBezTo>
                      <a:pt x="147" y="291"/>
                      <a:pt x="147" y="291"/>
                      <a:pt x="147" y="291"/>
                    </a:cubicBezTo>
                    <a:cubicBezTo>
                      <a:pt x="123" y="291"/>
                      <a:pt x="123" y="291"/>
                      <a:pt x="123" y="291"/>
                    </a:cubicBezTo>
                    <a:cubicBezTo>
                      <a:pt x="130" y="252"/>
                      <a:pt x="130" y="252"/>
                      <a:pt x="130" y="252"/>
                    </a:cubicBezTo>
                    <a:cubicBezTo>
                      <a:pt x="131" y="248"/>
                      <a:pt x="129" y="244"/>
                      <a:pt x="125" y="243"/>
                    </a:cubicBezTo>
                    <a:cubicBezTo>
                      <a:pt x="118" y="240"/>
                      <a:pt x="113" y="233"/>
                      <a:pt x="113" y="225"/>
                    </a:cubicBezTo>
                    <a:cubicBezTo>
                      <a:pt x="113" y="214"/>
                      <a:pt x="122" y="204"/>
                      <a:pt x="135" y="204"/>
                    </a:cubicBezTo>
                    <a:close/>
                    <a:moveTo>
                      <a:pt x="256" y="141"/>
                    </a:moveTo>
                    <a:cubicBezTo>
                      <a:pt x="243" y="141"/>
                      <a:pt x="243" y="141"/>
                      <a:pt x="243" y="141"/>
                    </a:cubicBezTo>
                    <a:cubicBezTo>
                      <a:pt x="243" y="106"/>
                      <a:pt x="243" y="106"/>
                      <a:pt x="243" y="106"/>
                    </a:cubicBezTo>
                    <a:cubicBezTo>
                      <a:pt x="243" y="106"/>
                      <a:pt x="243" y="105"/>
                      <a:pt x="243" y="105"/>
                    </a:cubicBezTo>
                    <a:cubicBezTo>
                      <a:pt x="243" y="93"/>
                      <a:pt x="242" y="82"/>
                      <a:pt x="238" y="70"/>
                    </a:cubicBezTo>
                    <a:cubicBezTo>
                      <a:pt x="236" y="66"/>
                      <a:pt x="232" y="64"/>
                      <a:pt x="227" y="66"/>
                    </a:cubicBezTo>
                    <a:cubicBezTo>
                      <a:pt x="223" y="67"/>
                      <a:pt x="221" y="72"/>
                      <a:pt x="223" y="76"/>
                    </a:cubicBezTo>
                    <a:cubicBezTo>
                      <a:pt x="226" y="85"/>
                      <a:pt x="227" y="94"/>
                      <a:pt x="227" y="106"/>
                    </a:cubicBezTo>
                    <a:cubicBezTo>
                      <a:pt x="227" y="106"/>
                      <a:pt x="227" y="107"/>
                      <a:pt x="227" y="107"/>
                    </a:cubicBezTo>
                    <a:cubicBezTo>
                      <a:pt x="227" y="141"/>
                      <a:pt x="227" y="141"/>
                      <a:pt x="227" y="141"/>
                    </a:cubicBezTo>
                    <a:cubicBezTo>
                      <a:pt x="211" y="141"/>
                      <a:pt x="211" y="141"/>
                      <a:pt x="211" y="141"/>
                    </a:cubicBezTo>
                    <a:cubicBezTo>
                      <a:pt x="211" y="106"/>
                      <a:pt x="211" y="106"/>
                      <a:pt x="211" y="106"/>
                    </a:cubicBezTo>
                    <a:cubicBezTo>
                      <a:pt x="211" y="89"/>
                      <a:pt x="204" y="71"/>
                      <a:pt x="191" y="56"/>
                    </a:cubicBezTo>
                    <a:cubicBezTo>
                      <a:pt x="177" y="41"/>
                      <a:pt x="158" y="30"/>
                      <a:pt x="135" y="30"/>
                    </a:cubicBezTo>
                    <a:cubicBezTo>
                      <a:pt x="93" y="30"/>
                      <a:pt x="59" y="64"/>
                      <a:pt x="59" y="106"/>
                    </a:cubicBezTo>
                    <a:cubicBezTo>
                      <a:pt x="59" y="141"/>
                      <a:pt x="59" y="141"/>
                      <a:pt x="59" y="141"/>
                    </a:cubicBezTo>
                    <a:cubicBezTo>
                      <a:pt x="43" y="141"/>
                      <a:pt x="43" y="141"/>
                      <a:pt x="43" y="141"/>
                    </a:cubicBezTo>
                    <a:cubicBezTo>
                      <a:pt x="43" y="106"/>
                      <a:pt x="43" y="106"/>
                      <a:pt x="43" y="106"/>
                    </a:cubicBezTo>
                    <a:cubicBezTo>
                      <a:pt x="43" y="106"/>
                      <a:pt x="43" y="106"/>
                      <a:pt x="43" y="106"/>
                    </a:cubicBezTo>
                    <a:cubicBezTo>
                      <a:pt x="44" y="56"/>
                      <a:pt x="85" y="16"/>
                      <a:pt x="135" y="16"/>
                    </a:cubicBezTo>
                    <a:cubicBezTo>
                      <a:pt x="179" y="16"/>
                      <a:pt x="199" y="40"/>
                      <a:pt x="207" y="50"/>
                    </a:cubicBezTo>
                    <a:cubicBezTo>
                      <a:pt x="210" y="54"/>
                      <a:pt x="215" y="55"/>
                      <a:pt x="218" y="52"/>
                    </a:cubicBezTo>
                    <a:cubicBezTo>
                      <a:pt x="222" y="49"/>
                      <a:pt x="223" y="44"/>
                      <a:pt x="220" y="41"/>
                    </a:cubicBezTo>
                    <a:cubicBezTo>
                      <a:pt x="211" y="29"/>
                      <a:pt x="185" y="0"/>
                      <a:pt x="135" y="0"/>
                    </a:cubicBezTo>
                    <a:cubicBezTo>
                      <a:pt x="77" y="0"/>
                      <a:pt x="29" y="46"/>
                      <a:pt x="27" y="104"/>
                    </a:cubicBezTo>
                    <a:cubicBezTo>
                      <a:pt x="27" y="105"/>
                      <a:pt x="27" y="105"/>
                      <a:pt x="27" y="106"/>
                    </a:cubicBezTo>
                    <a:cubicBezTo>
                      <a:pt x="27" y="141"/>
                      <a:pt x="27" y="141"/>
                      <a:pt x="27" y="141"/>
                    </a:cubicBezTo>
                    <a:cubicBezTo>
                      <a:pt x="14" y="141"/>
                      <a:pt x="14" y="141"/>
                      <a:pt x="14" y="141"/>
                    </a:cubicBezTo>
                    <a:cubicBezTo>
                      <a:pt x="6" y="141"/>
                      <a:pt x="0" y="148"/>
                      <a:pt x="0" y="156"/>
                    </a:cubicBezTo>
                    <a:cubicBezTo>
                      <a:pt x="0" y="341"/>
                      <a:pt x="0" y="341"/>
                      <a:pt x="0" y="341"/>
                    </a:cubicBezTo>
                    <a:cubicBezTo>
                      <a:pt x="0" y="349"/>
                      <a:pt x="6" y="355"/>
                      <a:pt x="14" y="355"/>
                    </a:cubicBezTo>
                    <a:cubicBezTo>
                      <a:pt x="14" y="355"/>
                      <a:pt x="256" y="355"/>
                      <a:pt x="256" y="355"/>
                    </a:cubicBezTo>
                    <a:cubicBezTo>
                      <a:pt x="264" y="355"/>
                      <a:pt x="270" y="349"/>
                      <a:pt x="270" y="341"/>
                    </a:cubicBezTo>
                    <a:cubicBezTo>
                      <a:pt x="270" y="156"/>
                      <a:pt x="270" y="156"/>
                      <a:pt x="270" y="156"/>
                    </a:cubicBezTo>
                    <a:cubicBezTo>
                      <a:pt x="270" y="148"/>
                      <a:pt x="264" y="141"/>
                      <a:pt x="256" y="141"/>
                    </a:cubicBezTo>
                    <a:close/>
                    <a:moveTo>
                      <a:pt x="75" y="106"/>
                    </a:moveTo>
                    <a:cubicBezTo>
                      <a:pt x="75" y="72"/>
                      <a:pt x="102" y="46"/>
                      <a:pt x="135" y="46"/>
                    </a:cubicBezTo>
                    <a:cubicBezTo>
                      <a:pt x="153" y="46"/>
                      <a:pt x="168" y="54"/>
                      <a:pt x="178" y="67"/>
                    </a:cubicBezTo>
                    <a:cubicBezTo>
                      <a:pt x="189" y="79"/>
                      <a:pt x="195" y="94"/>
                      <a:pt x="195" y="106"/>
                    </a:cubicBezTo>
                    <a:cubicBezTo>
                      <a:pt x="195" y="141"/>
                      <a:pt x="195" y="141"/>
                      <a:pt x="195" y="141"/>
                    </a:cubicBezTo>
                    <a:cubicBezTo>
                      <a:pt x="75" y="141"/>
                      <a:pt x="75" y="141"/>
                      <a:pt x="75" y="141"/>
                    </a:cubicBezTo>
                    <a:lnTo>
                      <a:pt x="75" y="106"/>
                    </a:lnTo>
                    <a:close/>
                    <a:moveTo>
                      <a:pt x="254" y="339"/>
                    </a:moveTo>
                    <a:cubicBezTo>
                      <a:pt x="16" y="339"/>
                      <a:pt x="16" y="339"/>
                      <a:pt x="16" y="339"/>
                    </a:cubicBezTo>
                    <a:cubicBezTo>
                      <a:pt x="16" y="157"/>
                      <a:pt x="16" y="157"/>
                      <a:pt x="16" y="157"/>
                    </a:cubicBezTo>
                    <a:cubicBezTo>
                      <a:pt x="254" y="157"/>
                      <a:pt x="254" y="157"/>
                      <a:pt x="254" y="157"/>
                    </a:cubicBezTo>
                    <a:lnTo>
                      <a:pt x="254" y="3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09" name="Freeform 3"/>
              <p:cNvSpPr>
                <a:spLocks noChangeAspect="1" noEditPoints="1"/>
              </p:cNvSpPr>
              <p:nvPr/>
            </p:nvSpPr>
            <p:spPr bwMode="auto">
              <a:xfrm>
                <a:off x="5545624" y="3297809"/>
                <a:ext cx="118334" cy="86358"/>
              </a:xfrm>
              <a:custGeom>
                <a:avLst/>
                <a:gdLst>
                  <a:gd name="T0" fmla="*/ 2147483647 w 366"/>
                  <a:gd name="T1" fmla="*/ 2147483647 h 273"/>
                  <a:gd name="T2" fmla="*/ 2147483647 w 366"/>
                  <a:gd name="T3" fmla="*/ 2147483647 h 273"/>
                  <a:gd name="T4" fmla="*/ 2147483647 w 366"/>
                  <a:gd name="T5" fmla="*/ 2147483647 h 273"/>
                  <a:gd name="T6" fmla="*/ 2147483647 w 366"/>
                  <a:gd name="T7" fmla="*/ 0 h 273"/>
                  <a:gd name="T8" fmla="*/ 2147483647 w 366"/>
                  <a:gd name="T9" fmla="*/ 0 h 273"/>
                  <a:gd name="T10" fmla="*/ 0 w 366"/>
                  <a:gd name="T11" fmla="*/ 2147483647 h 273"/>
                  <a:gd name="T12" fmla="*/ 0 w 366"/>
                  <a:gd name="T13" fmla="*/ 2147483647 h 273"/>
                  <a:gd name="T14" fmla="*/ 2147483647 w 366"/>
                  <a:gd name="T15" fmla="*/ 2147483647 h 273"/>
                  <a:gd name="T16" fmla="*/ 2147483647 w 366"/>
                  <a:gd name="T17" fmla="*/ 2147483647 h 273"/>
                  <a:gd name="T18" fmla="*/ 2147483647 w 366"/>
                  <a:gd name="T19" fmla="*/ 2147483647 h 273"/>
                  <a:gd name="T20" fmla="*/ 2147483647 w 366"/>
                  <a:gd name="T21" fmla="*/ 2147483647 h 273"/>
                  <a:gd name="T22" fmla="*/ 2147483647 w 366"/>
                  <a:gd name="T23" fmla="*/ 2147483647 h 273"/>
                  <a:gd name="T24" fmla="*/ 2147483647 w 366"/>
                  <a:gd name="T25" fmla="*/ 2147483647 h 273"/>
                  <a:gd name="T26" fmla="*/ 2147483647 w 366"/>
                  <a:gd name="T27" fmla="*/ 2147483647 h 273"/>
                  <a:gd name="T28" fmla="*/ 2147483647 w 366"/>
                  <a:gd name="T29" fmla="*/ 2147483647 h 273"/>
                  <a:gd name="T30" fmla="*/ 2147483647 w 366"/>
                  <a:gd name="T31" fmla="*/ 2147483647 h 273"/>
                  <a:gd name="T32" fmla="*/ 2147483647 w 366"/>
                  <a:gd name="T33" fmla="*/ 2147483647 h 273"/>
                  <a:gd name="T34" fmla="*/ 2147483647 w 366"/>
                  <a:gd name="T35" fmla="*/ 2147483647 h 273"/>
                  <a:gd name="T36" fmla="*/ 2147483647 w 366"/>
                  <a:gd name="T37" fmla="*/ 2147483647 h 273"/>
                  <a:gd name="T38" fmla="*/ 2147483647 w 366"/>
                  <a:gd name="T39" fmla="*/ 2147483647 h 273"/>
                  <a:gd name="T40" fmla="*/ 2147483647 w 366"/>
                  <a:gd name="T41" fmla="*/ 2147483647 h 273"/>
                  <a:gd name="T42" fmla="*/ 2147483647 w 366"/>
                  <a:gd name="T43" fmla="*/ 2147483647 h 273"/>
                  <a:gd name="T44" fmla="*/ 2147483647 w 366"/>
                  <a:gd name="T45" fmla="*/ 2147483647 h 273"/>
                  <a:gd name="T46" fmla="*/ 2147483647 w 366"/>
                  <a:gd name="T47" fmla="*/ 2147483647 h 273"/>
                  <a:gd name="T48" fmla="*/ 2147483647 w 366"/>
                  <a:gd name="T49" fmla="*/ 2147483647 h 273"/>
                  <a:gd name="T50" fmla="*/ 2147483647 w 366"/>
                  <a:gd name="T51" fmla="*/ 2147483647 h 273"/>
                  <a:gd name="T52" fmla="*/ 2147483647 w 366"/>
                  <a:gd name="T53" fmla="*/ 2147483647 h 273"/>
                  <a:gd name="T54" fmla="*/ 2147483647 w 366"/>
                  <a:gd name="T55" fmla="*/ 2147483647 h 273"/>
                  <a:gd name="T56" fmla="*/ 2147483647 w 366"/>
                  <a:gd name="T57" fmla="*/ 2147483647 h 273"/>
                  <a:gd name="T58" fmla="*/ 2147483647 w 366"/>
                  <a:gd name="T59" fmla="*/ 2147483647 h 273"/>
                  <a:gd name="T60" fmla="*/ 2147483647 w 366"/>
                  <a:gd name="T61" fmla="*/ 2147483647 h 273"/>
                  <a:gd name="T62" fmla="*/ 2147483647 w 366"/>
                  <a:gd name="T63" fmla="*/ 2147483647 h 273"/>
                  <a:gd name="T64" fmla="*/ 2147483647 w 366"/>
                  <a:gd name="T65" fmla="*/ 2147483647 h 273"/>
                  <a:gd name="T66" fmla="*/ 2147483647 w 366"/>
                  <a:gd name="T67" fmla="*/ 2147483647 h 2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366" h="273">
                    <a:moveTo>
                      <a:pt x="358" y="57"/>
                    </a:moveTo>
                    <a:cubicBezTo>
                      <a:pt x="362" y="57"/>
                      <a:pt x="366" y="53"/>
                      <a:pt x="366" y="49"/>
                    </a:cubicBezTo>
                    <a:cubicBezTo>
                      <a:pt x="366" y="26"/>
                      <a:pt x="366" y="26"/>
                      <a:pt x="366" y="26"/>
                    </a:cubicBezTo>
                    <a:cubicBezTo>
                      <a:pt x="366" y="15"/>
                      <a:pt x="359" y="0"/>
                      <a:pt x="340" y="0"/>
                    </a:cubicBezTo>
                    <a:cubicBezTo>
                      <a:pt x="26" y="0"/>
                      <a:pt x="26" y="0"/>
                      <a:pt x="26" y="0"/>
                    </a:cubicBezTo>
                    <a:cubicBezTo>
                      <a:pt x="16" y="0"/>
                      <a:pt x="0" y="7"/>
                      <a:pt x="0" y="26"/>
                    </a:cubicBezTo>
                    <a:cubicBezTo>
                      <a:pt x="0" y="247"/>
                      <a:pt x="0" y="247"/>
                      <a:pt x="0" y="247"/>
                    </a:cubicBezTo>
                    <a:cubicBezTo>
                      <a:pt x="0" y="258"/>
                      <a:pt x="7" y="273"/>
                      <a:pt x="26" y="273"/>
                    </a:cubicBezTo>
                    <a:cubicBezTo>
                      <a:pt x="340" y="273"/>
                      <a:pt x="340" y="273"/>
                      <a:pt x="340" y="273"/>
                    </a:cubicBezTo>
                    <a:cubicBezTo>
                      <a:pt x="350" y="273"/>
                      <a:pt x="366" y="266"/>
                      <a:pt x="366" y="247"/>
                    </a:cubicBezTo>
                    <a:cubicBezTo>
                      <a:pt x="366" y="81"/>
                      <a:pt x="366" y="81"/>
                      <a:pt x="366" y="81"/>
                    </a:cubicBezTo>
                    <a:cubicBezTo>
                      <a:pt x="366" y="76"/>
                      <a:pt x="362" y="73"/>
                      <a:pt x="358" y="73"/>
                    </a:cubicBezTo>
                    <a:cubicBezTo>
                      <a:pt x="354" y="73"/>
                      <a:pt x="350" y="76"/>
                      <a:pt x="350" y="81"/>
                    </a:cubicBezTo>
                    <a:cubicBezTo>
                      <a:pt x="350" y="247"/>
                      <a:pt x="350" y="247"/>
                      <a:pt x="350" y="247"/>
                    </a:cubicBezTo>
                    <a:cubicBezTo>
                      <a:pt x="221" y="137"/>
                      <a:pt x="221" y="137"/>
                      <a:pt x="221" y="137"/>
                    </a:cubicBezTo>
                    <a:cubicBezTo>
                      <a:pt x="350" y="28"/>
                      <a:pt x="350" y="28"/>
                      <a:pt x="350" y="28"/>
                    </a:cubicBezTo>
                    <a:cubicBezTo>
                      <a:pt x="350" y="49"/>
                      <a:pt x="350" y="49"/>
                      <a:pt x="350" y="49"/>
                    </a:cubicBezTo>
                    <a:cubicBezTo>
                      <a:pt x="350" y="53"/>
                      <a:pt x="354" y="57"/>
                      <a:pt x="358" y="57"/>
                    </a:cubicBezTo>
                    <a:close/>
                    <a:moveTo>
                      <a:pt x="16" y="246"/>
                    </a:moveTo>
                    <a:cubicBezTo>
                      <a:pt x="16" y="28"/>
                      <a:pt x="16" y="28"/>
                      <a:pt x="16" y="28"/>
                    </a:cubicBezTo>
                    <a:cubicBezTo>
                      <a:pt x="146" y="137"/>
                      <a:pt x="146" y="137"/>
                      <a:pt x="146" y="137"/>
                    </a:cubicBezTo>
                    <a:lnTo>
                      <a:pt x="16" y="246"/>
                    </a:lnTo>
                    <a:close/>
                    <a:moveTo>
                      <a:pt x="338" y="257"/>
                    </a:moveTo>
                    <a:cubicBezTo>
                      <a:pt x="28" y="257"/>
                      <a:pt x="28" y="257"/>
                      <a:pt x="28" y="257"/>
                    </a:cubicBezTo>
                    <a:cubicBezTo>
                      <a:pt x="158" y="148"/>
                      <a:pt x="158" y="148"/>
                      <a:pt x="158" y="148"/>
                    </a:cubicBezTo>
                    <a:cubicBezTo>
                      <a:pt x="178" y="165"/>
                      <a:pt x="178" y="165"/>
                      <a:pt x="178" y="165"/>
                    </a:cubicBezTo>
                    <a:cubicBezTo>
                      <a:pt x="179" y="166"/>
                      <a:pt x="181" y="166"/>
                      <a:pt x="183" y="166"/>
                    </a:cubicBezTo>
                    <a:cubicBezTo>
                      <a:pt x="185" y="166"/>
                      <a:pt x="187" y="166"/>
                      <a:pt x="188" y="165"/>
                    </a:cubicBezTo>
                    <a:cubicBezTo>
                      <a:pt x="208" y="148"/>
                      <a:pt x="208" y="148"/>
                      <a:pt x="208" y="148"/>
                    </a:cubicBezTo>
                    <a:lnTo>
                      <a:pt x="338" y="257"/>
                    </a:lnTo>
                    <a:close/>
                    <a:moveTo>
                      <a:pt x="183" y="148"/>
                    </a:moveTo>
                    <a:cubicBezTo>
                      <a:pt x="26" y="16"/>
                      <a:pt x="26" y="16"/>
                      <a:pt x="26" y="16"/>
                    </a:cubicBezTo>
                    <a:cubicBezTo>
                      <a:pt x="340" y="16"/>
                      <a:pt x="340" y="16"/>
                      <a:pt x="340" y="16"/>
                    </a:cubicBezTo>
                    <a:lnTo>
                      <a:pt x="183" y="1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10" name="Freeform 3"/>
              <p:cNvSpPr>
                <a:spLocks noChangeAspect="1" noEditPoints="1"/>
              </p:cNvSpPr>
              <p:nvPr/>
            </p:nvSpPr>
            <p:spPr bwMode="auto">
              <a:xfrm>
                <a:off x="4790361" y="3221525"/>
                <a:ext cx="138992" cy="134693"/>
              </a:xfrm>
              <a:custGeom>
                <a:avLst/>
                <a:gdLst>
                  <a:gd name="T0" fmla="*/ 2147483647 w 430"/>
                  <a:gd name="T1" fmla="*/ 2147483647 h 426"/>
                  <a:gd name="T2" fmla="*/ 2147483647 w 430"/>
                  <a:gd name="T3" fmla="*/ 2147483647 h 426"/>
                  <a:gd name="T4" fmla="*/ 2147483647 w 430"/>
                  <a:gd name="T5" fmla="*/ 2147483647 h 426"/>
                  <a:gd name="T6" fmla="*/ 2147483647 w 430"/>
                  <a:gd name="T7" fmla="*/ 2147483647 h 426"/>
                  <a:gd name="T8" fmla="*/ 2147483647 w 430"/>
                  <a:gd name="T9" fmla="*/ 2147483647 h 426"/>
                  <a:gd name="T10" fmla="*/ 2147483647 w 430"/>
                  <a:gd name="T11" fmla="*/ 2147483647 h 426"/>
                  <a:gd name="T12" fmla="*/ 2147483647 w 430"/>
                  <a:gd name="T13" fmla="*/ 2147483647 h 426"/>
                  <a:gd name="T14" fmla="*/ 2147483647 w 430"/>
                  <a:gd name="T15" fmla="*/ 2147483647 h 426"/>
                  <a:gd name="T16" fmla="*/ 2147483647 w 430"/>
                  <a:gd name="T17" fmla="*/ 2147483647 h 426"/>
                  <a:gd name="T18" fmla="*/ 2147483647 w 430"/>
                  <a:gd name="T19" fmla="*/ 2147483647 h 426"/>
                  <a:gd name="T20" fmla="*/ 2147483647 w 430"/>
                  <a:gd name="T21" fmla="*/ 2147483647 h 426"/>
                  <a:gd name="T22" fmla="*/ 2147483647 w 430"/>
                  <a:gd name="T23" fmla="*/ 2147483647 h 426"/>
                  <a:gd name="T24" fmla="*/ 2147483647 w 430"/>
                  <a:gd name="T25" fmla="*/ 2147483647 h 426"/>
                  <a:gd name="T26" fmla="*/ 2147483647 w 430"/>
                  <a:gd name="T27" fmla="*/ 2147483647 h 426"/>
                  <a:gd name="T28" fmla="*/ 2147483647 w 430"/>
                  <a:gd name="T29" fmla="*/ 2147483647 h 426"/>
                  <a:gd name="T30" fmla="*/ 2147483647 w 430"/>
                  <a:gd name="T31" fmla="*/ 2147483647 h 426"/>
                  <a:gd name="T32" fmla="*/ 2147483647 w 430"/>
                  <a:gd name="T33" fmla="*/ 2147483647 h 426"/>
                  <a:gd name="T34" fmla="*/ 2147483647 w 430"/>
                  <a:gd name="T35" fmla="*/ 2147483647 h 426"/>
                  <a:gd name="T36" fmla="*/ 2147483647 w 430"/>
                  <a:gd name="T37" fmla="*/ 2147483647 h 426"/>
                  <a:gd name="T38" fmla="*/ 2147483647 w 430"/>
                  <a:gd name="T39" fmla="*/ 2147483647 h 426"/>
                  <a:gd name="T40" fmla="*/ 2147483647 w 430"/>
                  <a:gd name="T41" fmla="*/ 2147483647 h 426"/>
                  <a:gd name="T42" fmla="*/ 2147483647 w 430"/>
                  <a:gd name="T43" fmla="*/ 2147483647 h 426"/>
                  <a:gd name="T44" fmla="*/ 2147483647 w 430"/>
                  <a:gd name="T45" fmla="*/ 2147483647 h 426"/>
                  <a:gd name="T46" fmla="*/ 2147483647 w 430"/>
                  <a:gd name="T47" fmla="*/ 2147483647 h 426"/>
                  <a:gd name="T48" fmla="*/ 2147483647 w 430"/>
                  <a:gd name="T49" fmla="*/ 2147483647 h 426"/>
                  <a:gd name="T50" fmla="*/ 2147483647 w 430"/>
                  <a:gd name="T51" fmla="*/ 2147483647 h 426"/>
                  <a:gd name="T52" fmla="*/ 2147483647 w 430"/>
                  <a:gd name="T53" fmla="*/ 2147483647 h 426"/>
                  <a:gd name="T54" fmla="*/ 2147483647 w 430"/>
                  <a:gd name="T55" fmla="*/ 2147483647 h 426"/>
                  <a:gd name="T56" fmla="*/ 2147483647 w 430"/>
                  <a:gd name="T57" fmla="*/ 2147483647 h 426"/>
                  <a:gd name="T58" fmla="*/ 2147483647 w 430"/>
                  <a:gd name="T59" fmla="*/ 2147483647 h 426"/>
                  <a:gd name="T60" fmla="*/ 2147483647 w 430"/>
                  <a:gd name="T61" fmla="*/ 2147483647 h 426"/>
                  <a:gd name="T62" fmla="*/ 2147483647 w 430"/>
                  <a:gd name="T63" fmla="*/ 2147483647 h 426"/>
                  <a:gd name="T64" fmla="*/ 2147483647 w 430"/>
                  <a:gd name="T65" fmla="*/ 2147483647 h 426"/>
                  <a:gd name="T66" fmla="*/ 2147483647 w 430"/>
                  <a:gd name="T67" fmla="*/ 2147483647 h 426"/>
                  <a:gd name="T68" fmla="*/ 2147483647 w 430"/>
                  <a:gd name="T69" fmla="*/ 2147483647 h 426"/>
                  <a:gd name="T70" fmla="*/ 2147483647 w 430"/>
                  <a:gd name="T71" fmla="*/ 2147483647 h 426"/>
                  <a:gd name="T72" fmla="*/ 2147483647 w 430"/>
                  <a:gd name="T73" fmla="*/ 2147483647 h 426"/>
                  <a:gd name="T74" fmla="*/ 2147483647 w 430"/>
                  <a:gd name="T75" fmla="*/ 2147483647 h 426"/>
                  <a:gd name="T76" fmla="*/ 2147483647 w 430"/>
                  <a:gd name="T77" fmla="*/ 2147483647 h 426"/>
                  <a:gd name="T78" fmla="*/ 2147483647 w 430"/>
                  <a:gd name="T79" fmla="*/ 2147483647 h 426"/>
                  <a:gd name="T80" fmla="*/ 2147483647 w 430"/>
                  <a:gd name="T81" fmla="*/ 2147483647 h 426"/>
                  <a:gd name="T82" fmla="*/ 2147483647 w 430"/>
                  <a:gd name="T83" fmla="*/ 2147483647 h 426"/>
                  <a:gd name="T84" fmla="*/ 2147483647 w 430"/>
                  <a:gd name="T85" fmla="*/ 2147483647 h 426"/>
                  <a:gd name="T86" fmla="*/ 2147483647 w 430"/>
                  <a:gd name="T87" fmla="*/ 2147483647 h 426"/>
                  <a:gd name="T88" fmla="*/ 2147483647 w 430"/>
                  <a:gd name="T89" fmla="*/ 2147483647 h 426"/>
                  <a:gd name="T90" fmla="*/ 2147483647 w 430"/>
                  <a:gd name="T91" fmla="*/ 2147483647 h 426"/>
                  <a:gd name="T92" fmla="*/ 2147483647 w 430"/>
                  <a:gd name="T93" fmla="*/ 2147483647 h 426"/>
                  <a:gd name="T94" fmla="*/ 2147483647 w 430"/>
                  <a:gd name="T95" fmla="*/ 2147483647 h 426"/>
                  <a:gd name="T96" fmla="*/ 2147483647 w 430"/>
                  <a:gd name="T97" fmla="*/ 2147483647 h 426"/>
                  <a:gd name="T98" fmla="*/ 2147483647 w 430"/>
                  <a:gd name="T99" fmla="*/ 2147483647 h 426"/>
                  <a:gd name="T100" fmla="*/ 2147483647 w 430"/>
                  <a:gd name="T101" fmla="*/ 2147483647 h 426"/>
                  <a:gd name="T102" fmla="*/ 2147483647 w 430"/>
                  <a:gd name="T103" fmla="*/ 2147483647 h 426"/>
                  <a:gd name="T104" fmla="*/ 2147483647 w 430"/>
                  <a:gd name="T105" fmla="*/ 2147483647 h 426"/>
                  <a:gd name="T106" fmla="*/ 2147483647 w 430"/>
                  <a:gd name="T107" fmla="*/ 2147483647 h 426"/>
                  <a:gd name="T108" fmla="*/ 2147483647 w 430"/>
                  <a:gd name="T109" fmla="*/ 2147483647 h 426"/>
                  <a:gd name="T110" fmla="*/ 2147483647 w 430"/>
                  <a:gd name="T111" fmla="*/ 2147483647 h 426"/>
                  <a:gd name="T112" fmla="*/ 2147483647 w 430"/>
                  <a:gd name="T113" fmla="*/ 2147483647 h 426"/>
                  <a:gd name="T114" fmla="*/ 2147483647 w 430"/>
                  <a:gd name="T115" fmla="*/ 2147483647 h 426"/>
                  <a:gd name="T116" fmla="*/ 2147483647 w 430"/>
                  <a:gd name="T117" fmla="*/ 2147483647 h 426"/>
                  <a:gd name="T118" fmla="*/ 2147483647 w 430"/>
                  <a:gd name="T119" fmla="*/ 2147483647 h 426"/>
                  <a:gd name="T120" fmla="*/ 2147483647 w 430"/>
                  <a:gd name="T121" fmla="*/ 2147483647 h 4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430" h="426">
                    <a:moveTo>
                      <a:pt x="366" y="169"/>
                    </a:moveTo>
                    <a:cubicBezTo>
                      <a:pt x="366" y="165"/>
                      <a:pt x="366" y="160"/>
                      <a:pt x="366" y="155"/>
                    </a:cubicBezTo>
                    <a:cubicBezTo>
                      <a:pt x="363" y="133"/>
                      <a:pt x="353" y="113"/>
                      <a:pt x="339" y="97"/>
                    </a:cubicBezTo>
                    <a:cubicBezTo>
                      <a:pt x="336" y="94"/>
                      <a:pt x="331" y="94"/>
                      <a:pt x="328" y="97"/>
                    </a:cubicBezTo>
                    <a:cubicBezTo>
                      <a:pt x="325" y="100"/>
                      <a:pt x="324" y="105"/>
                      <a:pt x="327" y="108"/>
                    </a:cubicBezTo>
                    <a:cubicBezTo>
                      <a:pt x="339" y="121"/>
                      <a:pt x="347" y="138"/>
                      <a:pt x="350" y="157"/>
                    </a:cubicBezTo>
                    <a:cubicBezTo>
                      <a:pt x="350" y="161"/>
                      <a:pt x="350" y="165"/>
                      <a:pt x="350" y="169"/>
                    </a:cubicBezTo>
                    <a:cubicBezTo>
                      <a:pt x="350" y="195"/>
                      <a:pt x="340" y="218"/>
                      <a:pt x="323" y="235"/>
                    </a:cubicBezTo>
                    <a:cubicBezTo>
                      <a:pt x="321" y="234"/>
                      <a:pt x="320" y="233"/>
                      <a:pt x="318" y="232"/>
                    </a:cubicBezTo>
                    <a:cubicBezTo>
                      <a:pt x="321" y="226"/>
                      <a:pt x="322" y="219"/>
                      <a:pt x="322" y="211"/>
                    </a:cubicBezTo>
                    <a:cubicBezTo>
                      <a:pt x="322" y="183"/>
                      <a:pt x="300" y="161"/>
                      <a:pt x="272" y="161"/>
                    </a:cubicBezTo>
                    <a:cubicBezTo>
                      <a:pt x="263" y="161"/>
                      <a:pt x="254" y="163"/>
                      <a:pt x="247" y="168"/>
                    </a:cubicBezTo>
                    <a:cubicBezTo>
                      <a:pt x="233" y="143"/>
                      <a:pt x="210" y="124"/>
                      <a:pt x="183" y="116"/>
                    </a:cubicBezTo>
                    <a:cubicBezTo>
                      <a:pt x="197" y="96"/>
                      <a:pt x="220" y="81"/>
                      <a:pt x="246" y="78"/>
                    </a:cubicBezTo>
                    <a:cubicBezTo>
                      <a:pt x="252" y="77"/>
                      <a:pt x="257" y="77"/>
                      <a:pt x="261" y="77"/>
                    </a:cubicBezTo>
                    <a:cubicBezTo>
                      <a:pt x="277" y="77"/>
                      <a:pt x="290" y="80"/>
                      <a:pt x="303" y="88"/>
                    </a:cubicBezTo>
                    <a:cubicBezTo>
                      <a:pt x="307" y="90"/>
                      <a:pt x="312" y="89"/>
                      <a:pt x="314" y="85"/>
                    </a:cubicBezTo>
                    <a:cubicBezTo>
                      <a:pt x="317" y="81"/>
                      <a:pt x="315" y="76"/>
                      <a:pt x="312" y="74"/>
                    </a:cubicBezTo>
                    <a:cubicBezTo>
                      <a:pt x="312" y="74"/>
                      <a:pt x="312" y="74"/>
                      <a:pt x="312" y="74"/>
                    </a:cubicBezTo>
                    <a:cubicBezTo>
                      <a:pt x="296" y="65"/>
                      <a:pt x="279" y="61"/>
                      <a:pt x="261" y="61"/>
                    </a:cubicBezTo>
                    <a:cubicBezTo>
                      <a:pt x="256" y="61"/>
                      <a:pt x="250" y="61"/>
                      <a:pt x="244" y="62"/>
                    </a:cubicBezTo>
                    <a:cubicBezTo>
                      <a:pt x="210" y="66"/>
                      <a:pt x="182" y="86"/>
                      <a:pt x="166" y="113"/>
                    </a:cubicBezTo>
                    <a:cubicBezTo>
                      <a:pt x="162" y="113"/>
                      <a:pt x="158" y="112"/>
                      <a:pt x="154" y="112"/>
                    </a:cubicBezTo>
                    <a:cubicBezTo>
                      <a:pt x="102" y="112"/>
                      <a:pt x="59" y="151"/>
                      <a:pt x="51" y="201"/>
                    </a:cubicBezTo>
                    <a:cubicBezTo>
                      <a:pt x="22" y="209"/>
                      <a:pt x="0" y="236"/>
                      <a:pt x="0" y="268"/>
                    </a:cubicBezTo>
                    <a:cubicBezTo>
                      <a:pt x="0" y="298"/>
                      <a:pt x="18" y="323"/>
                      <a:pt x="44" y="333"/>
                    </a:cubicBezTo>
                    <a:cubicBezTo>
                      <a:pt x="45" y="334"/>
                      <a:pt x="46" y="334"/>
                      <a:pt x="47" y="334"/>
                    </a:cubicBezTo>
                    <a:cubicBezTo>
                      <a:pt x="50" y="334"/>
                      <a:pt x="53" y="332"/>
                      <a:pt x="54" y="329"/>
                    </a:cubicBezTo>
                    <a:cubicBezTo>
                      <a:pt x="56" y="325"/>
                      <a:pt x="54" y="320"/>
                      <a:pt x="50" y="318"/>
                    </a:cubicBezTo>
                    <a:cubicBezTo>
                      <a:pt x="30" y="310"/>
                      <a:pt x="16" y="291"/>
                      <a:pt x="16" y="268"/>
                    </a:cubicBezTo>
                    <a:cubicBezTo>
                      <a:pt x="16" y="242"/>
                      <a:pt x="35" y="220"/>
                      <a:pt x="60" y="215"/>
                    </a:cubicBezTo>
                    <a:cubicBezTo>
                      <a:pt x="63" y="215"/>
                      <a:pt x="66" y="212"/>
                      <a:pt x="66" y="208"/>
                    </a:cubicBezTo>
                    <a:cubicBezTo>
                      <a:pt x="71" y="163"/>
                      <a:pt x="108" y="128"/>
                      <a:pt x="154" y="128"/>
                    </a:cubicBezTo>
                    <a:cubicBezTo>
                      <a:pt x="191" y="128"/>
                      <a:pt x="223" y="151"/>
                      <a:pt x="236" y="183"/>
                    </a:cubicBezTo>
                    <a:cubicBezTo>
                      <a:pt x="237" y="185"/>
                      <a:pt x="239" y="187"/>
                      <a:pt x="242" y="187"/>
                    </a:cubicBezTo>
                    <a:cubicBezTo>
                      <a:pt x="244" y="188"/>
                      <a:pt x="247" y="187"/>
                      <a:pt x="249" y="186"/>
                    </a:cubicBezTo>
                    <a:cubicBezTo>
                      <a:pt x="255" y="180"/>
                      <a:pt x="263" y="177"/>
                      <a:pt x="272" y="177"/>
                    </a:cubicBezTo>
                    <a:cubicBezTo>
                      <a:pt x="291" y="177"/>
                      <a:pt x="306" y="192"/>
                      <a:pt x="306" y="211"/>
                    </a:cubicBezTo>
                    <a:cubicBezTo>
                      <a:pt x="306" y="219"/>
                      <a:pt x="304" y="227"/>
                      <a:pt x="299" y="232"/>
                    </a:cubicBezTo>
                    <a:cubicBezTo>
                      <a:pt x="297" y="235"/>
                      <a:pt x="297" y="238"/>
                      <a:pt x="298" y="240"/>
                    </a:cubicBezTo>
                    <a:cubicBezTo>
                      <a:pt x="299" y="243"/>
                      <a:pt x="301" y="245"/>
                      <a:pt x="304" y="245"/>
                    </a:cubicBezTo>
                    <a:cubicBezTo>
                      <a:pt x="323" y="248"/>
                      <a:pt x="337" y="264"/>
                      <a:pt x="337" y="284"/>
                    </a:cubicBezTo>
                    <a:cubicBezTo>
                      <a:pt x="337" y="299"/>
                      <a:pt x="329" y="312"/>
                      <a:pt x="317" y="318"/>
                    </a:cubicBezTo>
                    <a:cubicBezTo>
                      <a:pt x="313" y="320"/>
                      <a:pt x="311" y="325"/>
                      <a:pt x="313" y="329"/>
                    </a:cubicBezTo>
                    <a:cubicBezTo>
                      <a:pt x="315" y="333"/>
                      <a:pt x="320" y="334"/>
                      <a:pt x="324" y="332"/>
                    </a:cubicBezTo>
                    <a:cubicBezTo>
                      <a:pt x="324" y="332"/>
                      <a:pt x="324" y="332"/>
                      <a:pt x="324" y="332"/>
                    </a:cubicBezTo>
                    <a:cubicBezTo>
                      <a:pt x="342" y="323"/>
                      <a:pt x="353" y="305"/>
                      <a:pt x="353" y="284"/>
                    </a:cubicBezTo>
                    <a:cubicBezTo>
                      <a:pt x="353" y="268"/>
                      <a:pt x="347" y="254"/>
                      <a:pt x="336" y="244"/>
                    </a:cubicBezTo>
                    <a:cubicBezTo>
                      <a:pt x="355" y="224"/>
                      <a:pt x="366" y="198"/>
                      <a:pt x="366" y="169"/>
                    </a:cubicBezTo>
                    <a:moveTo>
                      <a:pt x="233" y="39"/>
                    </a:moveTo>
                    <a:cubicBezTo>
                      <a:pt x="234" y="43"/>
                      <a:pt x="237" y="46"/>
                      <a:pt x="241" y="46"/>
                    </a:cubicBezTo>
                    <a:cubicBezTo>
                      <a:pt x="242" y="46"/>
                      <a:pt x="242" y="46"/>
                      <a:pt x="242" y="46"/>
                    </a:cubicBezTo>
                    <a:cubicBezTo>
                      <a:pt x="247" y="45"/>
                      <a:pt x="250" y="41"/>
                      <a:pt x="249" y="37"/>
                    </a:cubicBezTo>
                    <a:cubicBezTo>
                      <a:pt x="245" y="8"/>
                      <a:pt x="245" y="8"/>
                      <a:pt x="245" y="8"/>
                    </a:cubicBezTo>
                    <a:cubicBezTo>
                      <a:pt x="245" y="3"/>
                      <a:pt x="241" y="0"/>
                      <a:pt x="236" y="1"/>
                    </a:cubicBezTo>
                    <a:cubicBezTo>
                      <a:pt x="232" y="1"/>
                      <a:pt x="229" y="5"/>
                      <a:pt x="229" y="10"/>
                    </a:cubicBezTo>
                    <a:lnTo>
                      <a:pt x="233" y="39"/>
                    </a:lnTo>
                    <a:close/>
                    <a:moveTo>
                      <a:pt x="185" y="60"/>
                    </a:moveTo>
                    <a:cubicBezTo>
                      <a:pt x="186" y="62"/>
                      <a:pt x="189" y="64"/>
                      <a:pt x="192" y="64"/>
                    </a:cubicBezTo>
                    <a:cubicBezTo>
                      <a:pt x="193" y="64"/>
                      <a:pt x="194" y="63"/>
                      <a:pt x="196" y="63"/>
                    </a:cubicBezTo>
                    <a:cubicBezTo>
                      <a:pt x="199" y="60"/>
                      <a:pt x="201" y="56"/>
                      <a:pt x="199" y="52"/>
                    </a:cubicBezTo>
                    <a:cubicBezTo>
                      <a:pt x="183" y="25"/>
                      <a:pt x="183" y="25"/>
                      <a:pt x="183" y="25"/>
                    </a:cubicBezTo>
                    <a:cubicBezTo>
                      <a:pt x="181" y="21"/>
                      <a:pt x="176" y="20"/>
                      <a:pt x="173" y="22"/>
                    </a:cubicBezTo>
                    <a:cubicBezTo>
                      <a:pt x="169" y="24"/>
                      <a:pt x="167" y="29"/>
                      <a:pt x="170" y="33"/>
                    </a:cubicBezTo>
                    <a:lnTo>
                      <a:pt x="185" y="60"/>
                    </a:lnTo>
                    <a:close/>
                    <a:moveTo>
                      <a:pt x="394" y="266"/>
                    </a:moveTo>
                    <a:cubicBezTo>
                      <a:pt x="366" y="245"/>
                      <a:pt x="366" y="245"/>
                      <a:pt x="366" y="245"/>
                    </a:cubicBezTo>
                    <a:cubicBezTo>
                      <a:pt x="363" y="242"/>
                      <a:pt x="358" y="243"/>
                      <a:pt x="355" y="247"/>
                    </a:cubicBezTo>
                    <a:cubicBezTo>
                      <a:pt x="352" y="250"/>
                      <a:pt x="353" y="255"/>
                      <a:pt x="357" y="258"/>
                    </a:cubicBezTo>
                    <a:cubicBezTo>
                      <a:pt x="384" y="279"/>
                      <a:pt x="384" y="279"/>
                      <a:pt x="384" y="279"/>
                    </a:cubicBezTo>
                    <a:cubicBezTo>
                      <a:pt x="385" y="280"/>
                      <a:pt x="387" y="280"/>
                      <a:pt x="389" y="280"/>
                    </a:cubicBezTo>
                    <a:cubicBezTo>
                      <a:pt x="391" y="280"/>
                      <a:pt x="393" y="279"/>
                      <a:pt x="395" y="277"/>
                    </a:cubicBezTo>
                    <a:cubicBezTo>
                      <a:pt x="398" y="274"/>
                      <a:pt x="397" y="269"/>
                      <a:pt x="394" y="266"/>
                    </a:cubicBezTo>
                    <a:moveTo>
                      <a:pt x="123" y="78"/>
                    </a:moveTo>
                    <a:cubicBezTo>
                      <a:pt x="148" y="97"/>
                      <a:pt x="148" y="97"/>
                      <a:pt x="148" y="97"/>
                    </a:cubicBezTo>
                    <a:cubicBezTo>
                      <a:pt x="150" y="98"/>
                      <a:pt x="151" y="99"/>
                      <a:pt x="153" y="99"/>
                    </a:cubicBezTo>
                    <a:cubicBezTo>
                      <a:pt x="156" y="99"/>
                      <a:pt x="158" y="98"/>
                      <a:pt x="159" y="96"/>
                    </a:cubicBezTo>
                    <a:cubicBezTo>
                      <a:pt x="162" y="92"/>
                      <a:pt x="162" y="87"/>
                      <a:pt x="158" y="84"/>
                    </a:cubicBezTo>
                    <a:cubicBezTo>
                      <a:pt x="133" y="65"/>
                      <a:pt x="133" y="65"/>
                      <a:pt x="133" y="65"/>
                    </a:cubicBezTo>
                    <a:cubicBezTo>
                      <a:pt x="130" y="62"/>
                      <a:pt x="125" y="63"/>
                      <a:pt x="122" y="67"/>
                    </a:cubicBezTo>
                    <a:cubicBezTo>
                      <a:pt x="119" y="70"/>
                      <a:pt x="120" y="75"/>
                      <a:pt x="123" y="78"/>
                    </a:cubicBezTo>
                    <a:moveTo>
                      <a:pt x="419" y="207"/>
                    </a:moveTo>
                    <a:cubicBezTo>
                      <a:pt x="387" y="199"/>
                      <a:pt x="387" y="199"/>
                      <a:pt x="387" y="199"/>
                    </a:cubicBezTo>
                    <a:cubicBezTo>
                      <a:pt x="383" y="198"/>
                      <a:pt x="379" y="200"/>
                      <a:pt x="378" y="204"/>
                    </a:cubicBezTo>
                    <a:cubicBezTo>
                      <a:pt x="377" y="209"/>
                      <a:pt x="379" y="213"/>
                      <a:pt x="383" y="214"/>
                    </a:cubicBezTo>
                    <a:cubicBezTo>
                      <a:pt x="415" y="223"/>
                      <a:pt x="415" y="223"/>
                      <a:pt x="415" y="223"/>
                    </a:cubicBezTo>
                    <a:cubicBezTo>
                      <a:pt x="416" y="223"/>
                      <a:pt x="417" y="223"/>
                      <a:pt x="417" y="223"/>
                    </a:cubicBezTo>
                    <a:cubicBezTo>
                      <a:pt x="421" y="223"/>
                      <a:pt x="424" y="221"/>
                      <a:pt x="425" y="217"/>
                    </a:cubicBezTo>
                    <a:cubicBezTo>
                      <a:pt x="426" y="213"/>
                      <a:pt x="424" y="208"/>
                      <a:pt x="419" y="207"/>
                    </a:cubicBezTo>
                    <a:moveTo>
                      <a:pt x="430" y="150"/>
                    </a:moveTo>
                    <a:cubicBezTo>
                      <a:pt x="429" y="145"/>
                      <a:pt x="425" y="142"/>
                      <a:pt x="421" y="143"/>
                    </a:cubicBezTo>
                    <a:cubicBezTo>
                      <a:pt x="389" y="147"/>
                      <a:pt x="389" y="147"/>
                      <a:pt x="389" y="147"/>
                    </a:cubicBezTo>
                    <a:cubicBezTo>
                      <a:pt x="385" y="148"/>
                      <a:pt x="382" y="152"/>
                      <a:pt x="382" y="156"/>
                    </a:cubicBezTo>
                    <a:cubicBezTo>
                      <a:pt x="383" y="160"/>
                      <a:pt x="386" y="163"/>
                      <a:pt x="390" y="163"/>
                    </a:cubicBezTo>
                    <a:cubicBezTo>
                      <a:pt x="390" y="163"/>
                      <a:pt x="391" y="163"/>
                      <a:pt x="391" y="163"/>
                    </a:cubicBezTo>
                    <a:cubicBezTo>
                      <a:pt x="423" y="159"/>
                      <a:pt x="423" y="159"/>
                      <a:pt x="423" y="159"/>
                    </a:cubicBezTo>
                    <a:cubicBezTo>
                      <a:pt x="427" y="158"/>
                      <a:pt x="430" y="154"/>
                      <a:pt x="430" y="150"/>
                    </a:cubicBezTo>
                    <a:moveTo>
                      <a:pt x="367" y="109"/>
                    </a:moveTo>
                    <a:cubicBezTo>
                      <a:pt x="369" y="112"/>
                      <a:pt x="372" y="113"/>
                      <a:pt x="374" y="113"/>
                    </a:cubicBezTo>
                    <a:cubicBezTo>
                      <a:pt x="376" y="113"/>
                      <a:pt x="377" y="113"/>
                      <a:pt x="378" y="112"/>
                    </a:cubicBezTo>
                    <a:cubicBezTo>
                      <a:pt x="405" y="97"/>
                      <a:pt x="405" y="97"/>
                      <a:pt x="405" y="97"/>
                    </a:cubicBezTo>
                    <a:cubicBezTo>
                      <a:pt x="409" y="95"/>
                      <a:pt x="410" y="90"/>
                      <a:pt x="408" y="86"/>
                    </a:cubicBezTo>
                    <a:cubicBezTo>
                      <a:pt x="406" y="82"/>
                      <a:pt x="401" y="81"/>
                      <a:pt x="397" y="83"/>
                    </a:cubicBezTo>
                    <a:cubicBezTo>
                      <a:pt x="370" y="98"/>
                      <a:pt x="370" y="98"/>
                      <a:pt x="370" y="98"/>
                    </a:cubicBezTo>
                    <a:cubicBezTo>
                      <a:pt x="367" y="100"/>
                      <a:pt x="365" y="105"/>
                      <a:pt x="367" y="109"/>
                    </a:cubicBezTo>
                    <a:moveTo>
                      <a:pt x="336" y="72"/>
                    </a:moveTo>
                    <a:cubicBezTo>
                      <a:pt x="337" y="73"/>
                      <a:pt x="339" y="73"/>
                      <a:pt x="341" y="73"/>
                    </a:cubicBezTo>
                    <a:cubicBezTo>
                      <a:pt x="343" y="73"/>
                      <a:pt x="345" y="72"/>
                      <a:pt x="347" y="70"/>
                    </a:cubicBezTo>
                    <a:cubicBezTo>
                      <a:pt x="365" y="47"/>
                      <a:pt x="365" y="47"/>
                      <a:pt x="365" y="47"/>
                    </a:cubicBezTo>
                    <a:cubicBezTo>
                      <a:pt x="368" y="43"/>
                      <a:pt x="367" y="38"/>
                      <a:pt x="364" y="35"/>
                    </a:cubicBezTo>
                    <a:cubicBezTo>
                      <a:pt x="360" y="33"/>
                      <a:pt x="355" y="33"/>
                      <a:pt x="353" y="37"/>
                    </a:cubicBezTo>
                    <a:cubicBezTo>
                      <a:pt x="334" y="61"/>
                      <a:pt x="334" y="61"/>
                      <a:pt x="334" y="61"/>
                    </a:cubicBezTo>
                    <a:cubicBezTo>
                      <a:pt x="332" y="64"/>
                      <a:pt x="332" y="69"/>
                      <a:pt x="336" y="72"/>
                    </a:cubicBezTo>
                    <a:moveTo>
                      <a:pt x="292" y="49"/>
                    </a:moveTo>
                    <a:cubicBezTo>
                      <a:pt x="292" y="50"/>
                      <a:pt x="293" y="50"/>
                      <a:pt x="294" y="50"/>
                    </a:cubicBezTo>
                    <a:cubicBezTo>
                      <a:pt x="297" y="50"/>
                      <a:pt x="300" y="47"/>
                      <a:pt x="301" y="44"/>
                    </a:cubicBezTo>
                    <a:cubicBezTo>
                      <a:pt x="309" y="15"/>
                      <a:pt x="309" y="15"/>
                      <a:pt x="309" y="15"/>
                    </a:cubicBezTo>
                    <a:cubicBezTo>
                      <a:pt x="310" y="11"/>
                      <a:pt x="308" y="7"/>
                      <a:pt x="304" y="5"/>
                    </a:cubicBezTo>
                    <a:cubicBezTo>
                      <a:pt x="299" y="4"/>
                      <a:pt x="295" y="7"/>
                      <a:pt x="294" y="11"/>
                    </a:cubicBezTo>
                    <a:cubicBezTo>
                      <a:pt x="286" y="40"/>
                      <a:pt x="286" y="40"/>
                      <a:pt x="286" y="40"/>
                    </a:cubicBezTo>
                    <a:cubicBezTo>
                      <a:pt x="285" y="44"/>
                      <a:pt x="287" y="48"/>
                      <a:pt x="292" y="49"/>
                    </a:cubicBezTo>
                    <a:moveTo>
                      <a:pt x="300" y="399"/>
                    </a:moveTo>
                    <a:cubicBezTo>
                      <a:pt x="300" y="399"/>
                      <a:pt x="300" y="399"/>
                      <a:pt x="299" y="399"/>
                    </a:cubicBezTo>
                    <a:cubicBezTo>
                      <a:pt x="299" y="399"/>
                      <a:pt x="299" y="399"/>
                      <a:pt x="299" y="399"/>
                    </a:cubicBezTo>
                    <a:cubicBezTo>
                      <a:pt x="299" y="398"/>
                      <a:pt x="299" y="398"/>
                      <a:pt x="299" y="398"/>
                    </a:cubicBezTo>
                    <a:cubicBezTo>
                      <a:pt x="299" y="398"/>
                      <a:pt x="298" y="397"/>
                      <a:pt x="298" y="397"/>
                    </a:cubicBezTo>
                    <a:cubicBezTo>
                      <a:pt x="287" y="388"/>
                      <a:pt x="265" y="381"/>
                      <a:pt x="262" y="383"/>
                    </a:cubicBezTo>
                    <a:cubicBezTo>
                      <a:pt x="260" y="386"/>
                      <a:pt x="268" y="408"/>
                      <a:pt x="276" y="419"/>
                    </a:cubicBezTo>
                    <a:cubicBezTo>
                      <a:pt x="277" y="419"/>
                      <a:pt x="277" y="420"/>
                      <a:pt x="277" y="420"/>
                    </a:cubicBezTo>
                    <a:cubicBezTo>
                      <a:pt x="277" y="420"/>
                      <a:pt x="278" y="420"/>
                      <a:pt x="278" y="420"/>
                    </a:cubicBezTo>
                    <a:cubicBezTo>
                      <a:pt x="278" y="420"/>
                      <a:pt x="278" y="420"/>
                      <a:pt x="278" y="420"/>
                    </a:cubicBezTo>
                    <a:cubicBezTo>
                      <a:pt x="278" y="420"/>
                      <a:pt x="278" y="421"/>
                      <a:pt x="278" y="421"/>
                    </a:cubicBezTo>
                    <a:cubicBezTo>
                      <a:pt x="284" y="426"/>
                      <a:pt x="293" y="426"/>
                      <a:pt x="299" y="420"/>
                    </a:cubicBezTo>
                    <a:cubicBezTo>
                      <a:pt x="305" y="414"/>
                      <a:pt x="305" y="406"/>
                      <a:pt x="300" y="400"/>
                    </a:cubicBezTo>
                    <a:cubicBezTo>
                      <a:pt x="300" y="399"/>
                      <a:pt x="300" y="399"/>
                      <a:pt x="300" y="399"/>
                    </a:cubicBezTo>
                    <a:moveTo>
                      <a:pt x="219" y="399"/>
                    </a:moveTo>
                    <a:cubicBezTo>
                      <a:pt x="219" y="399"/>
                      <a:pt x="219" y="399"/>
                      <a:pt x="219" y="399"/>
                    </a:cubicBezTo>
                    <a:cubicBezTo>
                      <a:pt x="218" y="399"/>
                      <a:pt x="218" y="399"/>
                      <a:pt x="218" y="399"/>
                    </a:cubicBezTo>
                    <a:cubicBezTo>
                      <a:pt x="218" y="398"/>
                      <a:pt x="218" y="398"/>
                      <a:pt x="218" y="398"/>
                    </a:cubicBezTo>
                    <a:cubicBezTo>
                      <a:pt x="218" y="398"/>
                      <a:pt x="217" y="397"/>
                      <a:pt x="217" y="397"/>
                    </a:cubicBezTo>
                    <a:cubicBezTo>
                      <a:pt x="206" y="388"/>
                      <a:pt x="184" y="381"/>
                      <a:pt x="182" y="383"/>
                    </a:cubicBezTo>
                    <a:cubicBezTo>
                      <a:pt x="179" y="386"/>
                      <a:pt x="187" y="408"/>
                      <a:pt x="195" y="419"/>
                    </a:cubicBezTo>
                    <a:cubicBezTo>
                      <a:pt x="196" y="419"/>
                      <a:pt x="196" y="420"/>
                      <a:pt x="197" y="420"/>
                    </a:cubicBezTo>
                    <a:cubicBezTo>
                      <a:pt x="197" y="420"/>
                      <a:pt x="197" y="420"/>
                      <a:pt x="197" y="420"/>
                    </a:cubicBezTo>
                    <a:cubicBezTo>
                      <a:pt x="197" y="420"/>
                      <a:pt x="197" y="420"/>
                      <a:pt x="197" y="420"/>
                    </a:cubicBezTo>
                    <a:cubicBezTo>
                      <a:pt x="197" y="420"/>
                      <a:pt x="197" y="421"/>
                      <a:pt x="197" y="421"/>
                    </a:cubicBezTo>
                    <a:cubicBezTo>
                      <a:pt x="203" y="426"/>
                      <a:pt x="212" y="426"/>
                      <a:pt x="218" y="420"/>
                    </a:cubicBezTo>
                    <a:cubicBezTo>
                      <a:pt x="224" y="414"/>
                      <a:pt x="224" y="406"/>
                      <a:pt x="219" y="400"/>
                    </a:cubicBezTo>
                    <a:cubicBezTo>
                      <a:pt x="219" y="399"/>
                      <a:pt x="219" y="399"/>
                      <a:pt x="219" y="399"/>
                    </a:cubicBezTo>
                    <a:moveTo>
                      <a:pt x="138" y="400"/>
                    </a:moveTo>
                    <a:cubicBezTo>
                      <a:pt x="138" y="399"/>
                      <a:pt x="138" y="399"/>
                      <a:pt x="138" y="399"/>
                    </a:cubicBezTo>
                    <a:cubicBezTo>
                      <a:pt x="138" y="399"/>
                      <a:pt x="138" y="399"/>
                      <a:pt x="138" y="399"/>
                    </a:cubicBezTo>
                    <a:cubicBezTo>
                      <a:pt x="138" y="399"/>
                      <a:pt x="138" y="399"/>
                      <a:pt x="138" y="399"/>
                    </a:cubicBezTo>
                    <a:cubicBezTo>
                      <a:pt x="137" y="398"/>
                      <a:pt x="137" y="398"/>
                      <a:pt x="137" y="398"/>
                    </a:cubicBezTo>
                    <a:cubicBezTo>
                      <a:pt x="137" y="398"/>
                      <a:pt x="136" y="397"/>
                      <a:pt x="136" y="397"/>
                    </a:cubicBezTo>
                    <a:cubicBezTo>
                      <a:pt x="125" y="388"/>
                      <a:pt x="103" y="381"/>
                      <a:pt x="101" y="383"/>
                    </a:cubicBezTo>
                    <a:cubicBezTo>
                      <a:pt x="98" y="386"/>
                      <a:pt x="106" y="408"/>
                      <a:pt x="114" y="419"/>
                    </a:cubicBezTo>
                    <a:cubicBezTo>
                      <a:pt x="115" y="419"/>
                      <a:pt x="115" y="420"/>
                      <a:pt x="116" y="420"/>
                    </a:cubicBezTo>
                    <a:cubicBezTo>
                      <a:pt x="116" y="420"/>
                      <a:pt x="116" y="420"/>
                      <a:pt x="116" y="420"/>
                    </a:cubicBezTo>
                    <a:cubicBezTo>
                      <a:pt x="116" y="420"/>
                      <a:pt x="116" y="420"/>
                      <a:pt x="116" y="420"/>
                    </a:cubicBezTo>
                    <a:cubicBezTo>
                      <a:pt x="116" y="420"/>
                      <a:pt x="116" y="421"/>
                      <a:pt x="116" y="421"/>
                    </a:cubicBezTo>
                    <a:cubicBezTo>
                      <a:pt x="122" y="426"/>
                      <a:pt x="132" y="426"/>
                      <a:pt x="137" y="420"/>
                    </a:cubicBezTo>
                    <a:cubicBezTo>
                      <a:pt x="143" y="414"/>
                      <a:pt x="143" y="406"/>
                      <a:pt x="138" y="400"/>
                    </a:cubicBezTo>
                    <a:close/>
                    <a:moveTo>
                      <a:pt x="109" y="356"/>
                    </a:moveTo>
                    <a:cubicBezTo>
                      <a:pt x="109" y="348"/>
                      <a:pt x="109" y="348"/>
                      <a:pt x="109" y="348"/>
                    </a:cubicBezTo>
                    <a:cubicBezTo>
                      <a:pt x="116" y="352"/>
                      <a:pt x="116" y="352"/>
                      <a:pt x="116" y="352"/>
                    </a:cubicBezTo>
                    <a:cubicBezTo>
                      <a:pt x="117" y="353"/>
                      <a:pt x="119" y="353"/>
                      <a:pt x="120" y="353"/>
                    </a:cubicBezTo>
                    <a:cubicBezTo>
                      <a:pt x="123" y="353"/>
                      <a:pt x="126" y="351"/>
                      <a:pt x="127" y="349"/>
                    </a:cubicBezTo>
                    <a:cubicBezTo>
                      <a:pt x="129" y="345"/>
                      <a:pt x="128" y="340"/>
                      <a:pt x="124" y="338"/>
                    </a:cubicBezTo>
                    <a:cubicBezTo>
                      <a:pt x="117" y="334"/>
                      <a:pt x="117" y="334"/>
                      <a:pt x="117" y="334"/>
                    </a:cubicBezTo>
                    <a:cubicBezTo>
                      <a:pt x="124" y="330"/>
                      <a:pt x="124" y="330"/>
                      <a:pt x="124" y="330"/>
                    </a:cubicBezTo>
                    <a:cubicBezTo>
                      <a:pt x="128" y="328"/>
                      <a:pt x="129" y="323"/>
                      <a:pt x="127" y="319"/>
                    </a:cubicBezTo>
                    <a:cubicBezTo>
                      <a:pt x="125" y="315"/>
                      <a:pt x="120" y="314"/>
                      <a:pt x="116" y="316"/>
                    </a:cubicBezTo>
                    <a:cubicBezTo>
                      <a:pt x="109" y="320"/>
                      <a:pt x="109" y="320"/>
                      <a:pt x="109" y="320"/>
                    </a:cubicBezTo>
                    <a:cubicBezTo>
                      <a:pt x="109" y="312"/>
                      <a:pt x="109" y="312"/>
                      <a:pt x="109" y="312"/>
                    </a:cubicBezTo>
                    <a:cubicBezTo>
                      <a:pt x="109" y="308"/>
                      <a:pt x="106" y="304"/>
                      <a:pt x="101" y="304"/>
                    </a:cubicBezTo>
                    <a:cubicBezTo>
                      <a:pt x="97" y="304"/>
                      <a:pt x="93" y="308"/>
                      <a:pt x="93" y="312"/>
                    </a:cubicBezTo>
                    <a:cubicBezTo>
                      <a:pt x="93" y="320"/>
                      <a:pt x="93" y="320"/>
                      <a:pt x="93" y="320"/>
                    </a:cubicBezTo>
                    <a:cubicBezTo>
                      <a:pt x="86" y="316"/>
                      <a:pt x="86" y="316"/>
                      <a:pt x="86" y="316"/>
                    </a:cubicBezTo>
                    <a:cubicBezTo>
                      <a:pt x="83" y="314"/>
                      <a:pt x="78" y="315"/>
                      <a:pt x="75" y="319"/>
                    </a:cubicBezTo>
                    <a:cubicBezTo>
                      <a:pt x="73" y="323"/>
                      <a:pt x="75" y="328"/>
                      <a:pt x="78" y="330"/>
                    </a:cubicBezTo>
                    <a:cubicBezTo>
                      <a:pt x="85" y="334"/>
                      <a:pt x="85" y="334"/>
                      <a:pt x="85" y="334"/>
                    </a:cubicBezTo>
                    <a:cubicBezTo>
                      <a:pt x="78" y="338"/>
                      <a:pt x="78" y="338"/>
                      <a:pt x="78" y="338"/>
                    </a:cubicBezTo>
                    <a:cubicBezTo>
                      <a:pt x="75" y="340"/>
                      <a:pt x="73" y="345"/>
                      <a:pt x="75" y="349"/>
                    </a:cubicBezTo>
                    <a:cubicBezTo>
                      <a:pt x="77" y="351"/>
                      <a:pt x="80" y="353"/>
                      <a:pt x="82" y="353"/>
                    </a:cubicBezTo>
                    <a:cubicBezTo>
                      <a:pt x="84" y="353"/>
                      <a:pt x="85" y="353"/>
                      <a:pt x="86" y="352"/>
                    </a:cubicBezTo>
                    <a:cubicBezTo>
                      <a:pt x="93" y="348"/>
                      <a:pt x="93" y="348"/>
                      <a:pt x="93" y="348"/>
                    </a:cubicBezTo>
                    <a:cubicBezTo>
                      <a:pt x="93" y="356"/>
                      <a:pt x="93" y="356"/>
                      <a:pt x="93" y="356"/>
                    </a:cubicBezTo>
                    <a:cubicBezTo>
                      <a:pt x="93" y="360"/>
                      <a:pt x="97" y="364"/>
                      <a:pt x="101" y="364"/>
                    </a:cubicBezTo>
                    <a:cubicBezTo>
                      <a:pt x="106" y="364"/>
                      <a:pt x="109" y="360"/>
                      <a:pt x="109" y="356"/>
                    </a:cubicBezTo>
                    <a:moveTo>
                      <a:pt x="190" y="356"/>
                    </a:moveTo>
                    <a:cubicBezTo>
                      <a:pt x="190" y="348"/>
                      <a:pt x="190" y="348"/>
                      <a:pt x="190" y="348"/>
                    </a:cubicBezTo>
                    <a:cubicBezTo>
                      <a:pt x="197" y="352"/>
                      <a:pt x="197" y="352"/>
                      <a:pt x="197" y="352"/>
                    </a:cubicBezTo>
                    <a:cubicBezTo>
                      <a:pt x="198" y="353"/>
                      <a:pt x="199" y="353"/>
                      <a:pt x="201" y="353"/>
                    </a:cubicBezTo>
                    <a:cubicBezTo>
                      <a:pt x="204" y="353"/>
                      <a:pt x="206" y="351"/>
                      <a:pt x="208" y="349"/>
                    </a:cubicBezTo>
                    <a:cubicBezTo>
                      <a:pt x="210" y="345"/>
                      <a:pt x="209" y="340"/>
                      <a:pt x="205" y="338"/>
                    </a:cubicBezTo>
                    <a:cubicBezTo>
                      <a:pt x="198" y="334"/>
                      <a:pt x="198" y="334"/>
                      <a:pt x="198" y="334"/>
                    </a:cubicBezTo>
                    <a:cubicBezTo>
                      <a:pt x="205" y="330"/>
                      <a:pt x="205" y="330"/>
                      <a:pt x="205" y="330"/>
                    </a:cubicBezTo>
                    <a:cubicBezTo>
                      <a:pt x="209" y="328"/>
                      <a:pt x="210" y="323"/>
                      <a:pt x="208" y="319"/>
                    </a:cubicBezTo>
                    <a:cubicBezTo>
                      <a:pt x="205" y="315"/>
                      <a:pt x="201" y="314"/>
                      <a:pt x="197" y="316"/>
                    </a:cubicBezTo>
                    <a:cubicBezTo>
                      <a:pt x="190" y="320"/>
                      <a:pt x="190" y="320"/>
                      <a:pt x="190" y="320"/>
                    </a:cubicBezTo>
                    <a:cubicBezTo>
                      <a:pt x="190" y="312"/>
                      <a:pt x="190" y="312"/>
                      <a:pt x="190" y="312"/>
                    </a:cubicBezTo>
                    <a:cubicBezTo>
                      <a:pt x="190" y="308"/>
                      <a:pt x="186" y="304"/>
                      <a:pt x="182" y="304"/>
                    </a:cubicBezTo>
                    <a:cubicBezTo>
                      <a:pt x="177" y="304"/>
                      <a:pt x="174" y="308"/>
                      <a:pt x="174" y="312"/>
                    </a:cubicBezTo>
                    <a:cubicBezTo>
                      <a:pt x="174" y="320"/>
                      <a:pt x="174" y="320"/>
                      <a:pt x="174" y="320"/>
                    </a:cubicBezTo>
                    <a:cubicBezTo>
                      <a:pt x="167" y="316"/>
                      <a:pt x="167" y="316"/>
                      <a:pt x="167" y="316"/>
                    </a:cubicBezTo>
                    <a:cubicBezTo>
                      <a:pt x="163" y="314"/>
                      <a:pt x="158" y="315"/>
                      <a:pt x="156" y="319"/>
                    </a:cubicBezTo>
                    <a:cubicBezTo>
                      <a:pt x="154" y="323"/>
                      <a:pt x="155" y="328"/>
                      <a:pt x="159" y="330"/>
                    </a:cubicBezTo>
                    <a:cubicBezTo>
                      <a:pt x="166" y="334"/>
                      <a:pt x="166" y="334"/>
                      <a:pt x="166" y="334"/>
                    </a:cubicBezTo>
                    <a:cubicBezTo>
                      <a:pt x="159" y="338"/>
                      <a:pt x="159" y="338"/>
                      <a:pt x="159" y="338"/>
                    </a:cubicBezTo>
                    <a:cubicBezTo>
                      <a:pt x="155" y="340"/>
                      <a:pt x="154" y="345"/>
                      <a:pt x="156" y="349"/>
                    </a:cubicBezTo>
                    <a:cubicBezTo>
                      <a:pt x="158" y="351"/>
                      <a:pt x="160" y="353"/>
                      <a:pt x="163" y="353"/>
                    </a:cubicBezTo>
                    <a:cubicBezTo>
                      <a:pt x="164" y="353"/>
                      <a:pt x="166" y="353"/>
                      <a:pt x="167" y="352"/>
                    </a:cubicBezTo>
                    <a:cubicBezTo>
                      <a:pt x="174" y="348"/>
                      <a:pt x="174" y="348"/>
                      <a:pt x="174" y="348"/>
                    </a:cubicBezTo>
                    <a:cubicBezTo>
                      <a:pt x="174" y="356"/>
                      <a:pt x="174" y="356"/>
                      <a:pt x="174" y="356"/>
                    </a:cubicBezTo>
                    <a:cubicBezTo>
                      <a:pt x="174" y="360"/>
                      <a:pt x="177" y="364"/>
                      <a:pt x="182" y="364"/>
                    </a:cubicBezTo>
                    <a:cubicBezTo>
                      <a:pt x="186" y="364"/>
                      <a:pt x="190" y="360"/>
                      <a:pt x="190" y="356"/>
                    </a:cubicBezTo>
                    <a:moveTo>
                      <a:pt x="271" y="356"/>
                    </a:moveTo>
                    <a:cubicBezTo>
                      <a:pt x="271" y="348"/>
                      <a:pt x="271" y="348"/>
                      <a:pt x="271" y="348"/>
                    </a:cubicBezTo>
                    <a:cubicBezTo>
                      <a:pt x="277" y="352"/>
                      <a:pt x="277" y="352"/>
                      <a:pt x="277" y="352"/>
                    </a:cubicBezTo>
                    <a:cubicBezTo>
                      <a:pt x="279" y="353"/>
                      <a:pt x="280" y="353"/>
                      <a:pt x="281" y="353"/>
                    </a:cubicBezTo>
                    <a:cubicBezTo>
                      <a:pt x="284" y="353"/>
                      <a:pt x="287" y="351"/>
                      <a:pt x="288" y="349"/>
                    </a:cubicBezTo>
                    <a:cubicBezTo>
                      <a:pt x="291" y="345"/>
                      <a:pt x="289" y="340"/>
                      <a:pt x="285" y="338"/>
                    </a:cubicBezTo>
                    <a:cubicBezTo>
                      <a:pt x="279" y="334"/>
                      <a:pt x="279" y="334"/>
                      <a:pt x="279" y="334"/>
                    </a:cubicBezTo>
                    <a:cubicBezTo>
                      <a:pt x="285" y="330"/>
                      <a:pt x="285" y="330"/>
                      <a:pt x="285" y="330"/>
                    </a:cubicBezTo>
                    <a:cubicBezTo>
                      <a:pt x="289" y="328"/>
                      <a:pt x="291" y="323"/>
                      <a:pt x="288" y="319"/>
                    </a:cubicBezTo>
                    <a:cubicBezTo>
                      <a:pt x="286" y="315"/>
                      <a:pt x="281" y="314"/>
                      <a:pt x="277" y="316"/>
                    </a:cubicBezTo>
                    <a:cubicBezTo>
                      <a:pt x="271" y="320"/>
                      <a:pt x="271" y="320"/>
                      <a:pt x="271" y="320"/>
                    </a:cubicBezTo>
                    <a:cubicBezTo>
                      <a:pt x="271" y="312"/>
                      <a:pt x="271" y="312"/>
                      <a:pt x="271" y="312"/>
                    </a:cubicBezTo>
                    <a:cubicBezTo>
                      <a:pt x="271" y="308"/>
                      <a:pt x="267" y="304"/>
                      <a:pt x="263" y="304"/>
                    </a:cubicBezTo>
                    <a:cubicBezTo>
                      <a:pt x="258" y="304"/>
                      <a:pt x="255" y="308"/>
                      <a:pt x="255" y="312"/>
                    </a:cubicBezTo>
                    <a:cubicBezTo>
                      <a:pt x="255" y="320"/>
                      <a:pt x="255" y="320"/>
                      <a:pt x="255" y="320"/>
                    </a:cubicBezTo>
                    <a:cubicBezTo>
                      <a:pt x="248" y="316"/>
                      <a:pt x="248" y="316"/>
                      <a:pt x="248" y="316"/>
                    </a:cubicBezTo>
                    <a:cubicBezTo>
                      <a:pt x="244" y="314"/>
                      <a:pt x="239" y="315"/>
                      <a:pt x="237" y="319"/>
                    </a:cubicBezTo>
                    <a:cubicBezTo>
                      <a:pt x="235" y="323"/>
                      <a:pt x="236" y="328"/>
                      <a:pt x="240" y="330"/>
                    </a:cubicBezTo>
                    <a:cubicBezTo>
                      <a:pt x="247" y="334"/>
                      <a:pt x="247" y="334"/>
                      <a:pt x="247" y="334"/>
                    </a:cubicBezTo>
                    <a:cubicBezTo>
                      <a:pt x="240" y="338"/>
                      <a:pt x="240" y="338"/>
                      <a:pt x="240" y="338"/>
                    </a:cubicBezTo>
                    <a:cubicBezTo>
                      <a:pt x="236" y="340"/>
                      <a:pt x="235" y="345"/>
                      <a:pt x="237" y="349"/>
                    </a:cubicBezTo>
                    <a:cubicBezTo>
                      <a:pt x="238" y="351"/>
                      <a:pt x="241" y="353"/>
                      <a:pt x="244" y="353"/>
                    </a:cubicBezTo>
                    <a:cubicBezTo>
                      <a:pt x="245" y="353"/>
                      <a:pt x="246" y="353"/>
                      <a:pt x="248" y="352"/>
                    </a:cubicBezTo>
                    <a:cubicBezTo>
                      <a:pt x="255" y="348"/>
                      <a:pt x="255" y="348"/>
                      <a:pt x="255" y="348"/>
                    </a:cubicBezTo>
                    <a:cubicBezTo>
                      <a:pt x="255" y="356"/>
                      <a:pt x="255" y="356"/>
                      <a:pt x="255" y="356"/>
                    </a:cubicBezTo>
                    <a:cubicBezTo>
                      <a:pt x="255" y="360"/>
                      <a:pt x="258" y="364"/>
                      <a:pt x="263" y="364"/>
                    </a:cubicBezTo>
                    <a:cubicBezTo>
                      <a:pt x="267" y="364"/>
                      <a:pt x="271" y="360"/>
                      <a:pt x="271" y="35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11" name="Freeform 6"/>
              <p:cNvSpPr>
                <a:spLocks noEditPoints="1"/>
              </p:cNvSpPr>
              <p:nvPr/>
            </p:nvSpPr>
            <p:spPr bwMode="auto">
              <a:xfrm>
                <a:off x="6141948" y="2491056"/>
                <a:ext cx="180129" cy="115452"/>
              </a:xfrm>
              <a:custGeom>
                <a:avLst/>
                <a:gdLst>
                  <a:gd name="T0" fmla="*/ 2147483647 w 455"/>
                  <a:gd name="T1" fmla="*/ 2147483647 h 298"/>
                  <a:gd name="T2" fmla="*/ 2147483647 w 455"/>
                  <a:gd name="T3" fmla="*/ 2147483647 h 298"/>
                  <a:gd name="T4" fmla="*/ 2147483647 w 455"/>
                  <a:gd name="T5" fmla="*/ 2147483647 h 298"/>
                  <a:gd name="T6" fmla="*/ 2147483647 w 455"/>
                  <a:gd name="T7" fmla="*/ 2147483647 h 298"/>
                  <a:gd name="T8" fmla="*/ 2147483647 w 455"/>
                  <a:gd name="T9" fmla="*/ 2147483647 h 298"/>
                  <a:gd name="T10" fmla="*/ 2147483647 w 455"/>
                  <a:gd name="T11" fmla="*/ 2147483647 h 298"/>
                  <a:gd name="T12" fmla="*/ 2147483647 w 455"/>
                  <a:gd name="T13" fmla="*/ 2147483647 h 298"/>
                  <a:gd name="T14" fmla="*/ 2147483647 w 455"/>
                  <a:gd name="T15" fmla="*/ 0 h 298"/>
                  <a:gd name="T16" fmla="*/ 2147483647 w 455"/>
                  <a:gd name="T17" fmla="*/ 2147483647 h 298"/>
                  <a:gd name="T18" fmla="*/ 2147483647 w 455"/>
                  <a:gd name="T19" fmla="*/ 2147483647 h 298"/>
                  <a:gd name="T20" fmla="*/ 0 w 455"/>
                  <a:gd name="T21" fmla="*/ 2147483647 h 298"/>
                  <a:gd name="T22" fmla="*/ 2147483647 w 455"/>
                  <a:gd name="T23" fmla="*/ 2147483647 h 298"/>
                  <a:gd name="T24" fmla="*/ 2147483647 w 455"/>
                  <a:gd name="T25" fmla="*/ 2147483647 h 298"/>
                  <a:gd name="T26" fmla="*/ 2147483647 w 455"/>
                  <a:gd name="T27" fmla="*/ 2147483647 h 298"/>
                  <a:gd name="T28" fmla="*/ 2147483647 w 455"/>
                  <a:gd name="T29" fmla="*/ 2147483647 h 298"/>
                  <a:gd name="T30" fmla="*/ 2147483647 w 455"/>
                  <a:gd name="T31" fmla="*/ 2147483647 h 298"/>
                  <a:gd name="T32" fmla="*/ 2147483647 w 455"/>
                  <a:gd name="T33" fmla="*/ 2147483647 h 298"/>
                  <a:gd name="T34" fmla="*/ 2147483647 w 455"/>
                  <a:gd name="T35" fmla="*/ 2147483647 h 298"/>
                  <a:gd name="T36" fmla="*/ 2147483647 w 455"/>
                  <a:gd name="T37" fmla="*/ 2147483647 h 298"/>
                  <a:gd name="T38" fmla="*/ 2147483647 w 455"/>
                  <a:gd name="T39" fmla="*/ 2147483647 h 298"/>
                  <a:gd name="T40" fmla="*/ 2147483647 w 455"/>
                  <a:gd name="T41" fmla="*/ 2147483647 h 298"/>
                  <a:gd name="T42" fmla="*/ 2147483647 w 455"/>
                  <a:gd name="T43" fmla="*/ 2147483647 h 298"/>
                  <a:gd name="T44" fmla="*/ 2147483647 w 455"/>
                  <a:gd name="T45" fmla="*/ 2147483647 h 298"/>
                  <a:gd name="T46" fmla="*/ 2147483647 w 455"/>
                  <a:gd name="T47" fmla="*/ 2147483647 h 298"/>
                  <a:gd name="T48" fmla="*/ 2147483647 w 455"/>
                  <a:gd name="T49" fmla="*/ 2147483647 h 298"/>
                  <a:gd name="T50" fmla="*/ 2147483647 w 455"/>
                  <a:gd name="T51" fmla="*/ 2147483647 h 298"/>
                  <a:gd name="T52" fmla="*/ 2147483647 w 455"/>
                  <a:gd name="T53" fmla="*/ 2147483647 h 298"/>
                  <a:gd name="T54" fmla="*/ 2147483647 w 455"/>
                  <a:gd name="T55" fmla="*/ 2147483647 h 298"/>
                  <a:gd name="T56" fmla="*/ 2147483647 w 455"/>
                  <a:gd name="T57" fmla="*/ 2147483647 h 298"/>
                  <a:gd name="T58" fmla="*/ 2147483647 w 455"/>
                  <a:gd name="T59" fmla="*/ 2147483647 h 298"/>
                  <a:gd name="T60" fmla="*/ 2147483647 w 455"/>
                  <a:gd name="T61" fmla="*/ 2147483647 h 298"/>
                  <a:gd name="T62" fmla="*/ 2147483647 w 455"/>
                  <a:gd name="T63" fmla="*/ 2147483647 h 298"/>
                  <a:gd name="T64" fmla="*/ 2147483647 w 455"/>
                  <a:gd name="T65" fmla="*/ 2147483647 h 298"/>
                  <a:gd name="T66" fmla="*/ 2147483647 w 455"/>
                  <a:gd name="T67" fmla="*/ 2147483647 h 298"/>
                  <a:gd name="T68" fmla="*/ 2147483647 w 455"/>
                  <a:gd name="T69" fmla="*/ 2147483647 h 298"/>
                  <a:gd name="T70" fmla="*/ 2147483647 w 455"/>
                  <a:gd name="T71" fmla="*/ 2147483647 h 298"/>
                  <a:gd name="T72" fmla="*/ 2147483647 w 455"/>
                  <a:gd name="T73" fmla="*/ 2147483647 h 298"/>
                  <a:gd name="T74" fmla="*/ 2147483647 w 455"/>
                  <a:gd name="T75" fmla="*/ 2147483647 h 298"/>
                  <a:gd name="T76" fmla="*/ 2147483647 w 455"/>
                  <a:gd name="T77" fmla="*/ 2147483647 h 298"/>
                  <a:gd name="T78" fmla="*/ 2147483647 w 455"/>
                  <a:gd name="T79" fmla="*/ 2147483647 h 298"/>
                  <a:gd name="T80" fmla="*/ 2147483647 w 455"/>
                  <a:gd name="T81" fmla="*/ 2147483647 h 2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455" h="298">
                    <a:moveTo>
                      <a:pt x="439" y="252"/>
                    </a:moveTo>
                    <a:cubicBezTo>
                      <a:pt x="425" y="252"/>
                      <a:pt x="425" y="252"/>
                      <a:pt x="425" y="252"/>
                    </a:cubicBezTo>
                    <a:cubicBezTo>
                      <a:pt x="425" y="70"/>
                      <a:pt x="425" y="70"/>
                      <a:pt x="425" y="70"/>
                    </a:cubicBezTo>
                    <a:cubicBezTo>
                      <a:pt x="425" y="65"/>
                      <a:pt x="421" y="62"/>
                      <a:pt x="417" y="62"/>
                    </a:cubicBezTo>
                    <a:cubicBezTo>
                      <a:pt x="412" y="62"/>
                      <a:pt x="409" y="65"/>
                      <a:pt x="409" y="70"/>
                    </a:cubicBezTo>
                    <a:cubicBezTo>
                      <a:pt x="409" y="252"/>
                      <a:pt x="409" y="252"/>
                      <a:pt x="409" y="252"/>
                    </a:cubicBezTo>
                    <a:cubicBezTo>
                      <a:pt x="46" y="252"/>
                      <a:pt x="46" y="252"/>
                      <a:pt x="46" y="252"/>
                    </a:cubicBezTo>
                    <a:cubicBezTo>
                      <a:pt x="46" y="16"/>
                      <a:pt x="46" y="16"/>
                      <a:pt x="46" y="16"/>
                    </a:cubicBezTo>
                    <a:cubicBezTo>
                      <a:pt x="409" y="16"/>
                      <a:pt x="409" y="16"/>
                      <a:pt x="409" y="16"/>
                    </a:cubicBezTo>
                    <a:cubicBezTo>
                      <a:pt x="409" y="38"/>
                      <a:pt x="409" y="38"/>
                      <a:pt x="409" y="38"/>
                    </a:cubicBezTo>
                    <a:cubicBezTo>
                      <a:pt x="409" y="42"/>
                      <a:pt x="412" y="46"/>
                      <a:pt x="417" y="46"/>
                    </a:cubicBezTo>
                    <a:cubicBezTo>
                      <a:pt x="421" y="46"/>
                      <a:pt x="425" y="42"/>
                      <a:pt x="425" y="38"/>
                    </a:cubicBezTo>
                    <a:cubicBezTo>
                      <a:pt x="425" y="13"/>
                      <a:pt x="425" y="13"/>
                      <a:pt x="425" y="13"/>
                    </a:cubicBezTo>
                    <a:cubicBezTo>
                      <a:pt x="425" y="10"/>
                      <a:pt x="423" y="6"/>
                      <a:pt x="421" y="4"/>
                    </a:cubicBezTo>
                    <a:cubicBezTo>
                      <a:pt x="418" y="1"/>
                      <a:pt x="415" y="0"/>
                      <a:pt x="411" y="0"/>
                    </a:cubicBezTo>
                    <a:cubicBezTo>
                      <a:pt x="44" y="0"/>
                      <a:pt x="44" y="0"/>
                      <a:pt x="44" y="0"/>
                    </a:cubicBezTo>
                    <a:cubicBezTo>
                      <a:pt x="40" y="0"/>
                      <a:pt x="36" y="1"/>
                      <a:pt x="34" y="4"/>
                    </a:cubicBezTo>
                    <a:cubicBezTo>
                      <a:pt x="31" y="6"/>
                      <a:pt x="30" y="10"/>
                      <a:pt x="30" y="13"/>
                    </a:cubicBezTo>
                    <a:cubicBezTo>
                      <a:pt x="30" y="252"/>
                      <a:pt x="30" y="252"/>
                      <a:pt x="30" y="252"/>
                    </a:cubicBezTo>
                    <a:cubicBezTo>
                      <a:pt x="16" y="252"/>
                      <a:pt x="16" y="252"/>
                      <a:pt x="16" y="252"/>
                    </a:cubicBezTo>
                    <a:cubicBezTo>
                      <a:pt x="7" y="252"/>
                      <a:pt x="0" y="259"/>
                      <a:pt x="0" y="268"/>
                    </a:cubicBezTo>
                    <a:cubicBezTo>
                      <a:pt x="0" y="282"/>
                      <a:pt x="0" y="282"/>
                      <a:pt x="0" y="282"/>
                    </a:cubicBezTo>
                    <a:cubicBezTo>
                      <a:pt x="0" y="291"/>
                      <a:pt x="7" y="298"/>
                      <a:pt x="16" y="298"/>
                    </a:cubicBezTo>
                    <a:cubicBezTo>
                      <a:pt x="439" y="298"/>
                      <a:pt x="439" y="298"/>
                      <a:pt x="439" y="298"/>
                    </a:cubicBezTo>
                    <a:cubicBezTo>
                      <a:pt x="448" y="298"/>
                      <a:pt x="455" y="291"/>
                      <a:pt x="455" y="282"/>
                    </a:cubicBezTo>
                    <a:cubicBezTo>
                      <a:pt x="455" y="268"/>
                      <a:pt x="455" y="268"/>
                      <a:pt x="455" y="268"/>
                    </a:cubicBezTo>
                    <a:cubicBezTo>
                      <a:pt x="455" y="259"/>
                      <a:pt x="448" y="252"/>
                      <a:pt x="439" y="252"/>
                    </a:cubicBezTo>
                    <a:close/>
                    <a:moveTo>
                      <a:pt x="439" y="282"/>
                    </a:moveTo>
                    <a:cubicBezTo>
                      <a:pt x="16" y="282"/>
                      <a:pt x="16" y="282"/>
                      <a:pt x="16" y="282"/>
                    </a:cubicBezTo>
                    <a:cubicBezTo>
                      <a:pt x="16" y="268"/>
                      <a:pt x="16" y="268"/>
                      <a:pt x="16" y="268"/>
                    </a:cubicBezTo>
                    <a:cubicBezTo>
                      <a:pt x="185" y="268"/>
                      <a:pt x="185" y="268"/>
                      <a:pt x="185" y="268"/>
                    </a:cubicBezTo>
                    <a:cubicBezTo>
                      <a:pt x="186" y="271"/>
                      <a:pt x="189" y="274"/>
                      <a:pt x="193" y="274"/>
                    </a:cubicBezTo>
                    <a:cubicBezTo>
                      <a:pt x="262" y="274"/>
                      <a:pt x="262" y="274"/>
                      <a:pt x="262" y="274"/>
                    </a:cubicBezTo>
                    <a:cubicBezTo>
                      <a:pt x="266" y="274"/>
                      <a:pt x="269" y="271"/>
                      <a:pt x="270" y="268"/>
                    </a:cubicBezTo>
                    <a:cubicBezTo>
                      <a:pt x="439" y="268"/>
                      <a:pt x="439" y="268"/>
                      <a:pt x="439" y="268"/>
                    </a:cubicBezTo>
                    <a:lnTo>
                      <a:pt x="439" y="282"/>
                    </a:lnTo>
                    <a:close/>
                    <a:moveTo>
                      <a:pt x="274" y="73"/>
                    </a:moveTo>
                    <a:cubicBezTo>
                      <a:pt x="278" y="74"/>
                      <a:pt x="283" y="72"/>
                      <a:pt x="284" y="68"/>
                    </a:cubicBezTo>
                    <a:cubicBezTo>
                      <a:pt x="286" y="64"/>
                      <a:pt x="284" y="59"/>
                      <a:pt x="280" y="58"/>
                    </a:cubicBezTo>
                    <a:cubicBezTo>
                      <a:pt x="263" y="51"/>
                      <a:pt x="245" y="48"/>
                      <a:pt x="227" y="48"/>
                    </a:cubicBezTo>
                    <a:cubicBezTo>
                      <a:pt x="188" y="48"/>
                      <a:pt x="152" y="63"/>
                      <a:pt x="124" y="90"/>
                    </a:cubicBezTo>
                    <a:cubicBezTo>
                      <a:pt x="121" y="94"/>
                      <a:pt x="121" y="99"/>
                      <a:pt x="124" y="102"/>
                    </a:cubicBezTo>
                    <a:cubicBezTo>
                      <a:pt x="126" y="103"/>
                      <a:pt x="128" y="104"/>
                      <a:pt x="130" y="104"/>
                    </a:cubicBezTo>
                    <a:cubicBezTo>
                      <a:pt x="132" y="104"/>
                      <a:pt x="134" y="103"/>
                      <a:pt x="136" y="102"/>
                    </a:cubicBezTo>
                    <a:cubicBezTo>
                      <a:pt x="160" y="77"/>
                      <a:pt x="193" y="64"/>
                      <a:pt x="227" y="64"/>
                    </a:cubicBezTo>
                    <a:cubicBezTo>
                      <a:pt x="243" y="64"/>
                      <a:pt x="259" y="67"/>
                      <a:pt x="274" y="73"/>
                    </a:cubicBezTo>
                    <a:close/>
                    <a:moveTo>
                      <a:pt x="266" y="162"/>
                    </a:moveTo>
                    <a:cubicBezTo>
                      <a:pt x="268" y="162"/>
                      <a:pt x="270" y="162"/>
                      <a:pt x="272" y="160"/>
                    </a:cubicBezTo>
                    <a:cubicBezTo>
                      <a:pt x="275" y="157"/>
                      <a:pt x="275" y="152"/>
                      <a:pt x="272" y="149"/>
                    </a:cubicBezTo>
                    <a:cubicBezTo>
                      <a:pt x="259" y="137"/>
                      <a:pt x="243" y="130"/>
                      <a:pt x="227" y="130"/>
                    </a:cubicBezTo>
                    <a:cubicBezTo>
                      <a:pt x="211" y="130"/>
                      <a:pt x="195" y="137"/>
                      <a:pt x="183" y="149"/>
                    </a:cubicBezTo>
                    <a:cubicBezTo>
                      <a:pt x="180" y="152"/>
                      <a:pt x="180" y="157"/>
                      <a:pt x="183" y="160"/>
                    </a:cubicBezTo>
                    <a:cubicBezTo>
                      <a:pt x="186" y="163"/>
                      <a:pt x="191" y="163"/>
                      <a:pt x="194" y="160"/>
                    </a:cubicBezTo>
                    <a:cubicBezTo>
                      <a:pt x="203" y="151"/>
                      <a:pt x="215" y="146"/>
                      <a:pt x="227" y="146"/>
                    </a:cubicBezTo>
                    <a:cubicBezTo>
                      <a:pt x="239" y="146"/>
                      <a:pt x="251" y="151"/>
                      <a:pt x="260" y="160"/>
                    </a:cubicBezTo>
                    <a:cubicBezTo>
                      <a:pt x="262" y="162"/>
                      <a:pt x="264" y="162"/>
                      <a:pt x="266" y="162"/>
                    </a:cubicBezTo>
                    <a:close/>
                    <a:moveTo>
                      <a:pt x="319" y="102"/>
                    </a:moveTo>
                    <a:cubicBezTo>
                      <a:pt x="320" y="103"/>
                      <a:pt x="322" y="104"/>
                      <a:pt x="324" y="104"/>
                    </a:cubicBezTo>
                    <a:cubicBezTo>
                      <a:pt x="326" y="104"/>
                      <a:pt x="329" y="103"/>
                      <a:pt x="330" y="102"/>
                    </a:cubicBezTo>
                    <a:cubicBezTo>
                      <a:pt x="333" y="99"/>
                      <a:pt x="333" y="94"/>
                      <a:pt x="330" y="90"/>
                    </a:cubicBezTo>
                    <a:cubicBezTo>
                      <a:pt x="325" y="86"/>
                      <a:pt x="320" y="81"/>
                      <a:pt x="315" y="77"/>
                    </a:cubicBezTo>
                    <a:cubicBezTo>
                      <a:pt x="313" y="76"/>
                      <a:pt x="311" y="75"/>
                      <a:pt x="310" y="73"/>
                    </a:cubicBezTo>
                    <a:cubicBezTo>
                      <a:pt x="306" y="71"/>
                      <a:pt x="301" y="72"/>
                      <a:pt x="298" y="75"/>
                    </a:cubicBezTo>
                    <a:cubicBezTo>
                      <a:pt x="296" y="79"/>
                      <a:pt x="297" y="84"/>
                      <a:pt x="300" y="87"/>
                    </a:cubicBezTo>
                    <a:cubicBezTo>
                      <a:pt x="302" y="88"/>
                      <a:pt x="304" y="89"/>
                      <a:pt x="305" y="90"/>
                    </a:cubicBezTo>
                    <a:cubicBezTo>
                      <a:pt x="310" y="94"/>
                      <a:pt x="315" y="98"/>
                      <a:pt x="319" y="102"/>
                    </a:cubicBezTo>
                    <a:close/>
                    <a:moveTo>
                      <a:pt x="209" y="182"/>
                    </a:moveTo>
                    <a:cubicBezTo>
                      <a:pt x="199" y="192"/>
                      <a:pt x="199" y="209"/>
                      <a:pt x="209" y="218"/>
                    </a:cubicBezTo>
                    <a:cubicBezTo>
                      <a:pt x="219" y="228"/>
                      <a:pt x="235" y="228"/>
                      <a:pt x="245" y="218"/>
                    </a:cubicBezTo>
                    <a:cubicBezTo>
                      <a:pt x="255" y="209"/>
                      <a:pt x="255" y="192"/>
                      <a:pt x="245" y="182"/>
                    </a:cubicBezTo>
                    <a:cubicBezTo>
                      <a:pt x="235" y="172"/>
                      <a:pt x="219" y="172"/>
                      <a:pt x="209" y="182"/>
                    </a:cubicBezTo>
                    <a:close/>
                    <a:moveTo>
                      <a:pt x="295" y="133"/>
                    </a:moveTo>
                    <a:cubicBezTo>
                      <a:pt x="297" y="133"/>
                      <a:pt x="299" y="133"/>
                      <a:pt x="301" y="131"/>
                    </a:cubicBezTo>
                    <a:cubicBezTo>
                      <a:pt x="304" y="128"/>
                      <a:pt x="304" y="123"/>
                      <a:pt x="301" y="120"/>
                    </a:cubicBezTo>
                    <a:cubicBezTo>
                      <a:pt x="280" y="100"/>
                      <a:pt x="254" y="89"/>
                      <a:pt x="227" y="89"/>
                    </a:cubicBezTo>
                    <a:cubicBezTo>
                      <a:pt x="201" y="89"/>
                      <a:pt x="174" y="100"/>
                      <a:pt x="154" y="120"/>
                    </a:cubicBezTo>
                    <a:cubicBezTo>
                      <a:pt x="151" y="123"/>
                      <a:pt x="151" y="128"/>
                      <a:pt x="154" y="131"/>
                    </a:cubicBezTo>
                    <a:cubicBezTo>
                      <a:pt x="157" y="134"/>
                      <a:pt x="162" y="134"/>
                      <a:pt x="165" y="131"/>
                    </a:cubicBezTo>
                    <a:cubicBezTo>
                      <a:pt x="165" y="131"/>
                      <a:pt x="165" y="131"/>
                      <a:pt x="165" y="131"/>
                    </a:cubicBezTo>
                    <a:cubicBezTo>
                      <a:pt x="182" y="114"/>
                      <a:pt x="205" y="105"/>
                      <a:pt x="227" y="105"/>
                    </a:cubicBezTo>
                    <a:cubicBezTo>
                      <a:pt x="250" y="105"/>
                      <a:pt x="272" y="114"/>
                      <a:pt x="289" y="131"/>
                    </a:cubicBezTo>
                    <a:cubicBezTo>
                      <a:pt x="291" y="133"/>
                      <a:pt x="293" y="133"/>
                      <a:pt x="295" y="1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12" name="Freeform 3"/>
              <p:cNvSpPr>
                <a:spLocks noChangeAspect="1" noEditPoints="1"/>
              </p:cNvSpPr>
              <p:nvPr/>
            </p:nvSpPr>
            <p:spPr bwMode="auto">
              <a:xfrm>
                <a:off x="6163564" y="2697240"/>
                <a:ext cx="136896" cy="150218"/>
              </a:xfrm>
              <a:custGeom>
                <a:avLst/>
                <a:gdLst>
                  <a:gd name="T0" fmla="*/ 2147483647 w 346"/>
                  <a:gd name="T1" fmla="*/ 2147483647 h 388"/>
                  <a:gd name="T2" fmla="*/ 2147483647 w 346"/>
                  <a:gd name="T3" fmla="*/ 2147483647 h 388"/>
                  <a:gd name="T4" fmla="*/ 2147483647 w 346"/>
                  <a:gd name="T5" fmla="*/ 2147483647 h 388"/>
                  <a:gd name="T6" fmla="*/ 2147483647 w 346"/>
                  <a:gd name="T7" fmla="*/ 2147483647 h 388"/>
                  <a:gd name="T8" fmla="*/ 2147483647 w 346"/>
                  <a:gd name="T9" fmla="*/ 2147483647 h 388"/>
                  <a:gd name="T10" fmla="*/ 2147483647 w 346"/>
                  <a:gd name="T11" fmla="*/ 2147483647 h 388"/>
                  <a:gd name="T12" fmla="*/ 2147483647 w 346"/>
                  <a:gd name="T13" fmla="*/ 2147483647 h 388"/>
                  <a:gd name="T14" fmla="*/ 2147483647 w 346"/>
                  <a:gd name="T15" fmla="*/ 2147483647 h 388"/>
                  <a:gd name="T16" fmla="*/ 2147483647 w 346"/>
                  <a:gd name="T17" fmla="*/ 2147483647 h 388"/>
                  <a:gd name="T18" fmla="*/ 2147483647 w 346"/>
                  <a:gd name="T19" fmla="*/ 2147483647 h 388"/>
                  <a:gd name="T20" fmla="*/ 2147483647 w 346"/>
                  <a:gd name="T21" fmla="*/ 2147483647 h 388"/>
                  <a:gd name="T22" fmla="*/ 2147483647 w 346"/>
                  <a:gd name="T23" fmla="*/ 2147483647 h 388"/>
                  <a:gd name="T24" fmla="*/ 2147483647 w 346"/>
                  <a:gd name="T25" fmla="*/ 2147483647 h 388"/>
                  <a:gd name="T26" fmla="*/ 2147483647 w 346"/>
                  <a:gd name="T27" fmla="*/ 2147483647 h 388"/>
                  <a:gd name="T28" fmla="*/ 2147483647 w 346"/>
                  <a:gd name="T29" fmla="*/ 2147483647 h 388"/>
                  <a:gd name="T30" fmla="*/ 2147483647 w 346"/>
                  <a:gd name="T31" fmla="*/ 2147483647 h 388"/>
                  <a:gd name="T32" fmla="*/ 2147483647 w 346"/>
                  <a:gd name="T33" fmla="*/ 2147483647 h 388"/>
                  <a:gd name="T34" fmla="*/ 2147483647 w 346"/>
                  <a:gd name="T35" fmla="*/ 2147483647 h 388"/>
                  <a:gd name="T36" fmla="*/ 2147483647 w 346"/>
                  <a:gd name="T37" fmla="*/ 2147483647 h 388"/>
                  <a:gd name="T38" fmla="*/ 2147483647 w 346"/>
                  <a:gd name="T39" fmla="*/ 2147483647 h 388"/>
                  <a:gd name="T40" fmla="*/ 2147483647 w 346"/>
                  <a:gd name="T41" fmla="*/ 2147483647 h 388"/>
                  <a:gd name="T42" fmla="*/ 2147483647 w 346"/>
                  <a:gd name="T43" fmla="*/ 2147483647 h 388"/>
                  <a:gd name="T44" fmla="*/ 2147483647 w 346"/>
                  <a:gd name="T45" fmla="*/ 2147483647 h 388"/>
                  <a:gd name="T46" fmla="*/ 2147483647 w 346"/>
                  <a:gd name="T47" fmla="*/ 2147483647 h 388"/>
                  <a:gd name="T48" fmla="*/ 2147483647 w 346"/>
                  <a:gd name="T49" fmla="*/ 2147483647 h 388"/>
                  <a:gd name="T50" fmla="*/ 2147483647 w 346"/>
                  <a:gd name="T51" fmla="*/ 2147483647 h 388"/>
                  <a:gd name="T52" fmla="*/ 2147483647 w 346"/>
                  <a:gd name="T53" fmla="*/ 2147483647 h 388"/>
                  <a:gd name="T54" fmla="*/ 2147483647 w 346"/>
                  <a:gd name="T55" fmla="*/ 2147483647 h 388"/>
                  <a:gd name="T56" fmla="*/ 2147483647 w 346"/>
                  <a:gd name="T57" fmla="*/ 2147483647 h 388"/>
                  <a:gd name="T58" fmla="*/ 2147483647 w 346"/>
                  <a:gd name="T59" fmla="*/ 2147483647 h 388"/>
                  <a:gd name="T60" fmla="*/ 2147483647 w 346"/>
                  <a:gd name="T61" fmla="*/ 2147483647 h 388"/>
                  <a:gd name="T62" fmla="*/ 2147483647 w 346"/>
                  <a:gd name="T63" fmla="*/ 2147483647 h 388"/>
                  <a:gd name="T64" fmla="*/ 2147483647 w 346"/>
                  <a:gd name="T65" fmla="*/ 2147483647 h 388"/>
                  <a:gd name="T66" fmla="*/ 2147483647 w 346"/>
                  <a:gd name="T67" fmla="*/ 2147483647 h 388"/>
                  <a:gd name="T68" fmla="*/ 2147483647 w 346"/>
                  <a:gd name="T69" fmla="*/ 2147483647 h 388"/>
                  <a:gd name="T70" fmla="*/ 2147483647 w 346"/>
                  <a:gd name="T71" fmla="*/ 2147483647 h 388"/>
                  <a:gd name="T72" fmla="*/ 2147483647 w 346"/>
                  <a:gd name="T73" fmla="*/ 2147483647 h 388"/>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346" h="388">
                    <a:moveTo>
                      <a:pt x="99" y="274"/>
                    </a:moveTo>
                    <a:cubicBezTo>
                      <a:pt x="124" y="274"/>
                      <a:pt x="145" y="253"/>
                      <a:pt x="145" y="228"/>
                    </a:cubicBezTo>
                    <a:cubicBezTo>
                      <a:pt x="145" y="228"/>
                      <a:pt x="145" y="228"/>
                      <a:pt x="145" y="228"/>
                    </a:cubicBezTo>
                    <a:cubicBezTo>
                      <a:pt x="145" y="48"/>
                      <a:pt x="145" y="48"/>
                      <a:pt x="145" y="48"/>
                    </a:cubicBezTo>
                    <a:cubicBezTo>
                      <a:pt x="277" y="18"/>
                      <a:pt x="277" y="18"/>
                      <a:pt x="277" y="18"/>
                    </a:cubicBezTo>
                    <a:cubicBezTo>
                      <a:pt x="277" y="41"/>
                      <a:pt x="277" y="41"/>
                      <a:pt x="277" y="41"/>
                    </a:cubicBezTo>
                    <a:cubicBezTo>
                      <a:pt x="277" y="45"/>
                      <a:pt x="281" y="49"/>
                      <a:pt x="285" y="49"/>
                    </a:cubicBezTo>
                    <a:cubicBezTo>
                      <a:pt x="289" y="49"/>
                      <a:pt x="293" y="45"/>
                      <a:pt x="293" y="41"/>
                    </a:cubicBezTo>
                    <a:cubicBezTo>
                      <a:pt x="293" y="8"/>
                      <a:pt x="293" y="8"/>
                      <a:pt x="293" y="8"/>
                    </a:cubicBezTo>
                    <a:cubicBezTo>
                      <a:pt x="293" y="6"/>
                      <a:pt x="292" y="3"/>
                      <a:pt x="290" y="2"/>
                    </a:cubicBezTo>
                    <a:cubicBezTo>
                      <a:pt x="288" y="0"/>
                      <a:pt x="286" y="0"/>
                      <a:pt x="283" y="0"/>
                    </a:cubicBezTo>
                    <a:cubicBezTo>
                      <a:pt x="135" y="34"/>
                      <a:pt x="135" y="34"/>
                      <a:pt x="135" y="34"/>
                    </a:cubicBezTo>
                    <a:cubicBezTo>
                      <a:pt x="131" y="35"/>
                      <a:pt x="129" y="38"/>
                      <a:pt x="129" y="42"/>
                    </a:cubicBezTo>
                    <a:cubicBezTo>
                      <a:pt x="129" y="194"/>
                      <a:pt x="129" y="194"/>
                      <a:pt x="129" y="194"/>
                    </a:cubicBezTo>
                    <a:cubicBezTo>
                      <a:pt x="121" y="187"/>
                      <a:pt x="110" y="183"/>
                      <a:pt x="99" y="183"/>
                    </a:cubicBezTo>
                    <a:cubicBezTo>
                      <a:pt x="74" y="183"/>
                      <a:pt x="53" y="203"/>
                      <a:pt x="53" y="228"/>
                    </a:cubicBezTo>
                    <a:cubicBezTo>
                      <a:pt x="53" y="253"/>
                      <a:pt x="74" y="274"/>
                      <a:pt x="99" y="274"/>
                    </a:cubicBezTo>
                    <a:close/>
                    <a:moveTo>
                      <a:pt x="285" y="65"/>
                    </a:moveTo>
                    <a:cubicBezTo>
                      <a:pt x="281" y="65"/>
                      <a:pt x="277" y="69"/>
                      <a:pt x="277" y="73"/>
                    </a:cubicBezTo>
                    <a:cubicBezTo>
                      <a:pt x="277" y="160"/>
                      <a:pt x="277" y="160"/>
                      <a:pt x="277" y="160"/>
                    </a:cubicBezTo>
                    <a:cubicBezTo>
                      <a:pt x="269" y="153"/>
                      <a:pt x="259" y="149"/>
                      <a:pt x="247" y="149"/>
                    </a:cubicBezTo>
                    <a:cubicBezTo>
                      <a:pt x="222" y="149"/>
                      <a:pt x="202" y="169"/>
                      <a:pt x="202" y="195"/>
                    </a:cubicBezTo>
                    <a:cubicBezTo>
                      <a:pt x="202" y="220"/>
                      <a:pt x="222" y="240"/>
                      <a:pt x="247" y="240"/>
                    </a:cubicBezTo>
                    <a:cubicBezTo>
                      <a:pt x="272" y="240"/>
                      <a:pt x="293" y="220"/>
                      <a:pt x="293" y="195"/>
                    </a:cubicBezTo>
                    <a:cubicBezTo>
                      <a:pt x="293" y="195"/>
                      <a:pt x="293" y="195"/>
                      <a:pt x="293" y="195"/>
                    </a:cubicBezTo>
                    <a:cubicBezTo>
                      <a:pt x="293" y="73"/>
                      <a:pt x="293" y="73"/>
                      <a:pt x="293" y="73"/>
                    </a:cubicBezTo>
                    <a:cubicBezTo>
                      <a:pt x="293" y="69"/>
                      <a:pt x="289" y="65"/>
                      <a:pt x="285" y="65"/>
                    </a:cubicBezTo>
                    <a:close/>
                    <a:moveTo>
                      <a:pt x="2" y="309"/>
                    </a:moveTo>
                    <a:cubicBezTo>
                      <a:pt x="2" y="310"/>
                      <a:pt x="6" y="319"/>
                      <a:pt x="17" y="328"/>
                    </a:cubicBezTo>
                    <a:cubicBezTo>
                      <a:pt x="28" y="337"/>
                      <a:pt x="45" y="346"/>
                      <a:pt x="71" y="346"/>
                    </a:cubicBezTo>
                    <a:cubicBezTo>
                      <a:pt x="72" y="346"/>
                      <a:pt x="72" y="346"/>
                      <a:pt x="72" y="346"/>
                    </a:cubicBezTo>
                    <a:cubicBezTo>
                      <a:pt x="98" y="346"/>
                      <a:pt x="132" y="337"/>
                      <a:pt x="177" y="313"/>
                    </a:cubicBezTo>
                    <a:cubicBezTo>
                      <a:pt x="221" y="290"/>
                      <a:pt x="252" y="282"/>
                      <a:pt x="275" y="282"/>
                    </a:cubicBezTo>
                    <a:cubicBezTo>
                      <a:pt x="297" y="282"/>
                      <a:pt x="311" y="289"/>
                      <a:pt x="319" y="296"/>
                    </a:cubicBezTo>
                    <a:cubicBezTo>
                      <a:pt x="323" y="300"/>
                      <a:pt x="326" y="303"/>
                      <a:pt x="327" y="305"/>
                    </a:cubicBezTo>
                    <a:cubicBezTo>
                      <a:pt x="328" y="307"/>
                      <a:pt x="329" y="308"/>
                      <a:pt x="329" y="308"/>
                    </a:cubicBezTo>
                    <a:cubicBezTo>
                      <a:pt x="329" y="309"/>
                      <a:pt x="329" y="309"/>
                      <a:pt x="330" y="309"/>
                    </a:cubicBezTo>
                    <a:cubicBezTo>
                      <a:pt x="330" y="309"/>
                      <a:pt x="330" y="309"/>
                      <a:pt x="330" y="309"/>
                    </a:cubicBezTo>
                    <a:cubicBezTo>
                      <a:pt x="331" y="313"/>
                      <a:pt x="336" y="315"/>
                      <a:pt x="340" y="313"/>
                    </a:cubicBezTo>
                    <a:cubicBezTo>
                      <a:pt x="344" y="312"/>
                      <a:pt x="346" y="307"/>
                      <a:pt x="344" y="303"/>
                    </a:cubicBezTo>
                    <a:cubicBezTo>
                      <a:pt x="344" y="302"/>
                      <a:pt x="340" y="293"/>
                      <a:pt x="329" y="284"/>
                    </a:cubicBezTo>
                    <a:cubicBezTo>
                      <a:pt x="319" y="275"/>
                      <a:pt x="301" y="266"/>
                      <a:pt x="275" y="266"/>
                    </a:cubicBezTo>
                    <a:cubicBezTo>
                      <a:pt x="249" y="266"/>
                      <a:pt x="215" y="275"/>
                      <a:pt x="169" y="299"/>
                    </a:cubicBezTo>
                    <a:cubicBezTo>
                      <a:pt x="126" y="322"/>
                      <a:pt x="94" y="330"/>
                      <a:pt x="72" y="330"/>
                    </a:cubicBezTo>
                    <a:cubicBezTo>
                      <a:pt x="49" y="330"/>
                      <a:pt x="36" y="323"/>
                      <a:pt x="27" y="316"/>
                    </a:cubicBezTo>
                    <a:cubicBezTo>
                      <a:pt x="23" y="312"/>
                      <a:pt x="21" y="309"/>
                      <a:pt x="19" y="306"/>
                    </a:cubicBezTo>
                    <a:cubicBezTo>
                      <a:pt x="18" y="305"/>
                      <a:pt x="18" y="304"/>
                      <a:pt x="17" y="304"/>
                    </a:cubicBezTo>
                    <a:cubicBezTo>
                      <a:pt x="17" y="303"/>
                      <a:pt x="17" y="303"/>
                      <a:pt x="17" y="303"/>
                    </a:cubicBezTo>
                    <a:cubicBezTo>
                      <a:pt x="17" y="303"/>
                      <a:pt x="17" y="303"/>
                      <a:pt x="17" y="303"/>
                    </a:cubicBezTo>
                    <a:cubicBezTo>
                      <a:pt x="15" y="299"/>
                      <a:pt x="10" y="297"/>
                      <a:pt x="6" y="299"/>
                    </a:cubicBezTo>
                    <a:cubicBezTo>
                      <a:pt x="2" y="300"/>
                      <a:pt x="0" y="305"/>
                      <a:pt x="2" y="309"/>
                    </a:cubicBezTo>
                    <a:close/>
                    <a:moveTo>
                      <a:pt x="329" y="326"/>
                    </a:moveTo>
                    <a:cubicBezTo>
                      <a:pt x="319" y="317"/>
                      <a:pt x="301" y="308"/>
                      <a:pt x="275" y="308"/>
                    </a:cubicBezTo>
                    <a:cubicBezTo>
                      <a:pt x="249" y="308"/>
                      <a:pt x="215" y="316"/>
                      <a:pt x="169" y="341"/>
                    </a:cubicBezTo>
                    <a:cubicBezTo>
                      <a:pt x="126" y="364"/>
                      <a:pt x="94" y="372"/>
                      <a:pt x="72" y="372"/>
                    </a:cubicBezTo>
                    <a:cubicBezTo>
                      <a:pt x="49" y="372"/>
                      <a:pt x="36" y="364"/>
                      <a:pt x="27" y="358"/>
                    </a:cubicBezTo>
                    <a:cubicBezTo>
                      <a:pt x="23" y="354"/>
                      <a:pt x="21" y="351"/>
                      <a:pt x="19" y="348"/>
                    </a:cubicBezTo>
                    <a:cubicBezTo>
                      <a:pt x="18" y="347"/>
                      <a:pt x="18" y="346"/>
                      <a:pt x="17" y="345"/>
                    </a:cubicBezTo>
                    <a:cubicBezTo>
                      <a:pt x="17" y="345"/>
                      <a:pt x="17" y="345"/>
                      <a:pt x="17" y="345"/>
                    </a:cubicBezTo>
                    <a:cubicBezTo>
                      <a:pt x="17" y="345"/>
                      <a:pt x="17" y="345"/>
                      <a:pt x="17" y="345"/>
                    </a:cubicBezTo>
                    <a:cubicBezTo>
                      <a:pt x="15" y="341"/>
                      <a:pt x="10" y="339"/>
                      <a:pt x="6" y="340"/>
                    </a:cubicBezTo>
                    <a:cubicBezTo>
                      <a:pt x="2" y="342"/>
                      <a:pt x="0" y="347"/>
                      <a:pt x="2" y="351"/>
                    </a:cubicBezTo>
                    <a:cubicBezTo>
                      <a:pt x="2" y="352"/>
                      <a:pt x="6" y="361"/>
                      <a:pt x="17" y="370"/>
                    </a:cubicBezTo>
                    <a:cubicBezTo>
                      <a:pt x="28" y="379"/>
                      <a:pt x="45" y="388"/>
                      <a:pt x="71" y="388"/>
                    </a:cubicBezTo>
                    <a:cubicBezTo>
                      <a:pt x="72" y="388"/>
                      <a:pt x="72" y="388"/>
                      <a:pt x="72" y="388"/>
                    </a:cubicBezTo>
                    <a:cubicBezTo>
                      <a:pt x="98" y="388"/>
                      <a:pt x="132" y="379"/>
                      <a:pt x="177" y="355"/>
                    </a:cubicBezTo>
                    <a:cubicBezTo>
                      <a:pt x="221" y="331"/>
                      <a:pt x="252" y="324"/>
                      <a:pt x="275" y="324"/>
                    </a:cubicBezTo>
                    <a:cubicBezTo>
                      <a:pt x="297" y="324"/>
                      <a:pt x="311" y="331"/>
                      <a:pt x="319" y="338"/>
                    </a:cubicBezTo>
                    <a:cubicBezTo>
                      <a:pt x="323" y="341"/>
                      <a:pt x="326" y="345"/>
                      <a:pt x="327" y="347"/>
                    </a:cubicBezTo>
                    <a:cubicBezTo>
                      <a:pt x="328" y="348"/>
                      <a:pt x="329" y="349"/>
                      <a:pt x="329" y="350"/>
                    </a:cubicBezTo>
                    <a:cubicBezTo>
                      <a:pt x="329" y="350"/>
                      <a:pt x="329" y="351"/>
                      <a:pt x="330" y="351"/>
                    </a:cubicBezTo>
                    <a:cubicBezTo>
                      <a:pt x="330" y="351"/>
                      <a:pt x="330" y="351"/>
                      <a:pt x="330" y="351"/>
                    </a:cubicBezTo>
                    <a:cubicBezTo>
                      <a:pt x="331" y="355"/>
                      <a:pt x="336" y="357"/>
                      <a:pt x="340" y="355"/>
                    </a:cubicBezTo>
                    <a:cubicBezTo>
                      <a:pt x="344" y="353"/>
                      <a:pt x="346" y="349"/>
                      <a:pt x="344" y="345"/>
                    </a:cubicBezTo>
                    <a:cubicBezTo>
                      <a:pt x="344" y="344"/>
                      <a:pt x="340" y="335"/>
                      <a:pt x="329" y="3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13" name="Freeform 3"/>
              <p:cNvSpPr>
                <a:spLocks noChangeAspect="1" noEditPoints="1"/>
              </p:cNvSpPr>
              <p:nvPr/>
            </p:nvSpPr>
            <p:spPr bwMode="auto">
              <a:xfrm>
                <a:off x="6385696" y="2590847"/>
                <a:ext cx="141925" cy="112500"/>
              </a:xfrm>
              <a:custGeom>
                <a:avLst/>
                <a:gdLst>
                  <a:gd name="T0" fmla="*/ 2147483647 w 359"/>
                  <a:gd name="T1" fmla="*/ 0 h 290"/>
                  <a:gd name="T2" fmla="*/ 2147483647 w 359"/>
                  <a:gd name="T3" fmla="*/ 2147483647 h 290"/>
                  <a:gd name="T4" fmla="*/ 2147483647 w 359"/>
                  <a:gd name="T5" fmla="*/ 2147483647 h 290"/>
                  <a:gd name="T6" fmla="*/ 2147483647 w 359"/>
                  <a:gd name="T7" fmla="*/ 2147483647 h 290"/>
                  <a:gd name="T8" fmla="*/ 2147483647 w 359"/>
                  <a:gd name="T9" fmla="*/ 2147483647 h 290"/>
                  <a:gd name="T10" fmla="*/ 2147483647 w 359"/>
                  <a:gd name="T11" fmla="*/ 2147483647 h 290"/>
                  <a:gd name="T12" fmla="*/ 2147483647 w 359"/>
                  <a:gd name="T13" fmla="*/ 2147483647 h 290"/>
                  <a:gd name="T14" fmla="*/ 2147483647 w 359"/>
                  <a:gd name="T15" fmla="*/ 2147483647 h 290"/>
                  <a:gd name="T16" fmla="*/ 2147483647 w 359"/>
                  <a:gd name="T17" fmla="*/ 2147483647 h 290"/>
                  <a:gd name="T18" fmla="*/ 2147483647 w 359"/>
                  <a:gd name="T19" fmla="*/ 2147483647 h 290"/>
                  <a:gd name="T20" fmla="*/ 2147483647 w 359"/>
                  <a:gd name="T21" fmla="*/ 2147483647 h 290"/>
                  <a:gd name="T22" fmla="*/ 2147483647 w 359"/>
                  <a:gd name="T23" fmla="*/ 2147483647 h 290"/>
                  <a:gd name="T24" fmla="*/ 2147483647 w 359"/>
                  <a:gd name="T25" fmla="*/ 2147483647 h 290"/>
                  <a:gd name="T26" fmla="*/ 2147483647 w 359"/>
                  <a:gd name="T27" fmla="*/ 2147483647 h 290"/>
                  <a:gd name="T28" fmla="*/ 2147483647 w 359"/>
                  <a:gd name="T29" fmla="*/ 2147483647 h 290"/>
                  <a:gd name="T30" fmla="*/ 2147483647 w 359"/>
                  <a:gd name="T31" fmla="*/ 2147483647 h 290"/>
                  <a:gd name="T32" fmla="*/ 2147483647 w 359"/>
                  <a:gd name="T33" fmla="*/ 2147483647 h 290"/>
                  <a:gd name="T34" fmla="*/ 2147483647 w 359"/>
                  <a:gd name="T35" fmla="*/ 2147483647 h 290"/>
                  <a:gd name="T36" fmla="*/ 2147483647 w 359"/>
                  <a:gd name="T37" fmla="*/ 2147483647 h 290"/>
                  <a:gd name="T38" fmla="*/ 2147483647 w 359"/>
                  <a:gd name="T39" fmla="*/ 2147483647 h 290"/>
                  <a:gd name="T40" fmla="*/ 2147483647 w 359"/>
                  <a:gd name="T41" fmla="*/ 2147483647 h 290"/>
                  <a:gd name="T42" fmla="*/ 2147483647 w 359"/>
                  <a:gd name="T43" fmla="*/ 2147483647 h 290"/>
                  <a:gd name="T44" fmla="*/ 2147483647 w 359"/>
                  <a:gd name="T45" fmla="*/ 2147483647 h 290"/>
                  <a:gd name="T46" fmla="*/ 2147483647 w 359"/>
                  <a:gd name="T47" fmla="*/ 2147483647 h 290"/>
                  <a:gd name="T48" fmla="*/ 2147483647 w 359"/>
                  <a:gd name="T49" fmla="*/ 2147483647 h 290"/>
                  <a:gd name="T50" fmla="*/ 2147483647 w 359"/>
                  <a:gd name="T51" fmla="*/ 2147483647 h 290"/>
                  <a:gd name="T52" fmla="*/ 2147483647 w 359"/>
                  <a:gd name="T53" fmla="*/ 2147483647 h 290"/>
                  <a:gd name="T54" fmla="*/ 2147483647 w 359"/>
                  <a:gd name="T55" fmla="*/ 2147483647 h 290"/>
                  <a:gd name="T56" fmla="*/ 2147483647 w 359"/>
                  <a:gd name="T57" fmla="*/ 2147483647 h 290"/>
                  <a:gd name="T58" fmla="*/ 2147483647 w 359"/>
                  <a:gd name="T59" fmla="*/ 2147483647 h 290"/>
                  <a:gd name="T60" fmla="*/ 2147483647 w 359"/>
                  <a:gd name="T61" fmla="*/ 2147483647 h 290"/>
                  <a:gd name="T62" fmla="*/ 2147483647 w 359"/>
                  <a:gd name="T63" fmla="*/ 2147483647 h 290"/>
                  <a:gd name="T64" fmla="*/ 2147483647 w 359"/>
                  <a:gd name="T65" fmla="*/ 2147483647 h 290"/>
                  <a:gd name="T66" fmla="*/ 2147483647 w 359"/>
                  <a:gd name="T67" fmla="*/ 2147483647 h 290"/>
                  <a:gd name="T68" fmla="*/ 2147483647 w 359"/>
                  <a:gd name="T69" fmla="*/ 2147483647 h 290"/>
                  <a:gd name="T70" fmla="*/ 2147483647 w 359"/>
                  <a:gd name="T71" fmla="*/ 2147483647 h 29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359" h="290">
                    <a:moveTo>
                      <a:pt x="337" y="0"/>
                    </a:moveTo>
                    <a:cubicBezTo>
                      <a:pt x="312" y="0"/>
                      <a:pt x="312" y="0"/>
                      <a:pt x="312" y="0"/>
                    </a:cubicBezTo>
                    <a:cubicBezTo>
                      <a:pt x="299" y="0"/>
                      <a:pt x="286" y="10"/>
                      <a:pt x="284" y="23"/>
                    </a:cubicBezTo>
                    <a:cubicBezTo>
                      <a:pt x="279" y="49"/>
                      <a:pt x="279" y="49"/>
                      <a:pt x="279" y="49"/>
                    </a:cubicBezTo>
                    <a:cubicBezTo>
                      <a:pt x="275" y="46"/>
                      <a:pt x="270" y="44"/>
                      <a:pt x="264" y="44"/>
                    </a:cubicBezTo>
                    <a:cubicBezTo>
                      <a:pt x="28" y="44"/>
                      <a:pt x="28" y="44"/>
                      <a:pt x="28" y="44"/>
                    </a:cubicBezTo>
                    <a:cubicBezTo>
                      <a:pt x="20" y="44"/>
                      <a:pt x="12" y="48"/>
                      <a:pt x="7" y="54"/>
                    </a:cubicBezTo>
                    <a:cubicBezTo>
                      <a:pt x="2" y="60"/>
                      <a:pt x="0" y="68"/>
                      <a:pt x="1" y="76"/>
                    </a:cubicBezTo>
                    <a:cubicBezTo>
                      <a:pt x="20" y="191"/>
                      <a:pt x="20" y="191"/>
                      <a:pt x="20" y="191"/>
                    </a:cubicBezTo>
                    <a:cubicBezTo>
                      <a:pt x="22" y="204"/>
                      <a:pt x="34" y="215"/>
                      <a:pt x="48" y="215"/>
                    </a:cubicBezTo>
                    <a:cubicBezTo>
                      <a:pt x="241" y="215"/>
                      <a:pt x="241" y="215"/>
                      <a:pt x="241" y="215"/>
                    </a:cubicBezTo>
                    <a:cubicBezTo>
                      <a:pt x="244" y="215"/>
                      <a:pt x="246" y="214"/>
                      <a:pt x="249" y="214"/>
                    </a:cubicBezTo>
                    <a:cubicBezTo>
                      <a:pt x="245" y="233"/>
                      <a:pt x="242" y="249"/>
                      <a:pt x="242" y="249"/>
                    </a:cubicBezTo>
                    <a:cubicBezTo>
                      <a:pt x="242" y="250"/>
                      <a:pt x="240" y="252"/>
                      <a:pt x="238" y="252"/>
                    </a:cubicBezTo>
                    <a:cubicBezTo>
                      <a:pt x="234" y="252"/>
                      <a:pt x="234" y="252"/>
                      <a:pt x="234" y="252"/>
                    </a:cubicBezTo>
                    <a:cubicBezTo>
                      <a:pt x="231" y="240"/>
                      <a:pt x="220" y="231"/>
                      <a:pt x="206" y="231"/>
                    </a:cubicBezTo>
                    <a:cubicBezTo>
                      <a:pt x="193" y="231"/>
                      <a:pt x="182" y="240"/>
                      <a:pt x="178" y="252"/>
                    </a:cubicBezTo>
                    <a:cubicBezTo>
                      <a:pt x="89" y="252"/>
                      <a:pt x="89" y="252"/>
                      <a:pt x="89" y="252"/>
                    </a:cubicBezTo>
                    <a:cubicBezTo>
                      <a:pt x="86" y="240"/>
                      <a:pt x="75" y="231"/>
                      <a:pt x="61" y="231"/>
                    </a:cubicBezTo>
                    <a:cubicBezTo>
                      <a:pt x="45" y="231"/>
                      <a:pt x="32" y="244"/>
                      <a:pt x="32" y="260"/>
                    </a:cubicBezTo>
                    <a:cubicBezTo>
                      <a:pt x="32" y="277"/>
                      <a:pt x="45" y="290"/>
                      <a:pt x="61" y="290"/>
                    </a:cubicBezTo>
                    <a:cubicBezTo>
                      <a:pt x="75" y="290"/>
                      <a:pt x="86" y="281"/>
                      <a:pt x="90" y="268"/>
                    </a:cubicBezTo>
                    <a:cubicBezTo>
                      <a:pt x="178" y="268"/>
                      <a:pt x="178" y="268"/>
                      <a:pt x="178" y="268"/>
                    </a:cubicBezTo>
                    <a:cubicBezTo>
                      <a:pt x="182" y="281"/>
                      <a:pt x="193" y="290"/>
                      <a:pt x="206" y="290"/>
                    </a:cubicBezTo>
                    <a:cubicBezTo>
                      <a:pt x="220" y="290"/>
                      <a:pt x="231" y="281"/>
                      <a:pt x="234" y="268"/>
                    </a:cubicBezTo>
                    <a:cubicBezTo>
                      <a:pt x="238" y="268"/>
                      <a:pt x="238" y="268"/>
                      <a:pt x="238" y="268"/>
                    </a:cubicBezTo>
                    <a:cubicBezTo>
                      <a:pt x="248" y="268"/>
                      <a:pt x="256" y="261"/>
                      <a:pt x="258" y="252"/>
                    </a:cubicBezTo>
                    <a:cubicBezTo>
                      <a:pt x="262" y="229"/>
                      <a:pt x="266" y="210"/>
                      <a:pt x="268" y="195"/>
                    </a:cubicBezTo>
                    <a:cubicBezTo>
                      <a:pt x="269" y="194"/>
                      <a:pt x="269" y="193"/>
                      <a:pt x="269" y="191"/>
                    </a:cubicBezTo>
                    <a:cubicBezTo>
                      <a:pt x="281" y="127"/>
                      <a:pt x="281" y="127"/>
                      <a:pt x="281" y="127"/>
                    </a:cubicBezTo>
                    <a:cubicBezTo>
                      <a:pt x="281" y="126"/>
                      <a:pt x="281" y="125"/>
                      <a:pt x="281" y="123"/>
                    </a:cubicBezTo>
                    <a:cubicBezTo>
                      <a:pt x="280" y="122"/>
                      <a:pt x="280" y="121"/>
                      <a:pt x="279" y="120"/>
                    </a:cubicBezTo>
                    <a:cubicBezTo>
                      <a:pt x="278" y="120"/>
                      <a:pt x="278" y="119"/>
                      <a:pt x="277" y="119"/>
                    </a:cubicBezTo>
                    <a:cubicBezTo>
                      <a:pt x="276" y="118"/>
                      <a:pt x="275" y="118"/>
                      <a:pt x="274" y="118"/>
                    </a:cubicBezTo>
                    <a:cubicBezTo>
                      <a:pt x="270" y="117"/>
                      <a:pt x="266" y="120"/>
                      <a:pt x="265" y="124"/>
                    </a:cubicBezTo>
                    <a:cubicBezTo>
                      <a:pt x="265" y="124"/>
                      <a:pt x="265" y="124"/>
                      <a:pt x="265" y="124"/>
                    </a:cubicBezTo>
                    <a:cubicBezTo>
                      <a:pt x="265" y="125"/>
                      <a:pt x="259" y="159"/>
                      <a:pt x="253" y="191"/>
                    </a:cubicBezTo>
                    <a:cubicBezTo>
                      <a:pt x="251" y="195"/>
                      <a:pt x="246" y="199"/>
                      <a:pt x="241" y="199"/>
                    </a:cubicBezTo>
                    <a:cubicBezTo>
                      <a:pt x="48" y="199"/>
                      <a:pt x="48" y="199"/>
                      <a:pt x="48" y="199"/>
                    </a:cubicBezTo>
                    <a:cubicBezTo>
                      <a:pt x="42" y="199"/>
                      <a:pt x="37" y="194"/>
                      <a:pt x="36" y="189"/>
                    </a:cubicBezTo>
                    <a:cubicBezTo>
                      <a:pt x="17" y="73"/>
                      <a:pt x="17" y="73"/>
                      <a:pt x="17" y="73"/>
                    </a:cubicBezTo>
                    <a:cubicBezTo>
                      <a:pt x="17" y="70"/>
                      <a:pt x="17" y="66"/>
                      <a:pt x="19" y="64"/>
                    </a:cubicBezTo>
                    <a:cubicBezTo>
                      <a:pt x="21" y="62"/>
                      <a:pt x="25" y="60"/>
                      <a:pt x="28" y="60"/>
                    </a:cubicBezTo>
                    <a:cubicBezTo>
                      <a:pt x="264" y="60"/>
                      <a:pt x="264" y="60"/>
                      <a:pt x="264" y="60"/>
                    </a:cubicBezTo>
                    <a:cubicBezTo>
                      <a:pt x="268" y="60"/>
                      <a:pt x="271" y="62"/>
                      <a:pt x="273" y="64"/>
                    </a:cubicBezTo>
                    <a:cubicBezTo>
                      <a:pt x="275" y="66"/>
                      <a:pt x="275" y="69"/>
                      <a:pt x="275" y="72"/>
                    </a:cubicBezTo>
                    <a:cubicBezTo>
                      <a:pt x="271" y="93"/>
                      <a:pt x="271" y="93"/>
                      <a:pt x="271" y="93"/>
                    </a:cubicBezTo>
                    <a:cubicBezTo>
                      <a:pt x="271" y="93"/>
                      <a:pt x="271" y="93"/>
                      <a:pt x="271" y="93"/>
                    </a:cubicBezTo>
                    <a:cubicBezTo>
                      <a:pt x="270" y="97"/>
                      <a:pt x="273" y="102"/>
                      <a:pt x="277" y="102"/>
                    </a:cubicBezTo>
                    <a:cubicBezTo>
                      <a:pt x="282" y="103"/>
                      <a:pt x="286" y="100"/>
                      <a:pt x="287" y="96"/>
                    </a:cubicBezTo>
                    <a:cubicBezTo>
                      <a:pt x="290" y="76"/>
                      <a:pt x="290" y="76"/>
                      <a:pt x="290" y="76"/>
                    </a:cubicBezTo>
                    <a:cubicBezTo>
                      <a:pt x="291" y="76"/>
                      <a:pt x="291" y="75"/>
                      <a:pt x="291" y="75"/>
                    </a:cubicBezTo>
                    <a:cubicBezTo>
                      <a:pt x="300" y="26"/>
                      <a:pt x="300" y="26"/>
                      <a:pt x="300" y="26"/>
                    </a:cubicBezTo>
                    <a:cubicBezTo>
                      <a:pt x="301" y="20"/>
                      <a:pt x="307" y="16"/>
                      <a:pt x="312" y="16"/>
                    </a:cubicBezTo>
                    <a:cubicBezTo>
                      <a:pt x="337" y="16"/>
                      <a:pt x="337" y="16"/>
                      <a:pt x="337" y="16"/>
                    </a:cubicBezTo>
                    <a:cubicBezTo>
                      <a:pt x="341" y="16"/>
                      <a:pt x="343" y="19"/>
                      <a:pt x="343" y="22"/>
                    </a:cubicBezTo>
                    <a:cubicBezTo>
                      <a:pt x="343" y="27"/>
                      <a:pt x="338" y="27"/>
                      <a:pt x="337" y="27"/>
                    </a:cubicBezTo>
                    <a:cubicBezTo>
                      <a:pt x="322" y="27"/>
                      <a:pt x="322" y="27"/>
                      <a:pt x="322" y="27"/>
                    </a:cubicBezTo>
                    <a:cubicBezTo>
                      <a:pt x="318" y="27"/>
                      <a:pt x="314" y="31"/>
                      <a:pt x="314" y="35"/>
                    </a:cubicBezTo>
                    <a:cubicBezTo>
                      <a:pt x="314" y="40"/>
                      <a:pt x="318" y="43"/>
                      <a:pt x="322" y="43"/>
                    </a:cubicBezTo>
                    <a:cubicBezTo>
                      <a:pt x="337" y="43"/>
                      <a:pt x="337" y="43"/>
                      <a:pt x="337" y="43"/>
                    </a:cubicBezTo>
                    <a:cubicBezTo>
                      <a:pt x="350" y="43"/>
                      <a:pt x="359" y="35"/>
                      <a:pt x="359" y="22"/>
                    </a:cubicBezTo>
                    <a:cubicBezTo>
                      <a:pt x="359" y="10"/>
                      <a:pt x="349" y="0"/>
                      <a:pt x="337" y="0"/>
                    </a:cubicBezTo>
                    <a:close/>
                    <a:moveTo>
                      <a:pt x="61" y="274"/>
                    </a:moveTo>
                    <a:cubicBezTo>
                      <a:pt x="54" y="274"/>
                      <a:pt x="48" y="268"/>
                      <a:pt x="48" y="260"/>
                    </a:cubicBezTo>
                    <a:cubicBezTo>
                      <a:pt x="48" y="253"/>
                      <a:pt x="54" y="247"/>
                      <a:pt x="61" y="247"/>
                    </a:cubicBezTo>
                    <a:cubicBezTo>
                      <a:pt x="69" y="247"/>
                      <a:pt x="75" y="253"/>
                      <a:pt x="75" y="260"/>
                    </a:cubicBezTo>
                    <a:cubicBezTo>
                      <a:pt x="75" y="268"/>
                      <a:pt x="69" y="274"/>
                      <a:pt x="61" y="274"/>
                    </a:cubicBezTo>
                    <a:close/>
                    <a:moveTo>
                      <a:pt x="206" y="274"/>
                    </a:moveTo>
                    <a:cubicBezTo>
                      <a:pt x="199" y="274"/>
                      <a:pt x="193" y="268"/>
                      <a:pt x="193" y="260"/>
                    </a:cubicBezTo>
                    <a:cubicBezTo>
                      <a:pt x="193" y="253"/>
                      <a:pt x="199" y="247"/>
                      <a:pt x="206" y="247"/>
                    </a:cubicBezTo>
                    <a:cubicBezTo>
                      <a:pt x="214" y="247"/>
                      <a:pt x="219" y="253"/>
                      <a:pt x="219" y="260"/>
                    </a:cubicBezTo>
                    <a:cubicBezTo>
                      <a:pt x="219" y="268"/>
                      <a:pt x="214" y="274"/>
                      <a:pt x="206" y="2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14" name="Freeform 3"/>
              <p:cNvSpPr>
                <a:spLocks noChangeAspect="1" noEditPoints="1"/>
              </p:cNvSpPr>
              <p:nvPr/>
            </p:nvSpPr>
            <p:spPr bwMode="auto">
              <a:xfrm>
                <a:off x="6385696" y="3299805"/>
                <a:ext cx="141925" cy="112500"/>
              </a:xfrm>
              <a:custGeom>
                <a:avLst/>
                <a:gdLst>
                  <a:gd name="T0" fmla="*/ 2147483647 w 359"/>
                  <a:gd name="T1" fmla="*/ 0 h 290"/>
                  <a:gd name="T2" fmla="*/ 2147483647 w 359"/>
                  <a:gd name="T3" fmla="*/ 2147483647 h 290"/>
                  <a:gd name="T4" fmla="*/ 2147483647 w 359"/>
                  <a:gd name="T5" fmla="*/ 2147483647 h 290"/>
                  <a:gd name="T6" fmla="*/ 2147483647 w 359"/>
                  <a:gd name="T7" fmla="*/ 2147483647 h 290"/>
                  <a:gd name="T8" fmla="*/ 2147483647 w 359"/>
                  <a:gd name="T9" fmla="*/ 2147483647 h 290"/>
                  <a:gd name="T10" fmla="*/ 2147483647 w 359"/>
                  <a:gd name="T11" fmla="*/ 2147483647 h 290"/>
                  <a:gd name="T12" fmla="*/ 2147483647 w 359"/>
                  <a:gd name="T13" fmla="*/ 2147483647 h 290"/>
                  <a:gd name="T14" fmla="*/ 2147483647 w 359"/>
                  <a:gd name="T15" fmla="*/ 2147483647 h 290"/>
                  <a:gd name="T16" fmla="*/ 2147483647 w 359"/>
                  <a:gd name="T17" fmla="*/ 2147483647 h 290"/>
                  <a:gd name="T18" fmla="*/ 2147483647 w 359"/>
                  <a:gd name="T19" fmla="*/ 2147483647 h 290"/>
                  <a:gd name="T20" fmla="*/ 2147483647 w 359"/>
                  <a:gd name="T21" fmla="*/ 2147483647 h 290"/>
                  <a:gd name="T22" fmla="*/ 2147483647 w 359"/>
                  <a:gd name="T23" fmla="*/ 2147483647 h 290"/>
                  <a:gd name="T24" fmla="*/ 2147483647 w 359"/>
                  <a:gd name="T25" fmla="*/ 2147483647 h 290"/>
                  <a:gd name="T26" fmla="*/ 2147483647 w 359"/>
                  <a:gd name="T27" fmla="*/ 2147483647 h 290"/>
                  <a:gd name="T28" fmla="*/ 2147483647 w 359"/>
                  <a:gd name="T29" fmla="*/ 2147483647 h 290"/>
                  <a:gd name="T30" fmla="*/ 2147483647 w 359"/>
                  <a:gd name="T31" fmla="*/ 2147483647 h 290"/>
                  <a:gd name="T32" fmla="*/ 2147483647 w 359"/>
                  <a:gd name="T33" fmla="*/ 2147483647 h 290"/>
                  <a:gd name="T34" fmla="*/ 2147483647 w 359"/>
                  <a:gd name="T35" fmla="*/ 2147483647 h 290"/>
                  <a:gd name="T36" fmla="*/ 2147483647 w 359"/>
                  <a:gd name="T37" fmla="*/ 2147483647 h 290"/>
                  <a:gd name="T38" fmla="*/ 2147483647 w 359"/>
                  <a:gd name="T39" fmla="*/ 2147483647 h 290"/>
                  <a:gd name="T40" fmla="*/ 2147483647 w 359"/>
                  <a:gd name="T41" fmla="*/ 2147483647 h 290"/>
                  <a:gd name="T42" fmla="*/ 2147483647 w 359"/>
                  <a:gd name="T43" fmla="*/ 2147483647 h 290"/>
                  <a:gd name="T44" fmla="*/ 2147483647 w 359"/>
                  <a:gd name="T45" fmla="*/ 2147483647 h 290"/>
                  <a:gd name="T46" fmla="*/ 2147483647 w 359"/>
                  <a:gd name="T47" fmla="*/ 2147483647 h 290"/>
                  <a:gd name="T48" fmla="*/ 2147483647 w 359"/>
                  <a:gd name="T49" fmla="*/ 2147483647 h 290"/>
                  <a:gd name="T50" fmla="*/ 2147483647 w 359"/>
                  <a:gd name="T51" fmla="*/ 2147483647 h 290"/>
                  <a:gd name="T52" fmla="*/ 2147483647 w 359"/>
                  <a:gd name="T53" fmla="*/ 2147483647 h 290"/>
                  <a:gd name="T54" fmla="*/ 2147483647 w 359"/>
                  <a:gd name="T55" fmla="*/ 2147483647 h 290"/>
                  <a:gd name="T56" fmla="*/ 2147483647 w 359"/>
                  <a:gd name="T57" fmla="*/ 2147483647 h 290"/>
                  <a:gd name="T58" fmla="*/ 2147483647 w 359"/>
                  <a:gd name="T59" fmla="*/ 2147483647 h 290"/>
                  <a:gd name="T60" fmla="*/ 2147483647 w 359"/>
                  <a:gd name="T61" fmla="*/ 2147483647 h 290"/>
                  <a:gd name="T62" fmla="*/ 2147483647 w 359"/>
                  <a:gd name="T63" fmla="*/ 2147483647 h 290"/>
                  <a:gd name="T64" fmla="*/ 2147483647 w 359"/>
                  <a:gd name="T65" fmla="*/ 2147483647 h 290"/>
                  <a:gd name="T66" fmla="*/ 2147483647 w 359"/>
                  <a:gd name="T67" fmla="*/ 2147483647 h 290"/>
                  <a:gd name="T68" fmla="*/ 2147483647 w 359"/>
                  <a:gd name="T69" fmla="*/ 2147483647 h 290"/>
                  <a:gd name="T70" fmla="*/ 2147483647 w 359"/>
                  <a:gd name="T71" fmla="*/ 2147483647 h 29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359" h="290">
                    <a:moveTo>
                      <a:pt x="337" y="0"/>
                    </a:moveTo>
                    <a:cubicBezTo>
                      <a:pt x="312" y="0"/>
                      <a:pt x="312" y="0"/>
                      <a:pt x="312" y="0"/>
                    </a:cubicBezTo>
                    <a:cubicBezTo>
                      <a:pt x="299" y="0"/>
                      <a:pt x="286" y="10"/>
                      <a:pt x="284" y="23"/>
                    </a:cubicBezTo>
                    <a:cubicBezTo>
                      <a:pt x="279" y="49"/>
                      <a:pt x="279" y="49"/>
                      <a:pt x="279" y="49"/>
                    </a:cubicBezTo>
                    <a:cubicBezTo>
                      <a:pt x="275" y="46"/>
                      <a:pt x="270" y="44"/>
                      <a:pt x="264" y="44"/>
                    </a:cubicBezTo>
                    <a:cubicBezTo>
                      <a:pt x="28" y="44"/>
                      <a:pt x="28" y="44"/>
                      <a:pt x="28" y="44"/>
                    </a:cubicBezTo>
                    <a:cubicBezTo>
                      <a:pt x="20" y="44"/>
                      <a:pt x="12" y="48"/>
                      <a:pt x="7" y="54"/>
                    </a:cubicBezTo>
                    <a:cubicBezTo>
                      <a:pt x="2" y="60"/>
                      <a:pt x="0" y="68"/>
                      <a:pt x="1" y="76"/>
                    </a:cubicBezTo>
                    <a:cubicBezTo>
                      <a:pt x="20" y="191"/>
                      <a:pt x="20" y="191"/>
                      <a:pt x="20" y="191"/>
                    </a:cubicBezTo>
                    <a:cubicBezTo>
                      <a:pt x="22" y="204"/>
                      <a:pt x="34" y="215"/>
                      <a:pt x="48" y="215"/>
                    </a:cubicBezTo>
                    <a:cubicBezTo>
                      <a:pt x="241" y="215"/>
                      <a:pt x="241" y="215"/>
                      <a:pt x="241" y="215"/>
                    </a:cubicBezTo>
                    <a:cubicBezTo>
                      <a:pt x="244" y="215"/>
                      <a:pt x="246" y="214"/>
                      <a:pt x="249" y="214"/>
                    </a:cubicBezTo>
                    <a:cubicBezTo>
                      <a:pt x="245" y="233"/>
                      <a:pt x="242" y="249"/>
                      <a:pt x="242" y="249"/>
                    </a:cubicBezTo>
                    <a:cubicBezTo>
                      <a:pt x="242" y="250"/>
                      <a:pt x="240" y="252"/>
                      <a:pt x="238" y="252"/>
                    </a:cubicBezTo>
                    <a:cubicBezTo>
                      <a:pt x="234" y="252"/>
                      <a:pt x="234" y="252"/>
                      <a:pt x="234" y="252"/>
                    </a:cubicBezTo>
                    <a:cubicBezTo>
                      <a:pt x="231" y="240"/>
                      <a:pt x="220" y="231"/>
                      <a:pt x="206" y="231"/>
                    </a:cubicBezTo>
                    <a:cubicBezTo>
                      <a:pt x="193" y="231"/>
                      <a:pt x="182" y="240"/>
                      <a:pt x="178" y="252"/>
                    </a:cubicBezTo>
                    <a:cubicBezTo>
                      <a:pt x="89" y="252"/>
                      <a:pt x="89" y="252"/>
                      <a:pt x="89" y="252"/>
                    </a:cubicBezTo>
                    <a:cubicBezTo>
                      <a:pt x="86" y="240"/>
                      <a:pt x="75" y="231"/>
                      <a:pt x="61" y="231"/>
                    </a:cubicBezTo>
                    <a:cubicBezTo>
                      <a:pt x="45" y="231"/>
                      <a:pt x="32" y="244"/>
                      <a:pt x="32" y="260"/>
                    </a:cubicBezTo>
                    <a:cubicBezTo>
                      <a:pt x="32" y="277"/>
                      <a:pt x="45" y="290"/>
                      <a:pt x="61" y="290"/>
                    </a:cubicBezTo>
                    <a:cubicBezTo>
                      <a:pt x="75" y="290"/>
                      <a:pt x="86" y="281"/>
                      <a:pt x="90" y="268"/>
                    </a:cubicBezTo>
                    <a:cubicBezTo>
                      <a:pt x="178" y="268"/>
                      <a:pt x="178" y="268"/>
                      <a:pt x="178" y="268"/>
                    </a:cubicBezTo>
                    <a:cubicBezTo>
                      <a:pt x="182" y="281"/>
                      <a:pt x="193" y="290"/>
                      <a:pt x="206" y="290"/>
                    </a:cubicBezTo>
                    <a:cubicBezTo>
                      <a:pt x="220" y="290"/>
                      <a:pt x="231" y="281"/>
                      <a:pt x="234" y="268"/>
                    </a:cubicBezTo>
                    <a:cubicBezTo>
                      <a:pt x="238" y="268"/>
                      <a:pt x="238" y="268"/>
                      <a:pt x="238" y="268"/>
                    </a:cubicBezTo>
                    <a:cubicBezTo>
                      <a:pt x="248" y="268"/>
                      <a:pt x="256" y="261"/>
                      <a:pt x="258" y="252"/>
                    </a:cubicBezTo>
                    <a:cubicBezTo>
                      <a:pt x="262" y="229"/>
                      <a:pt x="266" y="210"/>
                      <a:pt x="268" y="195"/>
                    </a:cubicBezTo>
                    <a:cubicBezTo>
                      <a:pt x="269" y="194"/>
                      <a:pt x="269" y="193"/>
                      <a:pt x="269" y="191"/>
                    </a:cubicBezTo>
                    <a:cubicBezTo>
                      <a:pt x="281" y="127"/>
                      <a:pt x="281" y="127"/>
                      <a:pt x="281" y="127"/>
                    </a:cubicBezTo>
                    <a:cubicBezTo>
                      <a:pt x="281" y="126"/>
                      <a:pt x="281" y="125"/>
                      <a:pt x="281" y="123"/>
                    </a:cubicBezTo>
                    <a:cubicBezTo>
                      <a:pt x="280" y="122"/>
                      <a:pt x="280" y="121"/>
                      <a:pt x="279" y="120"/>
                    </a:cubicBezTo>
                    <a:cubicBezTo>
                      <a:pt x="278" y="120"/>
                      <a:pt x="278" y="119"/>
                      <a:pt x="277" y="119"/>
                    </a:cubicBezTo>
                    <a:cubicBezTo>
                      <a:pt x="276" y="118"/>
                      <a:pt x="275" y="118"/>
                      <a:pt x="274" y="118"/>
                    </a:cubicBezTo>
                    <a:cubicBezTo>
                      <a:pt x="270" y="117"/>
                      <a:pt x="266" y="120"/>
                      <a:pt x="265" y="124"/>
                    </a:cubicBezTo>
                    <a:cubicBezTo>
                      <a:pt x="265" y="124"/>
                      <a:pt x="265" y="124"/>
                      <a:pt x="265" y="124"/>
                    </a:cubicBezTo>
                    <a:cubicBezTo>
                      <a:pt x="265" y="125"/>
                      <a:pt x="259" y="159"/>
                      <a:pt x="253" y="191"/>
                    </a:cubicBezTo>
                    <a:cubicBezTo>
                      <a:pt x="251" y="195"/>
                      <a:pt x="246" y="199"/>
                      <a:pt x="241" y="199"/>
                    </a:cubicBezTo>
                    <a:cubicBezTo>
                      <a:pt x="48" y="199"/>
                      <a:pt x="48" y="199"/>
                      <a:pt x="48" y="199"/>
                    </a:cubicBezTo>
                    <a:cubicBezTo>
                      <a:pt x="42" y="199"/>
                      <a:pt x="37" y="194"/>
                      <a:pt x="36" y="189"/>
                    </a:cubicBezTo>
                    <a:cubicBezTo>
                      <a:pt x="17" y="73"/>
                      <a:pt x="17" y="73"/>
                      <a:pt x="17" y="73"/>
                    </a:cubicBezTo>
                    <a:cubicBezTo>
                      <a:pt x="17" y="70"/>
                      <a:pt x="17" y="66"/>
                      <a:pt x="19" y="64"/>
                    </a:cubicBezTo>
                    <a:cubicBezTo>
                      <a:pt x="21" y="62"/>
                      <a:pt x="25" y="60"/>
                      <a:pt x="28" y="60"/>
                    </a:cubicBezTo>
                    <a:cubicBezTo>
                      <a:pt x="264" y="60"/>
                      <a:pt x="264" y="60"/>
                      <a:pt x="264" y="60"/>
                    </a:cubicBezTo>
                    <a:cubicBezTo>
                      <a:pt x="268" y="60"/>
                      <a:pt x="271" y="62"/>
                      <a:pt x="273" y="64"/>
                    </a:cubicBezTo>
                    <a:cubicBezTo>
                      <a:pt x="275" y="66"/>
                      <a:pt x="275" y="69"/>
                      <a:pt x="275" y="72"/>
                    </a:cubicBezTo>
                    <a:cubicBezTo>
                      <a:pt x="271" y="93"/>
                      <a:pt x="271" y="93"/>
                      <a:pt x="271" y="93"/>
                    </a:cubicBezTo>
                    <a:cubicBezTo>
                      <a:pt x="271" y="93"/>
                      <a:pt x="271" y="93"/>
                      <a:pt x="271" y="93"/>
                    </a:cubicBezTo>
                    <a:cubicBezTo>
                      <a:pt x="270" y="97"/>
                      <a:pt x="273" y="102"/>
                      <a:pt x="277" y="102"/>
                    </a:cubicBezTo>
                    <a:cubicBezTo>
                      <a:pt x="282" y="103"/>
                      <a:pt x="286" y="100"/>
                      <a:pt x="287" y="96"/>
                    </a:cubicBezTo>
                    <a:cubicBezTo>
                      <a:pt x="290" y="76"/>
                      <a:pt x="290" y="76"/>
                      <a:pt x="290" y="76"/>
                    </a:cubicBezTo>
                    <a:cubicBezTo>
                      <a:pt x="291" y="76"/>
                      <a:pt x="291" y="75"/>
                      <a:pt x="291" y="75"/>
                    </a:cubicBezTo>
                    <a:cubicBezTo>
                      <a:pt x="300" y="26"/>
                      <a:pt x="300" y="26"/>
                      <a:pt x="300" y="26"/>
                    </a:cubicBezTo>
                    <a:cubicBezTo>
                      <a:pt x="301" y="20"/>
                      <a:pt x="307" y="16"/>
                      <a:pt x="312" y="16"/>
                    </a:cubicBezTo>
                    <a:cubicBezTo>
                      <a:pt x="337" y="16"/>
                      <a:pt x="337" y="16"/>
                      <a:pt x="337" y="16"/>
                    </a:cubicBezTo>
                    <a:cubicBezTo>
                      <a:pt x="341" y="16"/>
                      <a:pt x="343" y="19"/>
                      <a:pt x="343" y="22"/>
                    </a:cubicBezTo>
                    <a:cubicBezTo>
                      <a:pt x="343" y="27"/>
                      <a:pt x="338" y="27"/>
                      <a:pt x="337" y="27"/>
                    </a:cubicBezTo>
                    <a:cubicBezTo>
                      <a:pt x="322" y="27"/>
                      <a:pt x="322" y="27"/>
                      <a:pt x="322" y="27"/>
                    </a:cubicBezTo>
                    <a:cubicBezTo>
                      <a:pt x="318" y="27"/>
                      <a:pt x="314" y="31"/>
                      <a:pt x="314" y="35"/>
                    </a:cubicBezTo>
                    <a:cubicBezTo>
                      <a:pt x="314" y="40"/>
                      <a:pt x="318" y="43"/>
                      <a:pt x="322" y="43"/>
                    </a:cubicBezTo>
                    <a:cubicBezTo>
                      <a:pt x="337" y="43"/>
                      <a:pt x="337" y="43"/>
                      <a:pt x="337" y="43"/>
                    </a:cubicBezTo>
                    <a:cubicBezTo>
                      <a:pt x="350" y="43"/>
                      <a:pt x="359" y="35"/>
                      <a:pt x="359" y="22"/>
                    </a:cubicBezTo>
                    <a:cubicBezTo>
                      <a:pt x="359" y="10"/>
                      <a:pt x="349" y="0"/>
                      <a:pt x="337" y="0"/>
                    </a:cubicBezTo>
                    <a:close/>
                    <a:moveTo>
                      <a:pt x="61" y="274"/>
                    </a:moveTo>
                    <a:cubicBezTo>
                      <a:pt x="54" y="274"/>
                      <a:pt x="48" y="268"/>
                      <a:pt x="48" y="260"/>
                    </a:cubicBezTo>
                    <a:cubicBezTo>
                      <a:pt x="48" y="253"/>
                      <a:pt x="54" y="247"/>
                      <a:pt x="61" y="247"/>
                    </a:cubicBezTo>
                    <a:cubicBezTo>
                      <a:pt x="69" y="247"/>
                      <a:pt x="75" y="253"/>
                      <a:pt x="75" y="260"/>
                    </a:cubicBezTo>
                    <a:cubicBezTo>
                      <a:pt x="75" y="268"/>
                      <a:pt x="69" y="274"/>
                      <a:pt x="61" y="274"/>
                    </a:cubicBezTo>
                    <a:close/>
                    <a:moveTo>
                      <a:pt x="206" y="274"/>
                    </a:moveTo>
                    <a:cubicBezTo>
                      <a:pt x="199" y="274"/>
                      <a:pt x="193" y="268"/>
                      <a:pt x="193" y="260"/>
                    </a:cubicBezTo>
                    <a:cubicBezTo>
                      <a:pt x="193" y="253"/>
                      <a:pt x="199" y="247"/>
                      <a:pt x="206" y="247"/>
                    </a:cubicBezTo>
                    <a:cubicBezTo>
                      <a:pt x="214" y="247"/>
                      <a:pt x="219" y="253"/>
                      <a:pt x="219" y="260"/>
                    </a:cubicBezTo>
                    <a:cubicBezTo>
                      <a:pt x="219" y="268"/>
                      <a:pt x="214" y="274"/>
                      <a:pt x="206" y="2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15" name="Freeform 7"/>
              <p:cNvSpPr>
                <a:spLocks noChangeAspect="1" noEditPoints="1"/>
              </p:cNvSpPr>
              <p:nvPr/>
            </p:nvSpPr>
            <p:spPr bwMode="auto">
              <a:xfrm>
                <a:off x="6168338" y="2938190"/>
                <a:ext cx="127347" cy="103480"/>
              </a:xfrm>
              <a:custGeom>
                <a:avLst/>
                <a:gdLst>
                  <a:gd name="T0" fmla="*/ 2147483647 w 322"/>
                  <a:gd name="T1" fmla="*/ 2147483647 h 267"/>
                  <a:gd name="T2" fmla="*/ 2147483647 w 322"/>
                  <a:gd name="T3" fmla="*/ 2147483647 h 267"/>
                  <a:gd name="T4" fmla="*/ 2147483647 w 322"/>
                  <a:gd name="T5" fmla="*/ 2147483647 h 267"/>
                  <a:gd name="T6" fmla="*/ 2147483647 w 322"/>
                  <a:gd name="T7" fmla="*/ 2147483647 h 267"/>
                  <a:gd name="T8" fmla="*/ 2147483647 w 322"/>
                  <a:gd name="T9" fmla="*/ 2147483647 h 267"/>
                  <a:gd name="T10" fmla="*/ 2147483647 w 322"/>
                  <a:gd name="T11" fmla="*/ 2147483647 h 267"/>
                  <a:gd name="T12" fmla="*/ 2147483647 w 322"/>
                  <a:gd name="T13" fmla="*/ 2147483647 h 267"/>
                  <a:gd name="T14" fmla="*/ 2147483647 w 322"/>
                  <a:gd name="T15" fmla="*/ 2147483647 h 267"/>
                  <a:gd name="T16" fmla="*/ 2147483647 w 322"/>
                  <a:gd name="T17" fmla="*/ 2147483647 h 267"/>
                  <a:gd name="T18" fmla="*/ 2147483647 w 322"/>
                  <a:gd name="T19" fmla="*/ 2147483647 h 267"/>
                  <a:gd name="T20" fmla="*/ 2147483647 w 322"/>
                  <a:gd name="T21" fmla="*/ 2147483647 h 267"/>
                  <a:gd name="T22" fmla="*/ 2147483647 w 322"/>
                  <a:gd name="T23" fmla="*/ 2147483647 h 267"/>
                  <a:gd name="T24" fmla="*/ 2147483647 w 322"/>
                  <a:gd name="T25" fmla="*/ 2147483647 h 267"/>
                  <a:gd name="T26" fmla="*/ 2147483647 w 322"/>
                  <a:gd name="T27" fmla="*/ 2147483647 h 267"/>
                  <a:gd name="T28" fmla="*/ 2147483647 w 322"/>
                  <a:gd name="T29" fmla="*/ 2147483647 h 267"/>
                  <a:gd name="T30" fmla="*/ 0 w 322"/>
                  <a:gd name="T31" fmla="*/ 2147483647 h 267"/>
                  <a:gd name="T32" fmla="*/ 2147483647 w 322"/>
                  <a:gd name="T33" fmla="*/ 2147483647 h 267"/>
                  <a:gd name="T34" fmla="*/ 2147483647 w 322"/>
                  <a:gd name="T35" fmla="*/ 2147483647 h 267"/>
                  <a:gd name="T36" fmla="*/ 2147483647 w 322"/>
                  <a:gd name="T37" fmla="*/ 2147483647 h 267"/>
                  <a:gd name="T38" fmla="*/ 2147483647 w 322"/>
                  <a:gd name="T39" fmla="*/ 2147483647 h 267"/>
                  <a:gd name="T40" fmla="*/ 2147483647 w 322"/>
                  <a:gd name="T41" fmla="*/ 2147483647 h 267"/>
                  <a:gd name="T42" fmla="*/ 2147483647 w 322"/>
                  <a:gd name="T43" fmla="*/ 2147483647 h 267"/>
                  <a:gd name="T44" fmla="*/ 2147483647 w 322"/>
                  <a:gd name="T45" fmla="*/ 2147483647 h 267"/>
                  <a:gd name="T46" fmla="*/ 2147483647 w 322"/>
                  <a:gd name="T47" fmla="*/ 2147483647 h 267"/>
                  <a:gd name="T48" fmla="*/ 2147483647 w 322"/>
                  <a:gd name="T49" fmla="*/ 2147483647 h 267"/>
                  <a:gd name="T50" fmla="*/ 2147483647 w 322"/>
                  <a:gd name="T51" fmla="*/ 2147483647 h 267"/>
                  <a:gd name="T52" fmla="*/ 2147483647 w 322"/>
                  <a:gd name="T53" fmla="*/ 2147483647 h 267"/>
                  <a:gd name="T54" fmla="*/ 2147483647 w 322"/>
                  <a:gd name="T55" fmla="*/ 2147483647 h 267"/>
                  <a:gd name="T56" fmla="*/ 2147483647 w 322"/>
                  <a:gd name="T57" fmla="*/ 2147483647 h 267"/>
                  <a:gd name="T58" fmla="*/ 2147483647 w 322"/>
                  <a:gd name="T59" fmla="*/ 2147483647 h 267"/>
                  <a:gd name="T60" fmla="*/ 2147483647 w 322"/>
                  <a:gd name="T61" fmla="*/ 2147483647 h 267"/>
                  <a:gd name="T62" fmla="*/ 2147483647 w 322"/>
                  <a:gd name="T63" fmla="*/ 2147483647 h 267"/>
                  <a:gd name="T64" fmla="*/ 2147483647 w 322"/>
                  <a:gd name="T65" fmla="*/ 2147483647 h 267"/>
                  <a:gd name="T66" fmla="*/ 2147483647 w 322"/>
                  <a:gd name="T67" fmla="*/ 2147483647 h 267"/>
                  <a:gd name="T68" fmla="*/ 2147483647 w 322"/>
                  <a:gd name="T69" fmla="*/ 2147483647 h 267"/>
                  <a:gd name="T70" fmla="*/ 2147483647 w 322"/>
                  <a:gd name="T71" fmla="*/ 2147483647 h 267"/>
                  <a:gd name="T72" fmla="*/ 2147483647 w 322"/>
                  <a:gd name="T73" fmla="*/ 2147483647 h 267"/>
                  <a:gd name="T74" fmla="*/ 2147483647 w 322"/>
                  <a:gd name="T75" fmla="*/ 2147483647 h 267"/>
                  <a:gd name="T76" fmla="*/ 2147483647 w 322"/>
                  <a:gd name="T77" fmla="*/ 2147483647 h 267"/>
                  <a:gd name="T78" fmla="*/ 2147483647 w 322"/>
                  <a:gd name="T79" fmla="*/ 2147483647 h 267"/>
                  <a:gd name="T80" fmla="*/ 2147483647 w 322"/>
                  <a:gd name="T81" fmla="*/ 2147483647 h 267"/>
                  <a:gd name="T82" fmla="*/ 2147483647 w 322"/>
                  <a:gd name="T83" fmla="*/ 2147483647 h 267"/>
                  <a:gd name="T84" fmla="*/ 2147483647 w 322"/>
                  <a:gd name="T85" fmla="*/ 2147483647 h 267"/>
                  <a:gd name="T86" fmla="*/ 2147483647 w 322"/>
                  <a:gd name="T87" fmla="*/ 2147483647 h 267"/>
                  <a:gd name="T88" fmla="*/ 2147483647 w 322"/>
                  <a:gd name="T89" fmla="*/ 2147483647 h 267"/>
                  <a:gd name="T90" fmla="*/ 2147483647 w 322"/>
                  <a:gd name="T91" fmla="*/ 2147483647 h 267"/>
                  <a:gd name="T92" fmla="*/ 2147483647 w 322"/>
                  <a:gd name="T93" fmla="*/ 2147483647 h 267"/>
                  <a:gd name="T94" fmla="*/ 2147483647 w 322"/>
                  <a:gd name="T95" fmla="*/ 2147483647 h 26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22" h="267">
                    <a:moveTo>
                      <a:pt x="140" y="181"/>
                    </a:moveTo>
                    <a:cubicBezTo>
                      <a:pt x="140" y="224"/>
                      <a:pt x="140" y="224"/>
                      <a:pt x="140" y="224"/>
                    </a:cubicBezTo>
                    <a:cubicBezTo>
                      <a:pt x="140" y="228"/>
                      <a:pt x="144" y="232"/>
                      <a:pt x="148" y="232"/>
                    </a:cubicBezTo>
                    <a:cubicBezTo>
                      <a:pt x="153" y="232"/>
                      <a:pt x="156" y="228"/>
                      <a:pt x="156" y="224"/>
                    </a:cubicBezTo>
                    <a:cubicBezTo>
                      <a:pt x="156" y="181"/>
                      <a:pt x="156" y="181"/>
                      <a:pt x="156" y="181"/>
                    </a:cubicBezTo>
                    <a:cubicBezTo>
                      <a:pt x="156" y="176"/>
                      <a:pt x="153" y="173"/>
                      <a:pt x="148" y="173"/>
                    </a:cubicBezTo>
                    <a:cubicBezTo>
                      <a:pt x="144" y="173"/>
                      <a:pt x="140" y="176"/>
                      <a:pt x="140" y="181"/>
                    </a:cubicBezTo>
                    <a:close/>
                    <a:moveTo>
                      <a:pt x="182" y="173"/>
                    </a:moveTo>
                    <a:cubicBezTo>
                      <a:pt x="178" y="173"/>
                      <a:pt x="174" y="176"/>
                      <a:pt x="174" y="181"/>
                    </a:cubicBezTo>
                    <a:cubicBezTo>
                      <a:pt x="174" y="223"/>
                      <a:pt x="174" y="223"/>
                      <a:pt x="174" y="223"/>
                    </a:cubicBezTo>
                    <a:cubicBezTo>
                      <a:pt x="174" y="227"/>
                      <a:pt x="178" y="231"/>
                      <a:pt x="182" y="231"/>
                    </a:cubicBezTo>
                    <a:cubicBezTo>
                      <a:pt x="212" y="231"/>
                      <a:pt x="212" y="231"/>
                      <a:pt x="212" y="231"/>
                    </a:cubicBezTo>
                    <a:cubicBezTo>
                      <a:pt x="217" y="231"/>
                      <a:pt x="220" y="227"/>
                      <a:pt x="220" y="223"/>
                    </a:cubicBezTo>
                    <a:cubicBezTo>
                      <a:pt x="220" y="181"/>
                      <a:pt x="220" y="181"/>
                      <a:pt x="220" y="181"/>
                    </a:cubicBezTo>
                    <a:cubicBezTo>
                      <a:pt x="220" y="176"/>
                      <a:pt x="217" y="173"/>
                      <a:pt x="212" y="173"/>
                    </a:cubicBezTo>
                    <a:lnTo>
                      <a:pt x="182" y="173"/>
                    </a:lnTo>
                    <a:close/>
                    <a:moveTo>
                      <a:pt x="247" y="173"/>
                    </a:moveTo>
                    <a:cubicBezTo>
                      <a:pt x="242" y="173"/>
                      <a:pt x="239" y="176"/>
                      <a:pt x="239" y="181"/>
                    </a:cubicBezTo>
                    <a:cubicBezTo>
                      <a:pt x="239" y="223"/>
                      <a:pt x="239" y="223"/>
                      <a:pt x="239" y="223"/>
                    </a:cubicBezTo>
                    <a:cubicBezTo>
                      <a:pt x="239" y="227"/>
                      <a:pt x="242" y="231"/>
                      <a:pt x="247" y="231"/>
                    </a:cubicBezTo>
                    <a:cubicBezTo>
                      <a:pt x="277" y="231"/>
                      <a:pt x="277" y="231"/>
                      <a:pt x="277" y="231"/>
                    </a:cubicBezTo>
                    <a:cubicBezTo>
                      <a:pt x="281" y="231"/>
                      <a:pt x="285" y="227"/>
                      <a:pt x="285" y="223"/>
                    </a:cubicBezTo>
                    <a:cubicBezTo>
                      <a:pt x="285" y="181"/>
                      <a:pt x="285" y="181"/>
                      <a:pt x="285" y="181"/>
                    </a:cubicBezTo>
                    <a:cubicBezTo>
                      <a:pt x="285" y="176"/>
                      <a:pt x="281" y="173"/>
                      <a:pt x="277" y="173"/>
                    </a:cubicBezTo>
                    <a:lnTo>
                      <a:pt x="247" y="173"/>
                    </a:lnTo>
                    <a:close/>
                    <a:moveTo>
                      <a:pt x="314" y="173"/>
                    </a:moveTo>
                    <a:cubicBezTo>
                      <a:pt x="318" y="173"/>
                      <a:pt x="322" y="169"/>
                      <a:pt x="322" y="165"/>
                    </a:cubicBezTo>
                    <a:cubicBezTo>
                      <a:pt x="322" y="150"/>
                      <a:pt x="322" y="150"/>
                      <a:pt x="322" y="150"/>
                    </a:cubicBezTo>
                    <a:cubicBezTo>
                      <a:pt x="322" y="142"/>
                      <a:pt x="315" y="135"/>
                      <a:pt x="307" y="135"/>
                    </a:cubicBezTo>
                    <a:cubicBezTo>
                      <a:pt x="15" y="135"/>
                      <a:pt x="15" y="135"/>
                      <a:pt x="15" y="135"/>
                    </a:cubicBezTo>
                    <a:cubicBezTo>
                      <a:pt x="7" y="135"/>
                      <a:pt x="0" y="142"/>
                      <a:pt x="0" y="150"/>
                    </a:cubicBezTo>
                    <a:cubicBezTo>
                      <a:pt x="0" y="252"/>
                      <a:pt x="0" y="252"/>
                      <a:pt x="0" y="252"/>
                    </a:cubicBezTo>
                    <a:cubicBezTo>
                      <a:pt x="0" y="261"/>
                      <a:pt x="7" y="267"/>
                      <a:pt x="15" y="267"/>
                    </a:cubicBezTo>
                    <a:cubicBezTo>
                      <a:pt x="307" y="267"/>
                      <a:pt x="307" y="267"/>
                      <a:pt x="307" y="267"/>
                    </a:cubicBezTo>
                    <a:cubicBezTo>
                      <a:pt x="315" y="267"/>
                      <a:pt x="322" y="261"/>
                      <a:pt x="322" y="252"/>
                    </a:cubicBezTo>
                    <a:cubicBezTo>
                      <a:pt x="322" y="196"/>
                      <a:pt x="322" y="196"/>
                      <a:pt x="322" y="196"/>
                    </a:cubicBezTo>
                    <a:cubicBezTo>
                      <a:pt x="322" y="192"/>
                      <a:pt x="318" y="188"/>
                      <a:pt x="314" y="188"/>
                    </a:cubicBezTo>
                    <a:cubicBezTo>
                      <a:pt x="310" y="188"/>
                      <a:pt x="306" y="192"/>
                      <a:pt x="306" y="196"/>
                    </a:cubicBezTo>
                    <a:cubicBezTo>
                      <a:pt x="306" y="251"/>
                      <a:pt x="306" y="251"/>
                      <a:pt x="306" y="251"/>
                    </a:cubicBezTo>
                    <a:cubicBezTo>
                      <a:pt x="16" y="251"/>
                      <a:pt x="16" y="251"/>
                      <a:pt x="16" y="251"/>
                    </a:cubicBezTo>
                    <a:cubicBezTo>
                      <a:pt x="16" y="151"/>
                      <a:pt x="16" y="151"/>
                      <a:pt x="16" y="151"/>
                    </a:cubicBezTo>
                    <a:cubicBezTo>
                      <a:pt x="306" y="151"/>
                      <a:pt x="306" y="151"/>
                      <a:pt x="306" y="151"/>
                    </a:cubicBezTo>
                    <a:cubicBezTo>
                      <a:pt x="306" y="165"/>
                      <a:pt x="306" y="165"/>
                      <a:pt x="306" y="165"/>
                    </a:cubicBezTo>
                    <a:cubicBezTo>
                      <a:pt x="306" y="169"/>
                      <a:pt x="310" y="173"/>
                      <a:pt x="314" y="173"/>
                    </a:cubicBezTo>
                    <a:close/>
                    <a:moveTo>
                      <a:pt x="37" y="181"/>
                    </a:moveTo>
                    <a:cubicBezTo>
                      <a:pt x="37" y="224"/>
                      <a:pt x="37" y="224"/>
                      <a:pt x="37" y="224"/>
                    </a:cubicBezTo>
                    <a:cubicBezTo>
                      <a:pt x="37" y="228"/>
                      <a:pt x="41" y="232"/>
                      <a:pt x="45" y="232"/>
                    </a:cubicBezTo>
                    <a:cubicBezTo>
                      <a:pt x="50" y="232"/>
                      <a:pt x="53" y="228"/>
                      <a:pt x="53" y="224"/>
                    </a:cubicBezTo>
                    <a:cubicBezTo>
                      <a:pt x="53" y="181"/>
                      <a:pt x="53" y="181"/>
                      <a:pt x="53" y="181"/>
                    </a:cubicBezTo>
                    <a:cubicBezTo>
                      <a:pt x="53" y="176"/>
                      <a:pt x="50" y="173"/>
                      <a:pt x="45" y="173"/>
                    </a:cubicBezTo>
                    <a:cubicBezTo>
                      <a:pt x="41" y="173"/>
                      <a:pt x="37" y="176"/>
                      <a:pt x="37" y="181"/>
                    </a:cubicBezTo>
                    <a:close/>
                    <a:moveTo>
                      <a:pt x="106" y="181"/>
                    </a:moveTo>
                    <a:cubicBezTo>
                      <a:pt x="106" y="224"/>
                      <a:pt x="106" y="224"/>
                      <a:pt x="106" y="224"/>
                    </a:cubicBezTo>
                    <a:cubicBezTo>
                      <a:pt x="106" y="228"/>
                      <a:pt x="109" y="232"/>
                      <a:pt x="114" y="232"/>
                    </a:cubicBezTo>
                    <a:cubicBezTo>
                      <a:pt x="118" y="232"/>
                      <a:pt x="122" y="228"/>
                      <a:pt x="122" y="224"/>
                    </a:cubicBezTo>
                    <a:cubicBezTo>
                      <a:pt x="122" y="181"/>
                      <a:pt x="122" y="181"/>
                      <a:pt x="122" y="181"/>
                    </a:cubicBezTo>
                    <a:cubicBezTo>
                      <a:pt x="122" y="176"/>
                      <a:pt x="118" y="173"/>
                      <a:pt x="114" y="173"/>
                    </a:cubicBezTo>
                    <a:cubicBezTo>
                      <a:pt x="109" y="173"/>
                      <a:pt x="106" y="176"/>
                      <a:pt x="106" y="181"/>
                    </a:cubicBezTo>
                    <a:close/>
                    <a:moveTo>
                      <a:pt x="71" y="181"/>
                    </a:moveTo>
                    <a:cubicBezTo>
                      <a:pt x="71" y="224"/>
                      <a:pt x="71" y="224"/>
                      <a:pt x="71" y="224"/>
                    </a:cubicBezTo>
                    <a:cubicBezTo>
                      <a:pt x="71" y="228"/>
                      <a:pt x="75" y="232"/>
                      <a:pt x="79" y="232"/>
                    </a:cubicBezTo>
                    <a:cubicBezTo>
                      <a:pt x="84" y="232"/>
                      <a:pt x="87" y="228"/>
                      <a:pt x="87" y="224"/>
                    </a:cubicBezTo>
                    <a:cubicBezTo>
                      <a:pt x="87" y="181"/>
                      <a:pt x="87" y="181"/>
                      <a:pt x="87" y="181"/>
                    </a:cubicBezTo>
                    <a:cubicBezTo>
                      <a:pt x="87" y="176"/>
                      <a:pt x="84" y="173"/>
                      <a:pt x="79" y="173"/>
                    </a:cubicBezTo>
                    <a:cubicBezTo>
                      <a:pt x="75" y="173"/>
                      <a:pt x="71" y="176"/>
                      <a:pt x="71" y="181"/>
                    </a:cubicBezTo>
                    <a:close/>
                    <a:moveTo>
                      <a:pt x="76" y="51"/>
                    </a:moveTo>
                    <a:cubicBezTo>
                      <a:pt x="76" y="51"/>
                      <a:pt x="76" y="51"/>
                      <a:pt x="76" y="51"/>
                    </a:cubicBezTo>
                    <a:cubicBezTo>
                      <a:pt x="100" y="28"/>
                      <a:pt x="130" y="16"/>
                      <a:pt x="161" y="16"/>
                    </a:cubicBezTo>
                    <a:cubicBezTo>
                      <a:pt x="192" y="16"/>
                      <a:pt x="223" y="28"/>
                      <a:pt x="246" y="51"/>
                    </a:cubicBezTo>
                    <a:cubicBezTo>
                      <a:pt x="250" y="55"/>
                      <a:pt x="255" y="55"/>
                      <a:pt x="258" y="51"/>
                    </a:cubicBezTo>
                    <a:cubicBezTo>
                      <a:pt x="259" y="50"/>
                      <a:pt x="260" y="48"/>
                      <a:pt x="260" y="46"/>
                    </a:cubicBezTo>
                    <a:cubicBezTo>
                      <a:pt x="260" y="44"/>
                      <a:pt x="259" y="42"/>
                      <a:pt x="258" y="40"/>
                    </a:cubicBezTo>
                    <a:cubicBezTo>
                      <a:pt x="231" y="13"/>
                      <a:pt x="196" y="0"/>
                      <a:pt x="161" y="0"/>
                    </a:cubicBezTo>
                    <a:cubicBezTo>
                      <a:pt x="126" y="0"/>
                      <a:pt x="91" y="13"/>
                      <a:pt x="65" y="40"/>
                    </a:cubicBezTo>
                    <a:cubicBezTo>
                      <a:pt x="62" y="43"/>
                      <a:pt x="62" y="48"/>
                      <a:pt x="65" y="51"/>
                    </a:cubicBezTo>
                    <a:cubicBezTo>
                      <a:pt x="68" y="55"/>
                      <a:pt x="73" y="55"/>
                      <a:pt x="76" y="51"/>
                    </a:cubicBezTo>
                    <a:close/>
                    <a:moveTo>
                      <a:pt x="119" y="95"/>
                    </a:moveTo>
                    <a:cubicBezTo>
                      <a:pt x="116" y="98"/>
                      <a:pt x="116" y="103"/>
                      <a:pt x="119" y="106"/>
                    </a:cubicBezTo>
                    <a:cubicBezTo>
                      <a:pt x="122" y="109"/>
                      <a:pt x="127" y="109"/>
                      <a:pt x="130" y="106"/>
                    </a:cubicBezTo>
                    <a:cubicBezTo>
                      <a:pt x="139" y="97"/>
                      <a:pt x="150" y="93"/>
                      <a:pt x="161" y="93"/>
                    </a:cubicBezTo>
                    <a:cubicBezTo>
                      <a:pt x="172" y="93"/>
                      <a:pt x="183" y="97"/>
                      <a:pt x="192" y="106"/>
                    </a:cubicBezTo>
                    <a:cubicBezTo>
                      <a:pt x="195" y="109"/>
                      <a:pt x="200" y="109"/>
                      <a:pt x="203" y="106"/>
                    </a:cubicBezTo>
                    <a:cubicBezTo>
                      <a:pt x="205" y="104"/>
                      <a:pt x="206" y="102"/>
                      <a:pt x="206" y="100"/>
                    </a:cubicBezTo>
                    <a:cubicBezTo>
                      <a:pt x="206" y="98"/>
                      <a:pt x="205" y="96"/>
                      <a:pt x="203" y="95"/>
                    </a:cubicBezTo>
                    <a:cubicBezTo>
                      <a:pt x="192" y="83"/>
                      <a:pt x="176" y="77"/>
                      <a:pt x="161" y="77"/>
                    </a:cubicBezTo>
                    <a:cubicBezTo>
                      <a:pt x="146" y="77"/>
                      <a:pt x="131" y="83"/>
                      <a:pt x="119" y="95"/>
                    </a:cubicBezTo>
                    <a:close/>
                    <a:moveTo>
                      <a:pt x="231" y="79"/>
                    </a:moveTo>
                    <a:cubicBezTo>
                      <a:pt x="232" y="77"/>
                      <a:pt x="233" y="75"/>
                      <a:pt x="233" y="73"/>
                    </a:cubicBezTo>
                    <a:cubicBezTo>
                      <a:pt x="233" y="71"/>
                      <a:pt x="232" y="69"/>
                      <a:pt x="231" y="67"/>
                    </a:cubicBezTo>
                    <a:cubicBezTo>
                      <a:pt x="211" y="48"/>
                      <a:pt x="186" y="39"/>
                      <a:pt x="161" y="39"/>
                    </a:cubicBezTo>
                    <a:cubicBezTo>
                      <a:pt x="136" y="39"/>
                      <a:pt x="111" y="48"/>
                      <a:pt x="92" y="67"/>
                    </a:cubicBezTo>
                    <a:cubicBezTo>
                      <a:pt x="89" y="71"/>
                      <a:pt x="89" y="76"/>
                      <a:pt x="92" y="79"/>
                    </a:cubicBezTo>
                    <a:cubicBezTo>
                      <a:pt x="95" y="82"/>
                      <a:pt x="100" y="82"/>
                      <a:pt x="103" y="79"/>
                    </a:cubicBezTo>
                    <a:cubicBezTo>
                      <a:pt x="119" y="63"/>
                      <a:pt x="140" y="55"/>
                      <a:pt x="161" y="55"/>
                    </a:cubicBezTo>
                    <a:cubicBezTo>
                      <a:pt x="182" y="55"/>
                      <a:pt x="203" y="63"/>
                      <a:pt x="219" y="79"/>
                    </a:cubicBezTo>
                    <a:cubicBezTo>
                      <a:pt x="222" y="82"/>
                      <a:pt x="227" y="82"/>
                      <a:pt x="231"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16" name="Freeform 3"/>
              <p:cNvSpPr>
                <a:spLocks noChangeAspect="1" noEditPoints="1"/>
              </p:cNvSpPr>
              <p:nvPr/>
            </p:nvSpPr>
            <p:spPr bwMode="auto">
              <a:xfrm>
                <a:off x="6628254" y="3094305"/>
                <a:ext cx="134217" cy="111023"/>
              </a:xfrm>
              <a:custGeom>
                <a:avLst/>
                <a:gdLst>
                  <a:gd name="T0" fmla="*/ 2147483647 w 339"/>
                  <a:gd name="T1" fmla="*/ 2147483647 h 287"/>
                  <a:gd name="T2" fmla="*/ 2147483647 w 339"/>
                  <a:gd name="T3" fmla="*/ 2147483647 h 287"/>
                  <a:gd name="T4" fmla="*/ 2147483647 w 339"/>
                  <a:gd name="T5" fmla="*/ 2147483647 h 287"/>
                  <a:gd name="T6" fmla="*/ 2147483647 w 339"/>
                  <a:gd name="T7" fmla="*/ 2147483647 h 287"/>
                  <a:gd name="T8" fmla="*/ 2147483647 w 339"/>
                  <a:gd name="T9" fmla="*/ 2147483647 h 287"/>
                  <a:gd name="T10" fmla="*/ 2147483647 w 339"/>
                  <a:gd name="T11" fmla="*/ 2147483647 h 287"/>
                  <a:gd name="T12" fmla="*/ 2147483647 w 339"/>
                  <a:gd name="T13" fmla="*/ 2147483647 h 287"/>
                  <a:gd name="T14" fmla="*/ 2147483647 w 339"/>
                  <a:gd name="T15" fmla="*/ 2147483647 h 287"/>
                  <a:gd name="T16" fmla="*/ 2147483647 w 339"/>
                  <a:gd name="T17" fmla="*/ 2147483647 h 287"/>
                  <a:gd name="T18" fmla="*/ 2147483647 w 339"/>
                  <a:gd name="T19" fmla="*/ 2147483647 h 287"/>
                  <a:gd name="T20" fmla="*/ 2147483647 w 339"/>
                  <a:gd name="T21" fmla="*/ 2147483647 h 287"/>
                  <a:gd name="T22" fmla="*/ 2147483647 w 339"/>
                  <a:gd name="T23" fmla="*/ 2147483647 h 287"/>
                  <a:gd name="T24" fmla="*/ 2147483647 w 339"/>
                  <a:gd name="T25" fmla="*/ 2147483647 h 287"/>
                  <a:gd name="T26" fmla="*/ 2147483647 w 339"/>
                  <a:gd name="T27" fmla="*/ 2147483647 h 287"/>
                  <a:gd name="T28" fmla="*/ 2147483647 w 339"/>
                  <a:gd name="T29" fmla="*/ 2147483647 h 287"/>
                  <a:gd name="T30" fmla="*/ 2147483647 w 339"/>
                  <a:gd name="T31" fmla="*/ 2147483647 h 287"/>
                  <a:gd name="T32" fmla="*/ 2147483647 w 339"/>
                  <a:gd name="T33" fmla="*/ 2147483647 h 287"/>
                  <a:gd name="T34" fmla="*/ 2147483647 w 339"/>
                  <a:gd name="T35" fmla="*/ 2147483647 h 287"/>
                  <a:gd name="T36" fmla="*/ 2147483647 w 339"/>
                  <a:gd name="T37" fmla="*/ 2147483647 h 287"/>
                  <a:gd name="T38" fmla="*/ 2147483647 w 339"/>
                  <a:gd name="T39" fmla="*/ 2147483647 h 287"/>
                  <a:gd name="T40" fmla="*/ 2147483647 w 339"/>
                  <a:gd name="T41" fmla="*/ 2147483647 h 287"/>
                  <a:gd name="T42" fmla="*/ 2147483647 w 339"/>
                  <a:gd name="T43" fmla="*/ 2147483647 h 287"/>
                  <a:gd name="T44" fmla="*/ 2147483647 w 339"/>
                  <a:gd name="T45" fmla="*/ 2147483647 h 287"/>
                  <a:gd name="T46" fmla="*/ 2147483647 w 339"/>
                  <a:gd name="T47" fmla="*/ 2147483647 h 287"/>
                  <a:gd name="T48" fmla="*/ 2147483647 w 339"/>
                  <a:gd name="T49" fmla="*/ 2147483647 h 287"/>
                  <a:gd name="T50" fmla="*/ 2147483647 w 339"/>
                  <a:gd name="T51" fmla="*/ 2147483647 h 287"/>
                  <a:gd name="T52" fmla="*/ 2147483647 w 339"/>
                  <a:gd name="T53" fmla="*/ 2147483647 h 287"/>
                  <a:gd name="T54" fmla="*/ 2147483647 w 339"/>
                  <a:gd name="T55" fmla="*/ 2147483647 h 287"/>
                  <a:gd name="T56" fmla="*/ 2147483647 w 339"/>
                  <a:gd name="T57" fmla="*/ 0 h 287"/>
                  <a:gd name="T58" fmla="*/ 2147483647 w 339"/>
                  <a:gd name="T59" fmla="*/ 0 h 287"/>
                  <a:gd name="T60" fmla="*/ 2147483647 w 339"/>
                  <a:gd name="T61" fmla="*/ 2147483647 h 287"/>
                  <a:gd name="T62" fmla="*/ 2147483647 w 339"/>
                  <a:gd name="T63" fmla="*/ 2147483647 h 287"/>
                  <a:gd name="T64" fmla="*/ 2147483647 w 339"/>
                  <a:gd name="T65" fmla="*/ 2147483647 h 287"/>
                  <a:gd name="T66" fmla="*/ 2147483647 w 339"/>
                  <a:gd name="T67" fmla="*/ 2147483647 h 287"/>
                  <a:gd name="T68" fmla="*/ 0 w 339"/>
                  <a:gd name="T69" fmla="*/ 2147483647 h 287"/>
                  <a:gd name="T70" fmla="*/ 0 w 339"/>
                  <a:gd name="T71" fmla="*/ 2147483647 h 287"/>
                  <a:gd name="T72" fmla="*/ 2147483647 w 339"/>
                  <a:gd name="T73" fmla="*/ 2147483647 h 287"/>
                  <a:gd name="T74" fmla="*/ 2147483647 w 339"/>
                  <a:gd name="T75" fmla="*/ 2147483647 h 287"/>
                  <a:gd name="T76" fmla="*/ 2147483647 w 339"/>
                  <a:gd name="T77" fmla="*/ 2147483647 h 287"/>
                  <a:gd name="T78" fmla="*/ 2147483647 w 339"/>
                  <a:gd name="T79" fmla="*/ 2147483647 h 287"/>
                  <a:gd name="T80" fmla="*/ 2147483647 w 339"/>
                  <a:gd name="T81" fmla="*/ 2147483647 h 28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339" h="287">
                    <a:moveTo>
                      <a:pt x="84" y="162"/>
                    </a:moveTo>
                    <a:cubicBezTo>
                      <a:pt x="84" y="209"/>
                      <a:pt x="122" y="247"/>
                      <a:pt x="169" y="247"/>
                    </a:cubicBezTo>
                    <a:cubicBezTo>
                      <a:pt x="216" y="247"/>
                      <a:pt x="254" y="209"/>
                      <a:pt x="254" y="162"/>
                    </a:cubicBezTo>
                    <a:cubicBezTo>
                      <a:pt x="254" y="115"/>
                      <a:pt x="216" y="77"/>
                      <a:pt x="169" y="77"/>
                    </a:cubicBezTo>
                    <a:cubicBezTo>
                      <a:pt x="122" y="77"/>
                      <a:pt x="84" y="115"/>
                      <a:pt x="84" y="162"/>
                    </a:cubicBezTo>
                    <a:close/>
                    <a:moveTo>
                      <a:pt x="238" y="162"/>
                    </a:moveTo>
                    <a:cubicBezTo>
                      <a:pt x="238" y="200"/>
                      <a:pt x="207" y="231"/>
                      <a:pt x="169" y="231"/>
                    </a:cubicBezTo>
                    <a:cubicBezTo>
                      <a:pt x="131" y="231"/>
                      <a:pt x="100" y="200"/>
                      <a:pt x="100" y="162"/>
                    </a:cubicBezTo>
                    <a:cubicBezTo>
                      <a:pt x="100" y="124"/>
                      <a:pt x="131" y="93"/>
                      <a:pt x="169" y="93"/>
                    </a:cubicBezTo>
                    <a:cubicBezTo>
                      <a:pt x="207" y="93"/>
                      <a:pt x="238" y="124"/>
                      <a:pt x="238" y="162"/>
                    </a:cubicBezTo>
                    <a:close/>
                    <a:moveTo>
                      <a:pt x="331" y="118"/>
                    </a:moveTo>
                    <a:cubicBezTo>
                      <a:pt x="326" y="118"/>
                      <a:pt x="323" y="121"/>
                      <a:pt x="323" y="126"/>
                    </a:cubicBezTo>
                    <a:cubicBezTo>
                      <a:pt x="323" y="240"/>
                      <a:pt x="323" y="240"/>
                      <a:pt x="323" y="240"/>
                    </a:cubicBezTo>
                    <a:cubicBezTo>
                      <a:pt x="323" y="257"/>
                      <a:pt x="309" y="271"/>
                      <a:pt x="292" y="271"/>
                    </a:cubicBezTo>
                    <a:cubicBezTo>
                      <a:pt x="47" y="271"/>
                      <a:pt x="47" y="271"/>
                      <a:pt x="47" y="271"/>
                    </a:cubicBezTo>
                    <a:cubicBezTo>
                      <a:pt x="30" y="271"/>
                      <a:pt x="16" y="257"/>
                      <a:pt x="16" y="240"/>
                    </a:cubicBezTo>
                    <a:cubicBezTo>
                      <a:pt x="16" y="84"/>
                      <a:pt x="16" y="84"/>
                      <a:pt x="16" y="84"/>
                    </a:cubicBezTo>
                    <a:cubicBezTo>
                      <a:pt x="16" y="67"/>
                      <a:pt x="30" y="54"/>
                      <a:pt x="47" y="53"/>
                    </a:cubicBezTo>
                    <a:cubicBezTo>
                      <a:pt x="292" y="53"/>
                      <a:pt x="292" y="53"/>
                      <a:pt x="292" y="53"/>
                    </a:cubicBezTo>
                    <a:cubicBezTo>
                      <a:pt x="309" y="54"/>
                      <a:pt x="323" y="67"/>
                      <a:pt x="323" y="84"/>
                    </a:cubicBezTo>
                    <a:cubicBezTo>
                      <a:pt x="323" y="94"/>
                      <a:pt x="323" y="94"/>
                      <a:pt x="323" y="94"/>
                    </a:cubicBezTo>
                    <a:cubicBezTo>
                      <a:pt x="323" y="99"/>
                      <a:pt x="326" y="102"/>
                      <a:pt x="331" y="102"/>
                    </a:cubicBezTo>
                    <a:cubicBezTo>
                      <a:pt x="335" y="102"/>
                      <a:pt x="339" y="99"/>
                      <a:pt x="339" y="94"/>
                    </a:cubicBezTo>
                    <a:cubicBezTo>
                      <a:pt x="339" y="84"/>
                      <a:pt x="339" y="84"/>
                      <a:pt x="339" y="84"/>
                    </a:cubicBezTo>
                    <a:cubicBezTo>
                      <a:pt x="339" y="58"/>
                      <a:pt x="318" y="37"/>
                      <a:pt x="292" y="37"/>
                    </a:cubicBezTo>
                    <a:cubicBezTo>
                      <a:pt x="96" y="37"/>
                      <a:pt x="96" y="37"/>
                      <a:pt x="96" y="37"/>
                    </a:cubicBezTo>
                    <a:cubicBezTo>
                      <a:pt x="98" y="35"/>
                      <a:pt x="98" y="33"/>
                      <a:pt x="98" y="30"/>
                    </a:cubicBezTo>
                    <a:cubicBezTo>
                      <a:pt x="98" y="16"/>
                      <a:pt x="98" y="16"/>
                      <a:pt x="98" y="16"/>
                    </a:cubicBezTo>
                    <a:cubicBezTo>
                      <a:pt x="98" y="7"/>
                      <a:pt x="91" y="0"/>
                      <a:pt x="83" y="0"/>
                    </a:cubicBezTo>
                    <a:cubicBezTo>
                      <a:pt x="62" y="0"/>
                      <a:pt x="62" y="0"/>
                      <a:pt x="62" y="0"/>
                    </a:cubicBezTo>
                    <a:cubicBezTo>
                      <a:pt x="53" y="0"/>
                      <a:pt x="46" y="7"/>
                      <a:pt x="46" y="16"/>
                    </a:cubicBezTo>
                    <a:cubicBezTo>
                      <a:pt x="46" y="30"/>
                      <a:pt x="46" y="30"/>
                      <a:pt x="46" y="30"/>
                    </a:cubicBezTo>
                    <a:cubicBezTo>
                      <a:pt x="46" y="33"/>
                      <a:pt x="47" y="35"/>
                      <a:pt x="48" y="37"/>
                    </a:cubicBezTo>
                    <a:cubicBezTo>
                      <a:pt x="47" y="37"/>
                      <a:pt x="47" y="37"/>
                      <a:pt x="47" y="37"/>
                    </a:cubicBezTo>
                    <a:cubicBezTo>
                      <a:pt x="21" y="37"/>
                      <a:pt x="0" y="58"/>
                      <a:pt x="0" y="84"/>
                    </a:cubicBezTo>
                    <a:cubicBezTo>
                      <a:pt x="0" y="240"/>
                      <a:pt x="0" y="240"/>
                      <a:pt x="0" y="240"/>
                    </a:cubicBezTo>
                    <a:cubicBezTo>
                      <a:pt x="0" y="266"/>
                      <a:pt x="21" y="287"/>
                      <a:pt x="47" y="287"/>
                    </a:cubicBezTo>
                    <a:cubicBezTo>
                      <a:pt x="292" y="287"/>
                      <a:pt x="292" y="287"/>
                      <a:pt x="292" y="287"/>
                    </a:cubicBezTo>
                    <a:cubicBezTo>
                      <a:pt x="318" y="287"/>
                      <a:pt x="339" y="266"/>
                      <a:pt x="339" y="240"/>
                    </a:cubicBezTo>
                    <a:cubicBezTo>
                      <a:pt x="339" y="126"/>
                      <a:pt x="339" y="126"/>
                      <a:pt x="339" y="126"/>
                    </a:cubicBezTo>
                    <a:cubicBezTo>
                      <a:pt x="339" y="121"/>
                      <a:pt x="335" y="118"/>
                      <a:pt x="331"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17" name="Freeform 9"/>
              <p:cNvSpPr>
                <a:spLocks noEditPoints="1"/>
              </p:cNvSpPr>
              <p:nvPr/>
            </p:nvSpPr>
            <p:spPr bwMode="auto">
              <a:xfrm>
                <a:off x="6577483" y="3259548"/>
                <a:ext cx="184988" cy="145953"/>
              </a:xfrm>
              <a:custGeom>
                <a:avLst/>
                <a:gdLst>
                  <a:gd name="T0" fmla="*/ 2147483647 w 467"/>
                  <a:gd name="T1" fmla="*/ 2147483647 h 377"/>
                  <a:gd name="T2" fmla="*/ 2147483647 w 467"/>
                  <a:gd name="T3" fmla="*/ 2147483647 h 377"/>
                  <a:gd name="T4" fmla="*/ 2147483647 w 467"/>
                  <a:gd name="T5" fmla="*/ 2147483647 h 377"/>
                  <a:gd name="T6" fmla="*/ 2147483647 w 467"/>
                  <a:gd name="T7" fmla="*/ 0 h 377"/>
                  <a:gd name="T8" fmla="*/ 2147483647 w 467"/>
                  <a:gd name="T9" fmla="*/ 0 h 377"/>
                  <a:gd name="T10" fmla="*/ 0 w 467"/>
                  <a:gd name="T11" fmla="*/ 2147483647 h 377"/>
                  <a:gd name="T12" fmla="*/ 0 w 467"/>
                  <a:gd name="T13" fmla="*/ 2147483647 h 377"/>
                  <a:gd name="T14" fmla="*/ 2147483647 w 467"/>
                  <a:gd name="T15" fmla="*/ 2147483647 h 377"/>
                  <a:gd name="T16" fmla="*/ 2147483647 w 467"/>
                  <a:gd name="T17" fmla="*/ 2147483647 h 377"/>
                  <a:gd name="T18" fmla="*/ 2147483647 w 467"/>
                  <a:gd name="T19" fmla="*/ 2147483647 h 377"/>
                  <a:gd name="T20" fmla="*/ 2147483647 w 467"/>
                  <a:gd name="T21" fmla="*/ 2147483647 h 377"/>
                  <a:gd name="T22" fmla="*/ 2147483647 w 467"/>
                  <a:gd name="T23" fmla="*/ 2147483647 h 377"/>
                  <a:gd name="T24" fmla="*/ 2147483647 w 467"/>
                  <a:gd name="T25" fmla="*/ 2147483647 h 377"/>
                  <a:gd name="T26" fmla="*/ 2147483647 w 467"/>
                  <a:gd name="T27" fmla="*/ 2147483647 h 377"/>
                  <a:gd name="T28" fmla="*/ 2147483647 w 467"/>
                  <a:gd name="T29" fmla="*/ 2147483647 h 377"/>
                  <a:gd name="T30" fmla="*/ 2147483647 w 467"/>
                  <a:gd name="T31" fmla="*/ 2147483647 h 377"/>
                  <a:gd name="T32" fmla="*/ 2147483647 w 467"/>
                  <a:gd name="T33" fmla="*/ 2147483647 h 377"/>
                  <a:gd name="T34" fmla="*/ 2147483647 w 467"/>
                  <a:gd name="T35" fmla="*/ 2147483647 h 377"/>
                  <a:gd name="T36" fmla="*/ 2147483647 w 467"/>
                  <a:gd name="T37" fmla="*/ 2147483647 h 377"/>
                  <a:gd name="T38" fmla="*/ 2147483647 w 467"/>
                  <a:gd name="T39" fmla="*/ 2147483647 h 377"/>
                  <a:gd name="T40" fmla="*/ 2147483647 w 467"/>
                  <a:gd name="T41" fmla="*/ 2147483647 h 377"/>
                  <a:gd name="T42" fmla="*/ 2147483647 w 467"/>
                  <a:gd name="T43" fmla="*/ 2147483647 h 377"/>
                  <a:gd name="T44" fmla="*/ 2147483647 w 467"/>
                  <a:gd name="T45" fmla="*/ 2147483647 h 377"/>
                  <a:gd name="T46" fmla="*/ 2147483647 w 467"/>
                  <a:gd name="T47" fmla="*/ 2147483647 h 377"/>
                  <a:gd name="T48" fmla="*/ 2147483647 w 467"/>
                  <a:gd name="T49" fmla="*/ 2147483647 h 377"/>
                  <a:gd name="T50" fmla="*/ 2147483647 w 467"/>
                  <a:gd name="T51" fmla="*/ 2147483647 h 377"/>
                  <a:gd name="T52" fmla="*/ 2147483647 w 467"/>
                  <a:gd name="T53" fmla="*/ 2147483647 h 377"/>
                  <a:gd name="T54" fmla="*/ 2147483647 w 467"/>
                  <a:gd name="T55" fmla="*/ 2147483647 h 377"/>
                  <a:gd name="T56" fmla="*/ 2147483647 w 467"/>
                  <a:gd name="T57" fmla="*/ 2147483647 h 377"/>
                  <a:gd name="T58" fmla="*/ 2147483647 w 467"/>
                  <a:gd name="T59" fmla="*/ 2147483647 h 377"/>
                  <a:gd name="T60" fmla="*/ 2147483647 w 467"/>
                  <a:gd name="T61" fmla="*/ 2147483647 h 377"/>
                  <a:gd name="T62" fmla="*/ 2147483647 w 467"/>
                  <a:gd name="T63" fmla="*/ 2147483647 h 377"/>
                  <a:gd name="T64" fmla="*/ 2147483647 w 467"/>
                  <a:gd name="T65" fmla="*/ 2147483647 h 377"/>
                  <a:gd name="T66" fmla="*/ 2147483647 w 467"/>
                  <a:gd name="T67" fmla="*/ 2147483647 h 377"/>
                  <a:gd name="T68" fmla="*/ 2147483647 w 467"/>
                  <a:gd name="T69" fmla="*/ 2147483647 h 377"/>
                  <a:gd name="T70" fmla="*/ 2147483647 w 467"/>
                  <a:gd name="T71" fmla="*/ 2147483647 h 377"/>
                  <a:gd name="T72" fmla="*/ 2147483647 w 467"/>
                  <a:gd name="T73" fmla="*/ 2147483647 h 377"/>
                  <a:gd name="T74" fmla="*/ 2147483647 w 467"/>
                  <a:gd name="T75" fmla="*/ 2147483647 h 377"/>
                  <a:gd name="T76" fmla="*/ 2147483647 w 467"/>
                  <a:gd name="T77" fmla="*/ 2147483647 h 377"/>
                  <a:gd name="T78" fmla="*/ 2147483647 w 467"/>
                  <a:gd name="T79" fmla="*/ 2147483647 h 377"/>
                  <a:gd name="T80" fmla="*/ 2147483647 w 467"/>
                  <a:gd name="T81" fmla="*/ 2147483647 h 377"/>
                  <a:gd name="T82" fmla="*/ 2147483647 w 467"/>
                  <a:gd name="T83" fmla="*/ 2147483647 h 377"/>
                  <a:gd name="T84" fmla="*/ 2147483647 w 467"/>
                  <a:gd name="T85" fmla="*/ 2147483647 h 377"/>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467" h="377">
                    <a:moveTo>
                      <a:pt x="459" y="42"/>
                    </a:moveTo>
                    <a:cubicBezTo>
                      <a:pt x="463" y="42"/>
                      <a:pt x="467" y="38"/>
                      <a:pt x="467" y="34"/>
                    </a:cubicBezTo>
                    <a:cubicBezTo>
                      <a:pt x="467" y="14"/>
                      <a:pt x="467" y="14"/>
                      <a:pt x="467" y="14"/>
                    </a:cubicBezTo>
                    <a:cubicBezTo>
                      <a:pt x="467" y="6"/>
                      <a:pt x="461" y="0"/>
                      <a:pt x="453" y="0"/>
                    </a:cubicBezTo>
                    <a:cubicBezTo>
                      <a:pt x="13" y="0"/>
                      <a:pt x="13" y="0"/>
                      <a:pt x="13" y="0"/>
                    </a:cubicBezTo>
                    <a:cubicBezTo>
                      <a:pt x="6" y="0"/>
                      <a:pt x="0" y="6"/>
                      <a:pt x="0" y="14"/>
                    </a:cubicBezTo>
                    <a:cubicBezTo>
                      <a:pt x="0" y="276"/>
                      <a:pt x="0" y="276"/>
                      <a:pt x="0" y="276"/>
                    </a:cubicBezTo>
                    <a:cubicBezTo>
                      <a:pt x="0" y="283"/>
                      <a:pt x="6" y="290"/>
                      <a:pt x="13" y="290"/>
                    </a:cubicBezTo>
                    <a:cubicBezTo>
                      <a:pt x="185" y="290"/>
                      <a:pt x="185" y="290"/>
                      <a:pt x="185" y="290"/>
                    </a:cubicBezTo>
                    <a:cubicBezTo>
                      <a:pt x="185" y="314"/>
                      <a:pt x="185" y="314"/>
                      <a:pt x="185" y="314"/>
                    </a:cubicBezTo>
                    <a:cubicBezTo>
                      <a:pt x="117" y="314"/>
                      <a:pt x="117" y="314"/>
                      <a:pt x="117" y="314"/>
                    </a:cubicBezTo>
                    <a:cubicBezTo>
                      <a:pt x="115" y="314"/>
                      <a:pt x="114" y="314"/>
                      <a:pt x="112" y="315"/>
                    </a:cubicBezTo>
                    <a:cubicBezTo>
                      <a:pt x="40" y="362"/>
                      <a:pt x="40" y="362"/>
                      <a:pt x="40" y="362"/>
                    </a:cubicBezTo>
                    <a:cubicBezTo>
                      <a:pt x="37" y="364"/>
                      <a:pt x="35" y="368"/>
                      <a:pt x="36" y="371"/>
                    </a:cubicBezTo>
                    <a:cubicBezTo>
                      <a:pt x="37" y="375"/>
                      <a:pt x="41" y="377"/>
                      <a:pt x="44" y="377"/>
                    </a:cubicBezTo>
                    <a:cubicBezTo>
                      <a:pt x="422" y="377"/>
                      <a:pt x="422" y="377"/>
                      <a:pt x="422" y="377"/>
                    </a:cubicBezTo>
                    <a:cubicBezTo>
                      <a:pt x="426" y="377"/>
                      <a:pt x="429" y="375"/>
                      <a:pt x="430" y="371"/>
                    </a:cubicBezTo>
                    <a:cubicBezTo>
                      <a:pt x="431" y="368"/>
                      <a:pt x="429" y="364"/>
                      <a:pt x="426" y="362"/>
                    </a:cubicBezTo>
                    <a:cubicBezTo>
                      <a:pt x="354" y="315"/>
                      <a:pt x="354" y="315"/>
                      <a:pt x="354" y="315"/>
                    </a:cubicBezTo>
                    <a:cubicBezTo>
                      <a:pt x="352" y="314"/>
                      <a:pt x="351" y="314"/>
                      <a:pt x="349" y="314"/>
                    </a:cubicBezTo>
                    <a:cubicBezTo>
                      <a:pt x="281" y="314"/>
                      <a:pt x="281" y="314"/>
                      <a:pt x="281" y="314"/>
                    </a:cubicBezTo>
                    <a:cubicBezTo>
                      <a:pt x="281" y="290"/>
                      <a:pt x="281" y="290"/>
                      <a:pt x="281" y="290"/>
                    </a:cubicBezTo>
                    <a:cubicBezTo>
                      <a:pt x="453" y="290"/>
                      <a:pt x="453" y="290"/>
                      <a:pt x="453" y="290"/>
                    </a:cubicBezTo>
                    <a:cubicBezTo>
                      <a:pt x="461" y="290"/>
                      <a:pt x="467" y="283"/>
                      <a:pt x="467" y="276"/>
                    </a:cubicBezTo>
                    <a:cubicBezTo>
                      <a:pt x="467" y="66"/>
                      <a:pt x="467" y="66"/>
                      <a:pt x="467" y="66"/>
                    </a:cubicBezTo>
                    <a:cubicBezTo>
                      <a:pt x="467" y="61"/>
                      <a:pt x="463" y="58"/>
                      <a:pt x="459" y="58"/>
                    </a:cubicBezTo>
                    <a:cubicBezTo>
                      <a:pt x="454" y="58"/>
                      <a:pt x="451" y="61"/>
                      <a:pt x="451" y="66"/>
                    </a:cubicBezTo>
                    <a:cubicBezTo>
                      <a:pt x="451" y="274"/>
                      <a:pt x="451" y="274"/>
                      <a:pt x="451" y="274"/>
                    </a:cubicBezTo>
                    <a:cubicBezTo>
                      <a:pt x="16" y="274"/>
                      <a:pt x="16" y="274"/>
                      <a:pt x="16" y="274"/>
                    </a:cubicBezTo>
                    <a:cubicBezTo>
                      <a:pt x="16" y="16"/>
                      <a:pt x="16" y="16"/>
                      <a:pt x="16" y="16"/>
                    </a:cubicBezTo>
                    <a:cubicBezTo>
                      <a:pt x="451" y="16"/>
                      <a:pt x="451" y="16"/>
                      <a:pt x="451" y="16"/>
                    </a:cubicBezTo>
                    <a:cubicBezTo>
                      <a:pt x="451" y="34"/>
                      <a:pt x="451" y="34"/>
                      <a:pt x="451" y="34"/>
                    </a:cubicBezTo>
                    <a:cubicBezTo>
                      <a:pt x="451" y="38"/>
                      <a:pt x="454" y="42"/>
                      <a:pt x="459" y="42"/>
                    </a:cubicBezTo>
                    <a:close/>
                    <a:moveTo>
                      <a:pt x="347" y="330"/>
                    </a:moveTo>
                    <a:cubicBezTo>
                      <a:pt x="395" y="361"/>
                      <a:pt x="395" y="361"/>
                      <a:pt x="395" y="361"/>
                    </a:cubicBezTo>
                    <a:cubicBezTo>
                      <a:pt x="71" y="361"/>
                      <a:pt x="71" y="361"/>
                      <a:pt x="71" y="361"/>
                    </a:cubicBezTo>
                    <a:cubicBezTo>
                      <a:pt x="119" y="330"/>
                      <a:pt x="119" y="330"/>
                      <a:pt x="119" y="330"/>
                    </a:cubicBezTo>
                    <a:lnTo>
                      <a:pt x="347" y="330"/>
                    </a:lnTo>
                    <a:close/>
                    <a:moveTo>
                      <a:pt x="201" y="290"/>
                    </a:moveTo>
                    <a:cubicBezTo>
                      <a:pt x="265" y="290"/>
                      <a:pt x="265" y="290"/>
                      <a:pt x="265" y="290"/>
                    </a:cubicBezTo>
                    <a:cubicBezTo>
                      <a:pt x="265" y="314"/>
                      <a:pt x="265" y="314"/>
                      <a:pt x="265" y="314"/>
                    </a:cubicBezTo>
                    <a:cubicBezTo>
                      <a:pt x="201" y="314"/>
                      <a:pt x="201" y="314"/>
                      <a:pt x="201" y="314"/>
                    </a:cubicBezTo>
                    <a:lnTo>
                      <a:pt x="201" y="2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18" name="Freeform 3"/>
              <p:cNvSpPr>
                <a:spLocks noChangeAspect="1" noEditPoints="1"/>
              </p:cNvSpPr>
              <p:nvPr/>
            </p:nvSpPr>
            <p:spPr bwMode="auto">
              <a:xfrm>
                <a:off x="6385696" y="2734221"/>
                <a:ext cx="74732" cy="180393"/>
              </a:xfrm>
              <a:custGeom>
                <a:avLst/>
                <a:gdLst>
                  <a:gd name="T0" fmla="*/ 2147483647 w 189"/>
                  <a:gd name="T1" fmla="*/ 2147483647 h 466"/>
                  <a:gd name="T2" fmla="*/ 2147483647 w 189"/>
                  <a:gd name="T3" fmla="*/ 2147483647 h 466"/>
                  <a:gd name="T4" fmla="*/ 2147483647 w 189"/>
                  <a:gd name="T5" fmla="*/ 2147483647 h 466"/>
                  <a:gd name="T6" fmla="*/ 2147483647 w 189"/>
                  <a:gd name="T7" fmla="*/ 2147483647 h 466"/>
                  <a:gd name="T8" fmla="*/ 2147483647 w 189"/>
                  <a:gd name="T9" fmla="*/ 2147483647 h 466"/>
                  <a:gd name="T10" fmla="*/ 2147483647 w 189"/>
                  <a:gd name="T11" fmla="*/ 2147483647 h 466"/>
                  <a:gd name="T12" fmla="*/ 2147483647 w 189"/>
                  <a:gd name="T13" fmla="*/ 2147483647 h 466"/>
                  <a:gd name="T14" fmla="*/ 2147483647 w 189"/>
                  <a:gd name="T15" fmla="*/ 2147483647 h 466"/>
                  <a:gd name="T16" fmla="*/ 2147483647 w 189"/>
                  <a:gd name="T17" fmla="*/ 2147483647 h 466"/>
                  <a:gd name="T18" fmla="*/ 2147483647 w 189"/>
                  <a:gd name="T19" fmla="*/ 2147483647 h 466"/>
                  <a:gd name="T20" fmla="*/ 2147483647 w 189"/>
                  <a:gd name="T21" fmla="*/ 2147483647 h 466"/>
                  <a:gd name="T22" fmla="*/ 2147483647 w 189"/>
                  <a:gd name="T23" fmla="*/ 2147483647 h 466"/>
                  <a:gd name="T24" fmla="*/ 2147483647 w 189"/>
                  <a:gd name="T25" fmla="*/ 2147483647 h 466"/>
                  <a:gd name="T26" fmla="*/ 2147483647 w 189"/>
                  <a:gd name="T27" fmla="*/ 2147483647 h 466"/>
                  <a:gd name="T28" fmla="*/ 2147483647 w 189"/>
                  <a:gd name="T29" fmla="*/ 2147483647 h 466"/>
                  <a:gd name="T30" fmla="*/ 2147483647 w 189"/>
                  <a:gd name="T31" fmla="*/ 2147483647 h 466"/>
                  <a:gd name="T32" fmla="*/ 2147483647 w 189"/>
                  <a:gd name="T33" fmla="*/ 2147483647 h 466"/>
                  <a:gd name="T34" fmla="*/ 2147483647 w 189"/>
                  <a:gd name="T35" fmla="*/ 2147483647 h 466"/>
                  <a:gd name="T36" fmla="*/ 2147483647 w 189"/>
                  <a:gd name="T37" fmla="*/ 2147483647 h 466"/>
                  <a:gd name="T38" fmla="*/ 2147483647 w 189"/>
                  <a:gd name="T39" fmla="*/ 2147483647 h 466"/>
                  <a:gd name="T40" fmla="*/ 2147483647 w 189"/>
                  <a:gd name="T41" fmla="*/ 2147483647 h 466"/>
                  <a:gd name="T42" fmla="*/ 2147483647 w 189"/>
                  <a:gd name="T43" fmla="*/ 2147483647 h 466"/>
                  <a:gd name="T44" fmla="*/ 2147483647 w 189"/>
                  <a:gd name="T45" fmla="*/ 2147483647 h 466"/>
                  <a:gd name="T46" fmla="*/ 2147483647 w 189"/>
                  <a:gd name="T47" fmla="*/ 2147483647 h 466"/>
                  <a:gd name="T48" fmla="*/ 2147483647 w 189"/>
                  <a:gd name="T49" fmla="*/ 2147483647 h 466"/>
                  <a:gd name="T50" fmla="*/ 2147483647 w 189"/>
                  <a:gd name="T51" fmla="*/ 2147483647 h 466"/>
                  <a:gd name="T52" fmla="*/ 2147483647 w 189"/>
                  <a:gd name="T53" fmla="*/ 2147483647 h 466"/>
                  <a:gd name="T54" fmla="*/ 2147483647 w 189"/>
                  <a:gd name="T55" fmla="*/ 2147483647 h 466"/>
                  <a:gd name="T56" fmla="*/ 2147483647 w 189"/>
                  <a:gd name="T57" fmla="*/ 2147483647 h 466"/>
                  <a:gd name="T58" fmla="*/ 2147483647 w 189"/>
                  <a:gd name="T59" fmla="*/ 2147483647 h 466"/>
                  <a:gd name="T60" fmla="*/ 2147483647 w 189"/>
                  <a:gd name="T61" fmla="*/ 2147483647 h 466"/>
                  <a:gd name="T62" fmla="*/ 2147483647 w 189"/>
                  <a:gd name="T63" fmla="*/ 2147483647 h 466"/>
                  <a:gd name="T64" fmla="*/ 2147483647 w 189"/>
                  <a:gd name="T65" fmla="*/ 2147483647 h 466"/>
                  <a:gd name="T66" fmla="*/ 2147483647 w 189"/>
                  <a:gd name="T67" fmla="*/ 2147483647 h 466"/>
                  <a:gd name="T68" fmla="*/ 2147483647 w 189"/>
                  <a:gd name="T69" fmla="*/ 2147483647 h 466"/>
                  <a:gd name="T70" fmla="*/ 2147483647 w 189"/>
                  <a:gd name="T71" fmla="*/ 2147483647 h 466"/>
                  <a:gd name="T72" fmla="*/ 2147483647 w 189"/>
                  <a:gd name="T73" fmla="*/ 2147483647 h 466"/>
                  <a:gd name="T74" fmla="*/ 2147483647 w 189"/>
                  <a:gd name="T75" fmla="*/ 2147483647 h 466"/>
                  <a:gd name="T76" fmla="*/ 2147483647 w 189"/>
                  <a:gd name="T77" fmla="*/ 2147483647 h 466"/>
                  <a:gd name="T78" fmla="*/ 2147483647 w 189"/>
                  <a:gd name="T79" fmla="*/ 2147483647 h 466"/>
                  <a:gd name="T80" fmla="*/ 2147483647 w 189"/>
                  <a:gd name="T81" fmla="*/ 0 h 466"/>
                  <a:gd name="T82" fmla="*/ 2147483647 w 189"/>
                  <a:gd name="T83" fmla="*/ 0 h 466"/>
                  <a:gd name="T84" fmla="*/ 2147483647 w 189"/>
                  <a:gd name="T85" fmla="*/ 2147483647 h 466"/>
                  <a:gd name="T86" fmla="*/ 2147483647 w 189"/>
                  <a:gd name="T87" fmla="*/ 2147483647 h 466"/>
                  <a:gd name="T88" fmla="*/ 0 w 189"/>
                  <a:gd name="T89" fmla="*/ 2147483647 h 466"/>
                  <a:gd name="T90" fmla="*/ 2147483647 w 189"/>
                  <a:gd name="T91" fmla="*/ 2147483647 h 466"/>
                  <a:gd name="T92" fmla="*/ 2147483647 w 189"/>
                  <a:gd name="T93" fmla="*/ 2147483647 h 466"/>
                  <a:gd name="T94" fmla="*/ 2147483647 w 189"/>
                  <a:gd name="T95" fmla="*/ 2147483647 h 466"/>
                  <a:gd name="T96" fmla="*/ 2147483647 w 189"/>
                  <a:gd name="T97" fmla="*/ 2147483647 h 466"/>
                  <a:gd name="T98" fmla="*/ 2147483647 w 189"/>
                  <a:gd name="T99" fmla="*/ 2147483647 h 466"/>
                  <a:gd name="T100" fmla="*/ 2147483647 w 189"/>
                  <a:gd name="T101" fmla="*/ 2147483647 h 466"/>
                  <a:gd name="T102" fmla="*/ 2147483647 w 189"/>
                  <a:gd name="T103" fmla="*/ 2147483647 h 466"/>
                  <a:gd name="T104" fmla="*/ 2147483647 w 189"/>
                  <a:gd name="T105" fmla="*/ 2147483647 h 466"/>
                  <a:gd name="T106" fmla="*/ 2147483647 w 189"/>
                  <a:gd name="T107" fmla="*/ 2147483647 h 466"/>
                  <a:gd name="T108" fmla="*/ 2147483647 w 189"/>
                  <a:gd name="T109" fmla="*/ 2147483647 h 46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89" h="466">
                    <a:moveTo>
                      <a:pt x="144" y="292"/>
                    </a:moveTo>
                    <a:cubicBezTo>
                      <a:pt x="144" y="83"/>
                      <a:pt x="144" y="83"/>
                      <a:pt x="144" y="83"/>
                    </a:cubicBezTo>
                    <a:cubicBezTo>
                      <a:pt x="144" y="79"/>
                      <a:pt x="141" y="75"/>
                      <a:pt x="136" y="75"/>
                    </a:cubicBezTo>
                    <a:cubicBezTo>
                      <a:pt x="132" y="75"/>
                      <a:pt x="128" y="79"/>
                      <a:pt x="128" y="83"/>
                    </a:cubicBezTo>
                    <a:cubicBezTo>
                      <a:pt x="128" y="107"/>
                      <a:pt x="128" y="107"/>
                      <a:pt x="128" y="107"/>
                    </a:cubicBezTo>
                    <a:cubicBezTo>
                      <a:pt x="94" y="107"/>
                      <a:pt x="94" y="107"/>
                      <a:pt x="94" y="107"/>
                    </a:cubicBezTo>
                    <a:cubicBezTo>
                      <a:pt x="90" y="107"/>
                      <a:pt x="86" y="110"/>
                      <a:pt x="86" y="115"/>
                    </a:cubicBezTo>
                    <a:cubicBezTo>
                      <a:pt x="86" y="119"/>
                      <a:pt x="90" y="123"/>
                      <a:pt x="94" y="123"/>
                    </a:cubicBezTo>
                    <a:cubicBezTo>
                      <a:pt x="128" y="123"/>
                      <a:pt x="128" y="123"/>
                      <a:pt x="128" y="123"/>
                    </a:cubicBezTo>
                    <a:cubicBezTo>
                      <a:pt x="128" y="146"/>
                      <a:pt x="128" y="146"/>
                      <a:pt x="128" y="146"/>
                    </a:cubicBezTo>
                    <a:cubicBezTo>
                      <a:pt x="94" y="146"/>
                      <a:pt x="94" y="146"/>
                      <a:pt x="94" y="146"/>
                    </a:cubicBezTo>
                    <a:cubicBezTo>
                      <a:pt x="90" y="146"/>
                      <a:pt x="86" y="150"/>
                      <a:pt x="86" y="154"/>
                    </a:cubicBezTo>
                    <a:cubicBezTo>
                      <a:pt x="86" y="159"/>
                      <a:pt x="90" y="162"/>
                      <a:pt x="94" y="162"/>
                    </a:cubicBezTo>
                    <a:cubicBezTo>
                      <a:pt x="128" y="162"/>
                      <a:pt x="128" y="162"/>
                      <a:pt x="128" y="162"/>
                    </a:cubicBezTo>
                    <a:cubicBezTo>
                      <a:pt x="128" y="186"/>
                      <a:pt x="128" y="186"/>
                      <a:pt x="128" y="186"/>
                    </a:cubicBezTo>
                    <a:cubicBezTo>
                      <a:pt x="94" y="186"/>
                      <a:pt x="94" y="186"/>
                      <a:pt x="94" y="186"/>
                    </a:cubicBezTo>
                    <a:cubicBezTo>
                      <a:pt x="90" y="186"/>
                      <a:pt x="86" y="190"/>
                      <a:pt x="86" y="194"/>
                    </a:cubicBezTo>
                    <a:cubicBezTo>
                      <a:pt x="86" y="199"/>
                      <a:pt x="90" y="202"/>
                      <a:pt x="94" y="202"/>
                    </a:cubicBezTo>
                    <a:cubicBezTo>
                      <a:pt x="128" y="202"/>
                      <a:pt x="128" y="202"/>
                      <a:pt x="128" y="202"/>
                    </a:cubicBezTo>
                    <a:cubicBezTo>
                      <a:pt x="128" y="226"/>
                      <a:pt x="128" y="226"/>
                      <a:pt x="128" y="226"/>
                    </a:cubicBezTo>
                    <a:cubicBezTo>
                      <a:pt x="94" y="226"/>
                      <a:pt x="94" y="226"/>
                      <a:pt x="94" y="226"/>
                    </a:cubicBezTo>
                    <a:cubicBezTo>
                      <a:pt x="90" y="226"/>
                      <a:pt x="86" y="230"/>
                      <a:pt x="86" y="234"/>
                    </a:cubicBezTo>
                    <a:cubicBezTo>
                      <a:pt x="86" y="239"/>
                      <a:pt x="90" y="242"/>
                      <a:pt x="94" y="242"/>
                    </a:cubicBezTo>
                    <a:cubicBezTo>
                      <a:pt x="128" y="242"/>
                      <a:pt x="128" y="242"/>
                      <a:pt x="128" y="242"/>
                    </a:cubicBezTo>
                    <a:cubicBezTo>
                      <a:pt x="128" y="266"/>
                      <a:pt x="128" y="266"/>
                      <a:pt x="128" y="266"/>
                    </a:cubicBezTo>
                    <a:cubicBezTo>
                      <a:pt x="94" y="266"/>
                      <a:pt x="94" y="266"/>
                      <a:pt x="94" y="266"/>
                    </a:cubicBezTo>
                    <a:cubicBezTo>
                      <a:pt x="90" y="266"/>
                      <a:pt x="86" y="270"/>
                      <a:pt x="86" y="274"/>
                    </a:cubicBezTo>
                    <a:cubicBezTo>
                      <a:pt x="86" y="278"/>
                      <a:pt x="90" y="282"/>
                      <a:pt x="94" y="282"/>
                    </a:cubicBezTo>
                    <a:cubicBezTo>
                      <a:pt x="128" y="282"/>
                      <a:pt x="128" y="282"/>
                      <a:pt x="128" y="282"/>
                    </a:cubicBezTo>
                    <a:cubicBezTo>
                      <a:pt x="128" y="306"/>
                      <a:pt x="128" y="306"/>
                      <a:pt x="128" y="306"/>
                    </a:cubicBezTo>
                    <a:cubicBezTo>
                      <a:pt x="128" y="312"/>
                      <a:pt x="110" y="319"/>
                      <a:pt x="94" y="319"/>
                    </a:cubicBezTo>
                    <a:cubicBezTo>
                      <a:pt x="78" y="319"/>
                      <a:pt x="60" y="313"/>
                      <a:pt x="60" y="306"/>
                    </a:cubicBezTo>
                    <a:cubicBezTo>
                      <a:pt x="60" y="42"/>
                      <a:pt x="60" y="42"/>
                      <a:pt x="60" y="42"/>
                    </a:cubicBezTo>
                    <a:cubicBezTo>
                      <a:pt x="60" y="27"/>
                      <a:pt x="72" y="16"/>
                      <a:pt x="86" y="16"/>
                    </a:cubicBezTo>
                    <a:cubicBezTo>
                      <a:pt x="102" y="16"/>
                      <a:pt x="102" y="16"/>
                      <a:pt x="102" y="16"/>
                    </a:cubicBezTo>
                    <a:cubicBezTo>
                      <a:pt x="117" y="16"/>
                      <a:pt x="128" y="27"/>
                      <a:pt x="128" y="42"/>
                    </a:cubicBezTo>
                    <a:cubicBezTo>
                      <a:pt x="128" y="51"/>
                      <a:pt x="128" y="51"/>
                      <a:pt x="128" y="51"/>
                    </a:cubicBezTo>
                    <a:cubicBezTo>
                      <a:pt x="128" y="56"/>
                      <a:pt x="132" y="59"/>
                      <a:pt x="136" y="59"/>
                    </a:cubicBezTo>
                    <a:cubicBezTo>
                      <a:pt x="141" y="59"/>
                      <a:pt x="144" y="56"/>
                      <a:pt x="144" y="51"/>
                    </a:cubicBezTo>
                    <a:cubicBezTo>
                      <a:pt x="144" y="42"/>
                      <a:pt x="144" y="42"/>
                      <a:pt x="144" y="42"/>
                    </a:cubicBezTo>
                    <a:cubicBezTo>
                      <a:pt x="144" y="18"/>
                      <a:pt x="126" y="0"/>
                      <a:pt x="102" y="0"/>
                    </a:cubicBezTo>
                    <a:cubicBezTo>
                      <a:pt x="86" y="0"/>
                      <a:pt x="86" y="0"/>
                      <a:pt x="86" y="0"/>
                    </a:cubicBezTo>
                    <a:cubicBezTo>
                      <a:pt x="63" y="0"/>
                      <a:pt x="44" y="18"/>
                      <a:pt x="44" y="42"/>
                    </a:cubicBezTo>
                    <a:cubicBezTo>
                      <a:pt x="44" y="292"/>
                      <a:pt x="44" y="292"/>
                      <a:pt x="44" y="292"/>
                    </a:cubicBezTo>
                    <a:cubicBezTo>
                      <a:pt x="18" y="308"/>
                      <a:pt x="1" y="337"/>
                      <a:pt x="0" y="370"/>
                    </a:cubicBezTo>
                    <a:cubicBezTo>
                      <a:pt x="0" y="422"/>
                      <a:pt x="41" y="465"/>
                      <a:pt x="93" y="466"/>
                    </a:cubicBezTo>
                    <a:cubicBezTo>
                      <a:pt x="145" y="466"/>
                      <a:pt x="188" y="425"/>
                      <a:pt x="188" y="373"/>
                    </a:cubicBezTo>
                    <a:cubicBezTo>
                      <a:pt x="189" y="339"/>
                      <a:pt x="171" y="309"/>
                      <a:pt x="144" y="292"/>
                    </a:cubicBezTo>
                    <a:close/>
                    <a:moveTo>
                      <a:pt x="94" y="446"/>
                    </a:moveTo>
                    <a:cubicBezTo>
                      <a:pt x="90" y="446"/>
                      <a:pt x="86" y="442"/>
                      <a:pt x="86" y="438"/>
                    </a:cubicBezTo>
                    <a:cubicBezTo>
                      <a:pt x="86" y="434"/>
                      <a:pt x="90" y="430"/>
                      <a:pt x="94" y="430"/>
                    </a:cubicBezTo>
                    <a:cubicBezTo>
                      <a:pt x="126" y="430"/>
                      <a:pt x="153" y="404"/>
                      <a:pt x="153" y="372"/>
                    </a:cubicBezTo>
                    <a:cubicBezTo>
                      <a:pt x="153" y="367"/>
                      <a:pt x="156" y="364"/>
                      <a:pt x="161" y="364"/>
                    </a:cubicBezTo>
                    <a:cubicBezTo>
                      <a:pt x="165" y="364"/>
                      <a:pt x="169" y="367"/>
                      <a:pt x="169" y="372"/>
                    </a:cubicBezTo>
                    <a:cubicBezTo>
                      <a:pt x="169" y="413"/>
                      <a:pt x="135" y="446"/>
                      <a:pt x="94" y="4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19" name="Freeform 3"/>
              <p:cNvSpPr>
                <a:spLocks noChangeAspect="1" noEditPoints="1"/>
              </p:cNvSpPr>
              <p:nvPr/>
            </p:nvSpPr>
            <p:spPr bwMode="auto">
              <a:xfrm>
                <a:off x="4974224" y="4394392"/>
                <a:ext cx="152649" cy="149562"/>
              </a:xfrm>
              <a:custGeom>
                <a:avLst/>
                <a:gdLst>
                  <a:gd name="T0" fmla="*/ 2147483647 w 386"/>
                  <a:gd name="T1" fmla="*/ 2147483647 h 386"/>
                  <a:gd name="T2" fmla="*/ 2147483647 w 386"/>
                  <a:gd name="T3" fmla="*/ 2147483647 h 386"/>
                  <a:gd name="T4" fmla="*/ 2147483647 w 386"/>
                  <a:gd name="T5" fmla="*/ 2147483647 h 386"/>
                  <a:gd name="T6" fmla="*/ 2147483647 w 386"/>
                  <a:gd name="T7" fmla="*/ 2147483647 h 386"/>
                  <a:gd name="T8" fmla="*/ 2147483647 w 386"/>
                  <a:gd name="T9" fmla="*/ 2147483647 h 386"/>
                  <a:gd name="T10" fmla="*/ 2147483647 w 386"/>
                  <a:gd name="T11" fmla="*/ 2147483647 h 386"/>
                  <a:gd name="T12" fmla="*/ 2147483647 w 386"/>
                  <a:gd name="T13" fmla="*/ 2147483647 h 386"/>
                  <a:gd name="T14" fmla="*/ 2147483647 w 386"/>
                  <a:gd name="T15" fmla="*/ 2147483647 h 386"/>
                  <a:gd name="T16" fmla="*/ 2147483647 w 386"/>
                  <a:gd name="T17" fmla="*/ 2147483647 h 386"/>
                  <a:gd name="T18" fmla="*/ 2147483647 w 386"/>
                  <a:gd name="T19" fmla="*/ 2147483647 h 386"/>
                  <a:gd name="T20" fmla="*/ 2147483647 w 386"/>
                  <a:gd name="T21" fmla="*/ 2147483647 h 386"/>
                  <a:gd name="T22" fmla="*/ 2147483647 w 386"/>
                  <a:gd name="T23" fmla="*/ 2147483647 h 386"/>
                  <a:gd name="T24" fmla="*/ 2147483647 w 386"/>
                  <a:gd name="T25" fmla="*/ 2147483647 h 386"/>
                  <a:gd name="T26" fmla="*/ 2147483647 w 386"/>
                  <a:gd name="T27" fmla="*/ 2147483647 h 386"/>
                  <a:gd name="T28" fmla="*/ 2147483647 w 386"/>
                  <a:gd name="T29" fmla="*/ 2147483647 h 386"/>
                  <a:gd name="T30" fmla="*/ 2147483647 w 386"/>
                  <a:gd name="T31" fmla="*/ 2147483647 h 386"/>
                  <a:gd name="T32" fmla="*/ 2147483647 w 386"/>
                  <a:gd name="T33" fmla="*/ 2147483647 h 386"/>
                  <a:gd name="T34" fmla="*/ 2147483647 w 386"/>
                  <a:gd name="T35" fmla="*/ 2147483647 h 386"/>
                  <a:gd name="T36" fmla="*/ 2147483647 w 386"/>
                  <a:gd name="T37" fmla="*/ 2147483647 h 386"/>
                  <a:gd name="T38" fmla="*/ 2147483647 w 386"/>
                  <a:gd name="T39" fmla="*/ 2147483647 h 386"/>
                  <a:gd name="T40" fmla="*/ 2147483647 w 386"/>
                  <a:gd name="T41" fmla="*/ 0 h 386"/>
                  <a:gd name="T42" fmla="*/ 0 w 386"/>
                  <a:gd name="T43" fmla="*/ 2147483647 h 386"/>
                  <a:gd name="T44" fmla="*/ 2147483647 w 386"/>
                  <a:gd name="T45" fmla="*/ 2147483647 h 386"/>
                  <a:gd name="T46" fmla="*/ 2147483647 w 386"/>
                  <a:gd name="T47" fmla="*/ 2147483647 h 386"/>
                  <a:gd name="T48" fmla="*/ 2147483647 w 386"/>
                  <a:gd name="T49" fmla="*/ 2147483647 h 386"/>
                  <a:gd name="T50" fmla="*/ 2147483647 w 386"/>
                  <a:gd name="T51" fmla="*/ 2147483647 h 386"/>
                  <a:gd name="T52" fmla="*/ 2147483647 w 386"/>
                  <a:gd name="T53" fmla="*/ 2147483647 h 386"/>
                  <a:gd name="T54" fmla="*/ 2147483647 w 386"/>
                  <a:gd name="T55" fmla="*/ 2147483647 h 386"/>
                  <a:gd name="T56" fmla="*/ 2147483647 w 386"/>
                  <a:gd name="T57" fmla="*/ 2147483647 h 386"/>
                  <a:gd name="T58" fmla="*/ 2147483647 w 386"/>
                  <a:gd name="T59" fmla="*/ 2147483647 h 386"/>
                  <a:gd name="T60" fmla="*/ 2147483647 w 386"/>
                  <a:gd name="T61" fmla="*/ 2147483647 h 386"/>
                  <a:gd name="T62" fmla="*/ 2147483647 w 386"/>
                  <a:gd name="T63" fmla="*/ 2147483647 h 386"/>
                  <a:gd name="T64" fmla="*/ 2147483647 w 386"/>
                  <a:gd name="T65" fmla="*/ 2147483647 h 386"/>
                  <a:gd name="T66" fmla="*/ 2147483647 w 386"/>
                  <a:gd name="T67" fmla="*/ 2147483647 h 386"/>
                  <a:gd name="T68" fmla="*/ 2147483647 w 386"/>
                  <a:gd name="T69" fmla="*/ 2147483647 h 386"/>
                  <a:gd name="T70" fmla="*/ 2147483647 w 386"/>
                  <a:gd name="T71" fmla="*/ 2147483647 h 386"/>
                  <a:gd name="T72" fmla="*/ 2147483647 w 386"/>
                  <a:gd name="T73" fmla="*/ 2147483647 h 386"/>
                  <a:gd name="T74" fmla="*/ 2147483647 w 386"/>
                  <a:gd name="T75" fmla="*/ 2147483647 h 386"/>
                  <a:gd name="T76" fmla="*/ 2147483647 w 386"/>
                  <a:gd name="T77" fmla="*/ 2147483647 h 386"/>
                  <a:gd name="T78" fmla="*/ 2147483647 w 386"/>
                  <a:gd name="T79" fmla="*/ 2147483647 h 386"/>
                  <a:gd name="T80" fmla="*/ 2147483647 w 386"/>
                  <a:gd name="T81" fmla="*/ 2147483647 h 386"/>
                  <a:gd name="T82" fmla="*/ 2147483647 w 386"/>
                  <a:gd name="T83" fmla="*/ 2147483647 h 38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386" h="386">
                    <a:moveTo>
                      <a:pt x="248" y="193"/>
                    </a:moveTo>
                    <a:cubicBezTo>
                      <a:pt x="248" y="162"/>
                      <a:pt x="224" y="137"/>
                      <a:pt x="193" y="137"/>
                    </a:cubicBezTo>
                    <a:cubicBezTo>
                      <a:pt x="163" y="137"/>
                      <a:pt x="138" y="162"/>
                      <a:pt x="138" y="193"/>
                    </a:cubicBezTo>
                    <a:cubicBezTo>
                      <a:pt x="138" y="223"/>
                      <a:pt x="163" y="248"/>
                      <a:pt x="193" y="248"/>
                    </a:cubicBezTo>
                    <a:cubicBezTo>
                      <a:pt x="224" y="248"/>
                      <a:pt x="248" y="223"/>
                      <a:pt x="248" y="193"/>
                    </a:cubicBezTo>
                    <a:moveTo>
                      <a:pt x="154" y="193"/>
                    </a:moveTo>
                    <a:cubicBezTo>
                      <a:pt x="154" y="171"/>
                      <a:pt x="171" y="153"/>
                      <a:pt x="193" y="153"/>
                    </a:cubicBezTo>
                    <a:cubicBezTo>
                      <a:pt x="215" y="153"/>
                      <a:pt x="232" y="171"/>
                      <a:pt x="232" y="193"/>
                    </a:cubicBezTo>
                    <a:cubicBezTo>
                      <a:pt x="232" y="214"/>
                      <a:pt x="215" y="232"/>
                      <a:pt x="193" y="232"/>
                    </a:cubicBezTo>
                    <a:cubicBezTo>
                      <a:pt x="171" y="232"/>
                      <a:pt x="154" y="214"/>
                      <a:pt x="154" y="193"/>
                    </a:cubicBezTo>
                    <a:moveTo>
                      <a:pt x="340" y="69"/>
                    </a:moveTo>
                    <a:cubicBezTo>
                      <a:pt x="338" y="65"/>
                      <a:pt x="333" y="65"/>
                      <a:pt x="329" y="68"/>
                    </a:cubicBezTo>
                    <a:cubicBezTo>
                      <a:pt x="326" y="71"/>
                      <a:pt x="325" y="76"/>
                      <a:pt x="328" y="79"/>
                    </a:cubicBezTo>
                    <a:cubicBezTo>
                      <a:pt x="355" y="111"/>
                      <a:pt x="370" y="151"/>
                      <a:pt x="370" y="193"/>
                    </a:cubicBezTo>
                    <a:cubicBezTo>
                      <a:pt x="370" y="290"/>
                      <a:pt x="290" y="370"/>
                      <a:pt x="193" y="370"/>
                    </a:cubicBezTo>
                    <a:cubicBezTo>
                      <a:pt x="96" y="370"/>
                      <a:pt x="16" y="290"/>
                      <a:pt x="16" y="193"/>
                    </a:cubicBezTo>
                    <a:cubicBezTo>
                      <a:pt x="16" y="95"/>
                      <a:pt x="96" y="16"/>
                      <a:pt x="193" y="16"/>
                    </a:cubicBezTo>
                    <a:cubicBezTo>
                      <a:pt x="235" y="16"/>
                      <a:pt x="275" y="30"/>
                      <a:pt x="307" y="58"/>
                    </a:cubicBezTo>
                    <a:cubicBezTo>
                      <a:pt x="310" y="60"/>
                      <a:pt x="315" y="60"/>
                      <a:pt x="318" y="57"/>
                    </a:cubicBezTo>
                    <a:cubicBezTo>
                      <a:pt x="321" y="53"/>
                      <a:pt x="320" y="48"/>
                      <a:pt x="317" y="45"/>
                    </a:cubicBezTo>
                    <a:cubicBezTo>
                      <a:pt x="282" y="16"/>
                      <a:pt x="239" y="0"/>
                      <a:pt x="193" y="0"/>
                    </a:cubicBezTo>
                    <a:cubicBezTo>
                      <a:pt x="87" y="0"/>
                      <a:pt x="0" y="87"/>
                      <a:pt x="0" y="193"/>
                    </a:cubicBezTo>
                    <a:cubicBezTo>
                      <a:pt x="0" y="299"/>
                      <a:pt x="87" y="386"/>
                      <a:pt x="193" y="386"/>
                    </a:cubicBezTo>
                    <a:cubicBezTo>
                      <a:pt x="299" y="386"/>
                      <a:pt x="386" y="299"/>
                      <a:pt x="386" y="193"/>
                    </a:cubicBezTo>
                    <a:cubicBezTo>
                      <a:pt x="386" y="147"/>
                      <a:pt x="370" y="104"/>
                      <a:pt x="340" y="69"/>
                    </a:cubicBezTo>
                    <a:moveTo>
                      <a:pt x="193" y="355"/>
                    </a:moveTo>
                    <a:cubicBezTo>
                      <a:pt x="283" y="355"/>
                      <a:pt x="355" y="282"/>
                      <a:pt x="355" y="193"/>
                    </a:cubicBezTo>
                    <a:cubicBezTo>
                      <a:pt x="355" y="188"/>
                      <a:pt x="352" y="185"/>
                      <a:pt x="347" y="185"/>
                    </a:cubicBezTo>
                    <a:cubicBezTo>
                      <a:pt x="343" y="185"/>
                      <a:pt x="339" y="188"/>
                      <a:pt x="339" y="193"/>
                    </a:cubicBezTo>
                    <a:cubicBezTo>
                      <a:pt x="339" y="274"/>
                      <a:pt x="274" y="339"/>
                      <a:pt x="193" y="339"/>
                    </a:cubicBezTo>
                    <a:cubicBezTo>
                      <a:pt x="189" y="339"/>
                      <a:pt x="185" y="343"/>
                      <a:pt x="185" y="347"/>
                    </a:cubicBezTo>
                    <a:cubicBezTo>
                      <a:pt x="185" y="352"/>
                      <a:pt x="189" y="355"/>
                      <a:pt x="193" y="355"/>
                    </a:cubicBezTo>
                    <a:moveTo>
                      <a:pt x="222" y="193"/>
                    </a:moveTo>
                    <a:cubicBezTo>
                      <a:pt x="222" y="177"/>
                      <a:pt x="209" y="164"/>
                      <a:pt x="193" y="164"/>
                    </a:cubicBezTo>
                    <a:cubicBezTo>
                      <a:pt x="177" y="164"/>
                      <a:pt x="164" y="177"/>
                      <a:pt x="164" y="193"/>
                    </a:cubicBezTo>
                    <a:cubicBezTo>
                      <a:pt x="164" y="209"/>
                      <a:pt x="177" y="222"/>
                      <a:pt x="193" y="222"/>
                    </a:cubicBezTo>
                    <a:cubicBezTo>
                      <a:pt x="209" y="222"/>
                      <a:pt x="222" y="209"/>
                      <a:pt x="222" y="193"/>
                    </a:cubicBezTo>
                    <a:moveTo>
                      <a:pt x="180" y="193"/>
                    </a:moveTo>
                    <a:cubicBezTo>
                      <a:pt x="180" y="186"/>
                      <a:pt x="186" y="180"/>
                      <a:pt x="193" y="180"/>
                    </a:cubicBezTo>
                    <a:cubicBezTo>
                      <a:pt x="200" y="180"/>
                      <a:pt x="206" y="186"/>
                      <a:pt x="206" y="193"/>
                    </a:cubicBezTo>
                    <a:cubicBezTo>
                      <a:pt x="206" y="200"/>
                      <a:pt x="200" y="206"/>
                      <a:pt x="193" y="206"/>
                    </a:cubicBezTo>
                    <a:cubicBezTo>
                      <a:pt x="186" y="206"/>
                      <a:pt x="180" y="200"/>
                      <a:pt x="180" y="19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20" name="Freeform 3"/>
              <p:cNvSpPr>
                <a:spLocks noChangeAspect="1" noEditPoints="1"/>
              </p:cNvSpPr>
              <p:nvPr/>
            </p:nvSpPr>
            <p:spPr bwMode="auto">
              <a:xfrm>
                <a:off x="6142117" y="3595005"/>
                <a:ext cx="179792" cy="153006"/>
              </a:xfrm>
              <a:custGeom>
                <a:avLst/>
                <a:gdLst>
                  <a:gd name="T0" fmla="*/ 2147483647 w 454"/>
                  <a:gd name="T1" fmla="*/ 2147483647 h 395"/>
                  <a:gd name="T2" fmla="*/ 2147483647 w 454"/>
                  <a:gd name="T3" fmla="*/ 2147483647 h 395"/>
                  <a:gd name="T4" fmla="*/ 2147483647 w 454"/>
                  <a:gd name="T5" fmla="*/ 2147483647 h 395"/>
                  <a:gd name="T6" fmla="*/ 2147483647 w 454"/>
                  <a:gd name="T7" fmla="*/ 2147483647 h 395"/>
                  <a:gd name="T8" fmla="*/ 2147483647 w 454"/>
                  <a:gd name="T9" fmla="*/ 2147483647 h 395"/>
                  <a:gd name="T10" fmla="*/ 2147483647 w 454"/>
                  <a:gd name="T11" fmla="*/ 2147483647 h 395"/>
                  <a:gd name="T12" fmla="*/ 2147483647 w 454"/>
                  <a:gd name="T13" fmla="*/ 2147483647 h 395"/>
                  <a:gd name="T14" fmla="*/ 2147483647 w 454"/>
                  <a:gd name="T15" fmla="*/ 2147483647 h 395"/>
                  <a:gd name="T16" fmla="*/ 0 w 454"/>
                  <a:gd name="T17" fmla="*/ 2147483647 h 395"/>
                  <a:gd name="T18" fmla="*/ 2147483647 w 454"/>
                  <a:gd name="T19" fmla="*/ 2147483647 h 395"/>
                  <a:gd name="T20" fmla="*/ 2147483647 w 454"/>
                  <a:gd name="T21" fmla="*/ 2147483647 h 395"/>
                  <a:gd name="T22" fmla="*/ 2147483647 w 454"/>
                  <a:gd name="T23" fmla="*/ 2147483647 h 395"/>
                  <a:gd name="T24" fmla="*/ 2147483647 w 454"/>
                  <a:gd name="T25" fmla="*/ 2147483647 h 395"/>
                  <a:gd name="T26" fmla="*/ 2147483647 w 454"/>
                  <a:gd name="T27" fmla="*/ 2147483647 h 395"/>
                  <a:gd name="T28" fmla="*/ 2147483647 w 454"/>
                  <a:gd name="T29" fmla="*/ 2147483647 h 395"/>
                  <a:gd name="T30" fmla="*/ 2147483647 w 454"/>
                  <a:gd name="T31" fmla="*/ 2147483647 h 395"/>
                  <a:gd name="T32" fmla="*/ 2147483647 w 454"/>
                  <a:gd name="T33" fmla="*/ 2147483647 h 395"/>
                  <a:gd name="T34" fmla="*/ 2147483647 w 454"/>
                  <a:gd name="T35" fmla="*/ 2147483647 h 395"/>
                  <a:gd name="T36" fmla="*/ 2147483647 w 454"/>
                  <a:gd name="T37" fmla="*/ 2147483647 h 395"/>
                  <a:gd name="T38" fmla="*/ 2147483647 w 454"/>
                  <a:gd name="T39" fmla="*/ 2147483647 h 395"/>
                  <a:gd name="T40" fmla="*/ 2147483647 w 454"/>
                  <a:gd name="T41" fmla="*/ 2147483647 h 395"/>
                  <a:gd name="T42" fmla="*/ 2147483647 w 454"/>
                  <a:gd name="T43" fmla="*/ 2147483647 h 395"/>
                  <a:gd name="T44" fmla="*/ 2147483647 w 454"/>
                  <a:gd name="T45" fmla="*/ 2147483647 h 395"/>
                  <a:gd name="T46" fmla="*/ 2147483647 w 454"/>
                  <a:gd name="T47" fmla="*/ 2147483647 h 395"/>
                  <a:gd name="T48" fmla="*/ 2147483647 w 454"/>
                  <a:gd name="T49" fmla="*/ 2147483647 h 395"/>
                  <a:gd name="T50" fmla="*/ 2147483647 w 454"/>
                  <a:gd name="T51" fmla="*/ 2147483647 h 395"/>
                  <a:gd name="T52" fmla="*/ 2147483647 w 454"/>
                  <a:gd name="T53" fmla="*/ 2147483647 h 395"/>
                  <a:gd name="T54" fmla="*/ 2147483647 w 454"/>
                  <a:gd name="T55" fmla="*/ 2147483647 h 395"/>
                  <a:gd name="T56" fmla="*/ 2147483647 w 454"/>
                  <a:gd name="T57" fmla="*/ 2147483647 h 395"/>
                  <a:gd name="T58" fmla="*/ 2147483647 w 454"/>
                  <a:gd name="T59" fmla="*/ 2147483647 h 395"/>
                  <a:gd name="T60" fmla="*/ 2147483647 w 454"/>
                  <a:gd name="T61" fmla="*/ 2147483647 h 395"/>
                  <a:gd name="T62" fmla="*/ 2147483647 w 454"/>
                  <a:gd name="T63" fmla="*/ 2147483647 h 395"/>
                  <a:gd name="T64" fmla="*/ 2147483647 w 454"/>
                  <a:gd name="T65" fmla="*/ 2147483647 h 39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454" h="395">
                    <a:moveTo>
                      <a:pt x="446" y="82"/>
                    </a:moveTo>
                    <a:cubicBezTo>
                      <a:pt x="436" y="76"/>
                      <a:pt x="351" y="28"/>
                      <a:pt x="350" y="28"/>
                    </a:cubicBezTo>
                    <a:cubicBezTo>
                      <a:pt x="347" y="26"/>
                      <a:pt x="342" y="27"/>
                      <a:pt x="339" y="31"/>
                    </a:cubicBezTo>
                    <a:cubicBezTo>
                      <a:pt x="337" y="35"/>
                      <a:pt x="339" y="39"/>
                      <a:pt x="342" y="42"/>
                    </a:cubicBezTo>
                    <a:cubicBezTo>
                      <a:pt x="343" y="42"/>
                      <a:pt x="415" y="83"/>
                      <a:pt x="434" y="93"/>
                    </a:cubicBezTo>
                    <a:cubicBezTo>
                      <a:pt x="426" y="98"/>
                      <a:pt x="407" y="109"/>
                      <a:pt x="382" y="123"/>
                    </a:cubicBezTo>
                    <a:cubicBezTo>
                      <a:pt x="381" y="123"/>
                      <a:pt x="381" y="123"/>
                      <a:pt x="381" y="123"/>
                    </a:cubicBezTo>
                    <a:cubicBezTo>
                      <a:pt x="245" y="47"/>
                      <a:pt x="245" y="47"/>
                      <a:pt x="245" y="47"/>
                    </a:cubicBezTo>
                    <a:cubicBezTo>
                      <a:pt x="292" y="20"/>
                      <a:pt x="292" y="20"/>
                      <a:pt x="292" y="20"/>
                    </a:cubicBezTo>
                    <a:cubicBezTo>
                      <a:pt x="297" y="17"/>
                      <a:pt x="301" y="20"/>
                      <a:pt x="302" y="20"/>
                    </a:cubicBezTo>
                    <a:cubicBezTo>
                      <a:pt x="302" y="20"/>
                      <a:pt x="302" y="20"/>
                      <a:pt x="302" y="20"/>
                    </a:cubicBezTo>
                    <a:cubicBezTo>
                      <a:pt x="316" y="27"/>
                      <a:pt x="316" y="27"/>
                      <a:pt x="316" y="27"/>
                    </a:cubicBezTo>
                    <a:cubicBezTo>
                      <a:pt x="320" y="30"/>
                      <a:pt x="325" y="28"/>
                      <a:pt x="327" y="24"/>
                    </a:cubicBezTo>
                    <a:cubicBezTo>
                      <a:pt x="329" y="20"/>
                      <a:pt x="328" y="16"/>
                      <a:pt x="324" y="13"/>
                    </a:cubicBezTo>
                    <a:cubicBezTo>
                      <a:pt x="310" y="6"/>
                      <a:pt x="310" y="6"/>
                      <a:pt x="310" y="6"/>
                    </a:cubicBezTo>
                    <a:cubicBezTo>
                      <a:pt x="306" y="3"/>
                      <a:pt x="295" y="0"/>
                      <a:pt x="284" y="6"/>
                    </a:cubicBezTo>
                    <a:cubicBezTo>
                      <a:pt x="9" y="163"/>
                      <a:pt x="9" y="163"/>
                      <a:pt x="9" y="163"/>
                    </a:cubicBezTo>
                    <a:cubicBezTo>
                      <a:pt x="5" y="165"/>
                      <a:pt x="0" y="169"/>
                      <a:pt x="0" y="175"/>
                    </a:cubicBezTo>
                    <a:cubicBezTo>
                      <a:pt x="0" y="178"/>
                      <a:pt x="1" y="183"/>
                      <a:pt x="9" y="188"/>
                    </a:cubicBezTo>
                    <a:cubicBezTo>
                      <a:pt x="73" y="224"/>
                      <a:pt x="73" y="224"/>
                      <a:pt x="73" y="224"/>
                    </a:cubicBezTo>
                    <a:cubicBezTo>
                      <a:pt x="73" y="295"/>
                      <a:pt x="73" y="295"/>
                      <a:pt x="73" y="295"/>
                    </a:cubicBezTo>
                    <a:cubicBezTo>
                      <a:pt x="73" y="300"/>
                      <a:pt x="75" y="309"/>
                      <a:pt x="84" y="314"/>
                    </a:cubicBezTo>
                    <a:cubicBezTo>
                      <a:pt x="219" y="392"/>
                      <a:pt x="219" y="392"/>
                      <a:pt x="219" y="392"/>
                    </a:cubicBezTo>
                    <a:cubicBezTo>
                      <a:pt x="219" y="392"/>
                      <a:pt x="219" y="392"/>
                      <a:pt x="219" y="392"/>
                    </a:cubicBezTo>
                    <a:cubicBezTo>
                      <a:pt x="223" y="394"/>
                      <a:pt x="227" y="395"/>
                      <a:pt x="231" y="395"/>
                    </a:cubicBezTo>
                    <a:cubicBezTo>
                      <a:pt x="231" y="395"/>
                      <a:pt x="231" y="395"/>
                      <a:pt x="231" y="395"/>
                    </a:cubicBezTo>
                    <a:cubicBezTo>
                      <a:pt x="231" y="395"/>
                      <a:pt x="231" y="395"/>
                      <a:pt x="231" y="395"/>
                    </a:cubicBezTo>
                    <a:cubicBezTo>
                      <a:pt x="238" y="395"/>
                      <a:pt x="242" y="393"/>
                      <a:pt x="243" y="392"/>
                    </a:cubicBezTo>
                    <a:cubicBezTo>
                      <a:pt x="243" y="392"/>
                      <a:pt x="244" y="392"/>
                      <a:pt x="244" y="392"/>
                    </a:cubicBezTo>
                    <a:cubicBezTo>
                      <a:pt x="378" y="314"/>
                      <a:pt x="378" y="314"/>
                      <a:pt x="378" y="314"/>
                    </a:cubicBezTo>
                    <a:cubicBezTo>
                      <a:pt x="383" y="312"/>
                      <a:pt x="389" y="306"/>
                      <a:pt x="389" y="295"/>
                    </a:cubicBezTo>
                    <a:cubicBezTo>
                      <a:pt x="389" y="137"/>
                      <a:pt x="389" y="137"/>
                      <a:pt x="389" y="137"/>
                    </a:cubicBezTo>
                    <a:cubicBezTo>
                      <a:pt x="420" y="120"/>
                      <a:pt x="442" y="107"/>
                      <a:pt x="445" y="105"/>
                    </a:cubicBezTo>
                    <a:cubicBezTo>
                      <a:pt x="449" y="103"/>
                      <a:pt x="454" y="99"/>
                      <a:pt x="454" y="94"/>
                    </a:cubicBezTo>
                    <a:cubicBezTo>
                      <a:pt x="454" y="91"/>
                      <a:pt x="453" y="86"/>
                      <a:pt x="446" y="82"/>
                    </a:cubicBezTo>
                    <a:close/>
                    <a:moveTo>
                      <a:pt x="20" y="175"/>
                    </a:moveTo>
                    <a:cubicBezTo>
                      <a:pt x="81" y="140"/>
                      <a:pt x="81" y="140"/>
                      <a:pt x="81" y="140"/>
                    </a:cubicBezTo>
                    <a:cubicBezTo>
                      <a:pt x="215" y="218"/>
                      <a:pt x="215" y="218"/>
                      <a:pt x="215" y="218"/>
                    </a:cubicBezTo>
                    <a:cubicBezTo>
                      <a:pt x="185" y="235"/>
                      <a:pt x="163" y="248"/>
                      <a:pt x="161" y="249"/>
                    </a:cubicBezTo>
                    <a:cubicBezTo>
                      <a:pt x="157" y="251"/>
                      <a:pt x="151" y="249"/>
                      <a:pt x="151" y="249"/>
                    </a:cubicBezTo>
                    <a:cubicBezTo>
                      <a:pt x="151" y="249"/>
                      <a:pt x="151" y="249"/>
                      <a:pt x="151" y="249"/>
                    </a:cubicBezTo>
                    <a:lnTo>
                      <a:pt x="20" y="175"/>
                    </a:lnTo>
                    <a:close/>
                    <a:moveTo>
                      <a:pt x="223" y="376"/>
                    </a:moveTo>
                    <a:cubicBezTo>
                      <a:pt x="92" y="300"/>
                      <a:pt x="92" y="300"/>
                      <a:pt x="92" y="300"/>
                    </a:cubicBezTo>
                    <a:cubicBezTo>
                      <a:pt x="89" y="299"/>
                      <a:pt x="89" y="296"/>
                      <a:pt x="89" y="296"/>
                    </a:cubicBezTo>
                    <a:cubicBezTo>
                      <a:pt x="89" y="233"/>
                      <a:pt x="89" y="233"/>
                      <a:pt x="89" y="233"/>
                    </a:cubicBezTo>
                    <a:cubicBezTo>
                      <a:pt x="144" y="263"/>
                      <a:pt x="144" y="263"/>
                      <a:pt x="144" y="263"/>
                    </a:cubicBezTo>
                    <a:cubicBezTo>
                      <a:pt x="146" y="264"/>
                      <a:pt x="151" y="266"/>
                      <a:pt x="157" y="266"/>
                    </a:cubicBezTo>
                    <a:cubicBezTo>
                      <a:pt x="161" y="266"/>
                      <a:pt x="165" y="265"/>
                      <a:pt x="169" y="263"/>
                    </a:cubicBezTo>
                    <a:cubicBezTo>
                      <a:pt x="171" y="261"/>
                      <a:pt x="193" y="249"/>
                      <a:pt x="223" y="232"/>
                    </a:cubicBezTo>
                    <a:lnTo>
                      <a:pt x="223" y="376"/>
                    </a:lnTo>
                    <a:close/>
                    <a:moveTo>
                      <a:pt x="223" y="204"/>
                    </a:moveTo>
                    <a:cubicBezTo>
                      <a:pt x="97" y="131"/>
                      <a:pt x="97" y="131"/>
                      <a:pt x="97" y="131"/>
                    </a:cubicBezTo>
                    <a:cubicBezTo>
                      <a:pt x="223" y="59"/>
                      <a:pt x="223" y="59"/>
                      <a:pt x="223" y="59"/>
                    </a:cubicBezTo>
                    <a:lnTo>
                      <a:pt x="223" y="204"/>
                    </a:lnTo>
                    <a:close/>
                    <a:moveTo>
                      <a:pt x="239" y="63"/>
                    </a:moveTo>
                    <a:cubicBezTo>
                      <a:pt x="364" y="132"/>
                      <a:pt x="364" y="132"/>
                      <a:pt x="364" y="132"/>
                    </a:cubicBezTo>
                    <a:cubicBezTo>
                      <a:pt x="239" y="204"/>
                      <a:pt x="239" y="204"/>
                      <a:pt x="239" y="204"/>
                    </a:cubicBezTo>
                    <a:lnTo>
                      <a:pt x="239" y="63"/>
                    </a:lnTo>
                    <a:close/>
                    <a:moveTo>
                      <a:pt x="373" y="295"/>
                    </a:moveTo>
                    <a:cubicBezTo>
                      <a:pt x="373" y="299"/>
                      <a:pt x="372" y="300"/>
                      <a:pt x="371" y="300"/>
                    </a:cubicBezTo>
                    <a:cubicBezTo>
                      <a:pt x="371" y="300"/>
                      <a:pt x="371" y="300"/>
                      <a:pt x="371" y="300"/>
                    </a:cubicBezTo>
                    <a:cubicBezTo>
                      <a:pt x="239" y="376"/>
                      <a:pt x="239" y="376"/>
                      <a:pt x="239" y="376"/>
                    </a:cubicBezTo>
                    <a:cubicBezTo>
                      <a:pt x="239" y="223"/>
                      <a:pt x="239" y="223"/>
                      <a:pt x="239" y="223"/>
                    </a:cubicBezTo>
                    <a:cubicBezTo>
                      <a:pt x="280" y="199"/>
                      <a:pt x="332" y="170"/>
                      <a:pt x="373" y="146"/>
                    </a:cubicBezTo>
                    <a:lnTo>
                      <a:pt x="373" y="2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21" name="Freeform 3"/>
              <p:cNvSpPr>
                <a:spLocks noChangeAspect="1" noEditPoints="1"/>
              </p:cNvSpPr>
              <p:nvPr/>
            </p:nvSpPr>
            <p:spPr bwMode="auto">
              <a:xfrm>
                <a:off x="6385696" y="3122812"/>
                <a:ext cx="156671" cy="146119"/>
              </a:xfrm>
              <a:custGeom>
                <a:avLst/>
                <a:gdLst>
                  <a:gd name="T0" fmla="*/ 2147483647 w 396"/>
                  <a:gd name="T1" fmla="*/ 2147483647 h 377"/>
                  <a:gd name="T2" fmla="*/ 2147483647 w 396"/>
                  <a:gd name="T3" fmla="*/ 2147483647 h 377"/>
                  <a:gd name="T4" fmla="*/ 2147483647 w 396"/>
                  <a:gd name="T5" fmla="*/ 2147483647 h 377"/>
                  <a:gd name="T6" fmla="*/ 2147483647 w 396"/>
                  <a:gd name="T7" fmla="*/ 2147483647 h 377"/>
                  <a:gd name="T8" fmla="*/ 2147483647 w 396"/>
                  <a:gd name="T9" fmla="*/ 2147483647 h 377"/>
                  <a:gd name="T10" fmla="*/ 2147483647 w 396"/>
                  <a:gd name="T11" fmla="*/ 2147483647 h 377"/>
                  <a:gd name="T12" fmla="*/ 2147483647 w 396"/>
                  <a:gd name="T13" fmla="*/ 2147483647 h 377"/>
                  <a:gd name="T14" fmla="*/ 2147483647 w 396"/>
                  <a:gd name="T15" fmla="*/ 2147483647 h 377"/>
                  <a:gd name="T16" fmla="*/ 2147483647 w 396"/>
                  <a:gd name="T17" fmla="*/ 2147483647 h 377"/>
                  <a:gd name="T18" fmla="*/ 2147483647 w 396"/>
                  <a:gd name="T19" fmla="*/ 2147483647 h 377"/>
                  <a:gd name="T20" fmla="*/ 2147483647 w 396"/>
                  <a:gd name="T21" fmla="*/ 2147483647 h 377"/>
                  <a:gd name="T22" fmla="*/ 2147483647 w 396"/>
                  <a:gd name="T23" fmla="*/ 2147483647 h 377"/>
                  <a:gd name="T24" fmla="*/ 2147483647 w 396"/>
                  <a:gd name="T25" fmla="*/ 2147483647 h 377"/>
                  <a:gd name="T26" fmla="*/ 2147483647 w 396"/>
                  <a:gd name="T27" fmla="*/ 2147483647 h 377"/>
                  <a:gd name="T28" fmla="*/ 2147483647 w 396"/>
                  <a:gd name="T29" fmla="*/ 2147483647 h 377"/>
                  <a:gd name="T30" fmla="*/ 2147483647 w 396"/>
                  <a:gd name="T31" fmla="*/ 2147483647 h 377"/>
                  <a:gd name="T32" fmla="*/ 2147483647 w 396"/>
                  <a:gd name="T33" fmla="*/ 2147483647 h 377"/>
                  <a:gd name="T34" fmla="*/ 2147483647 w 396"/>
                  <a:gd name="T35" fmla="*/ 2147483647 h 377"/>
                  <a:gd name="T36" fmla="*/ 2147483647 w 396"/>
                  <a:gd name="T37" fmla="*/ 2147483647 h 377"/>
                  <a:gd name="T38" fmla="*/ 2147483647 w 396"/>
                  <a:gd name="T39" fmla="*/ 2147483647 h 377"/>
                  <a:gd name="T40" fmla="*/ 2147483647 w 396"/>
                  <a:gd name="T41" fmla="*/ 2147483647 h 377"/>
                  <a:gd name="T42" fmla="*/ 2147483647 w 396"/>
                  <a:gd name="T43" fmla="*/ 2147483647 h 377"/>
                  <a:gd name="T44" fmla="*/ 2147483647 w 396"/>
                  <a:gd name="T45" fmla="*/ 2147483647 h 377"/>
                  <a:gd name="T46" fmla="*/ 2147483647 w 396"/>
                  <a:gd name="T47" fmla="*/ 2147483647 h 377"/>
                  <a:gd name="T48" fmla="*/ 2147483647 w 396"/>
                  <a:gd name="T49" fmla="*/ 2147483647 h 377"/>
                  <a:gd name="T50" fmla="*/ 2147483647 w 396"/>
                  <a:gd name="T51" fmla="*/ 2147483647 h 377"/>
                  <a:gd name="T52" fmla="*/ 2147483647 w 396"/>
                  <a:gd name="T53" fmla="*/ 2147483647 h 377"/>
                  <a:gd name="T54" fmla="*/ 2147483647 w 396"/>
                  <a:gd name="T55" fmla="*/ 2147483647 h 377"/>
                  <a:gd name="T56" fmla="*/ 2147483647 w 396"/>
                  <a:gd name="T57" fmla="*/ 2147483647 h 377"/>
                  <a:gd name="T58" fmla="*/ 2147483647 w 396"/>
                  <a:gd name="T59" fmla="*/ 2147483647 h 377"/>
                  <a:gd name="T60" fmla="*/ 2147483647 w 396"/>
                  <a:gd name="T61" fmla="*/ 2147483647 h 377"/>
                  <a:gd name="T62" fmla="*/ 2147483647 w 396"/>
                  <a:gd name="T63" fmla="*/ 2147483647 h 377"/>
                  <a:gd name="T64" fmla="*/ 2147483647 w 396"/>
                  <a:gd name="T65" fmla="*/ 2147483647 h 377"/>
                  <a:gd name="T66" fmla="*/ 2147483647 w 396"/>
                  <a:gd name="T67" fmla="*/ 2147483647 h 377"/>
                  <a:gd name="T68" fmla="*/ 2147483647 w 396"/>
                  <a:gd name="T69" fmla="*/ 2147483647 h 377"/>
                  <a:gd name="T70" fmla="*/ 2147483647 w 396"/>
                  <a:gd name="T71" fmla="*/ 2147483647 h 377"/>
                  <a:gd name="T72" fmla="*/ 2147483647 w 396"/>
                  <a:gd name="T73" fmla="*/ 2147483647 h 377"/>
                  <a:gd name="T74" fmla="*/ 2147483647 w 396"/>
                  <a:gd name="T75" fmla="*/ 2147483647 h 377"/>
                  <a:gd name="T76" fmla="*/ 2147483647 w 396"/>
                  <a:gd name="T77" fmla="*/ 2147483647 h 377"/>
                  <a:gd name="T78" fmla="*/ 2147483647 w 396"/>
                  <a:gd name="T79" fmla="*/ 2147483647 h 377"/>
                  <a:gd name="T80" fmla="*/ 2147483647 w 396"/>
                  <a:gd name="T81" fmla="*/ 2147483647 h 377"/>
                  <a:gd name="T82" fmla="*/ 2147483647 w 396"/>
                  <a:gd name="T83" fmla="*/ 2147483647 h 377"/>
                  <a:gd name="T84" fmla="*/ 2147483647 w 396"/>
                  <a:gd name="T85" fmla="*/ 2147483647 h 377"/>
                  <a:gd name="T86" fmla="*/ 2147483647 w 396"/>
                  <a:gd name="T87" fmla="*/ 2147483647 h 377"/>
                  <a:gd name="T88" fmla="*/ 2147483647 w 396"/>
                  <a:gd name="T89" fmla="*/ 2147483647 h 377"/>
                  <a:gd name="T90" fmla="*/ 2147483647 w 396"/>
                  <a:gd name="T91" fmla="*/ 2147483647 h 377"/>
                  <a:gd name="T92" fmla="*/ 2147483647 w 396"/>
                  <a:gd name="T93" fmla="*/ 2147483647 h 377"/>
                  <a:gd name="T94" fmla="*/ 2147483647 w 396"/>
                  <a:gd name="T95" fmla="*/ 2147483647 h 377"/>
                  <a:gd name="T96" fmla="*/ 2147483647 w 396"/>
                  <a:gd name="T97" fmla="*/ 2147483647 h 377"/>
                  <a:gd name="T98" fmla="*/ 2147483647 w 396"/>
                  <a:gd name="T99" fmla="*/ 2147483647 h 377"/>
                  <a:gd name="T100" fmla="*/ 2147483647 w 396"/>
                  <a:gd name="T101" fmla="*/ 2147483647 h 377"/>
                  <a:gd name="T102" fmla="*/ 2147483647 w 396"/>
                  <a:gd name="T103" fmla="*/ 2147483647 h 377"/>
                  <a:gd name="T104" fmla="*/ 2147483647 w 396"/>
                  <a:gd name="T105" fmla="*/ 2147483647 h 377"/>
                  <a:gd name="T106" fmla="*/ 2147483647 w 396"/>
                  <a:gd name="T107" fmla="*/ 2147483647 h 37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396" h="377">
                    <a:moveTo>
                      <a:pt x="388" y="64"/>
                    </a:moveTo>
                    <a:cubicBezTo>
                      <a:pt x="392" y="64"/>
                      <a:pt x="396" y="60"/>
                      <a:pt x="396" y="56"/>
                    </a:cubicBezTo>
                    <a:cubicBezTo>
                      <a:pt x="396" y="39"/>
                      <a:pt x="396" y="39"/>
                      <a:pt x="396" y="39"/>
                    </a:cubicBezTo>
                    <a:cubicBezTo>
                      <a:pt x="396" y="28"/>
                      <a:pt x="389" y="19"/>
                      <a:pt x="377" y="17"/>
                    </a:cubicBezTo>
                    <a:cubicBezTo>
                      <a:pt x="279" y="0"/>
                      <a:pt x="211" y="31"/>
                      <a:pt x="204" y="35"/>
                    </a:cubicBezTo>
                    <a:cubicBezTo>
                      <a:pt x="201" y="36"/>
                      <a:pt x="200" y="37"/>
                      <a:pt x="198" y="37"/>
                    </a:cubicBezTo>
                    <a:cubicBezTo>
                      <a:pt x="197" y="37"/>
                      <a:pt x="195" y="36"/>
                      <a:pt x="193" y="35"/>
                    </a:cubicBezTo>
                    <a:cubicBezTo>
                      <a:pt x="185" y="31"/>
                      <a:pt x="118" y="0"/>
                      <a:pt x="19" y="17"/>
                    </a:cubicBezTo>
                    <a:cubicBezTo>
                      <a:pt x="7" y="19"/>
                      <a:pt x="1" y="28"/>
                      <a:pt x="1" y="39"/>
                    </a:cubicBezTo>
                    <a:cubicBezTo>
                      <a:pt x="1" y="254"/>
                      <a:pt x="1" y="254"/>
                      <a:pt x="1" y="254"/>
                    </a:cubicBezTo>
                    <a:cubicBezTo>
                      <a:pt x="1" y="261"/>
                      <a:pt x="3" y="267"/>
                      <a:pt x="7" y="270"/>
                    </a:cubicBezTo>
                    <a:cubicBezTo>
                      <a:pt x="9" y="273"/>
                      <a:pt x="14" y="275"/>
                      <a:pt x="21" y="275"/>
                    </a:cubicBezTo>
                    <a:cubicBezTo>
                      <a:pt x="109" y="270"/>
                      <a:pt x="178" y="292"/>
                      <a:pt x="190" y="296"/>
                    </a:cubicBezTo>
                    <a:cubicBezTo>
                      <a:pt x="193" y="297"/>
                      <a:pt x="196" y="297"/>
                      <a:pt x="198" y="297"/>
                    </a:cubicBezTo>
                    <a:cubicBezTo>
                      <a:pt x="201" y="297"/>
                      <a:pt x="203" y="297"/>
                      <a:pt x="206" y="296"/>
                    </a:cubicBezTo>
                    <a:cubicBezTo>
                      <a:pt x="219" y="292"/>
                      <a:pt x="287" y="270"/>
                      <a:pt x="375" y="275"/>
                    </a:cubicBezTo>
                    <a:cubicBezTo>
                      <a:pt x="382" y="275"/>
                      <a:pt x="387" y="273"/>
                      <a:pt x="390" y="270"/>
                    </a:cubicBezTo>
                    <a:cubicBezTo>
                      <a:pt x="394" y="267"/>
                      <a:pt x="396" y="261"/>
                      <a:pt x="396" y="254"/>
                    </a:cubicBezTo>
                    <a:cubicBezTo>
                      <a:pt x="396" y="88"/>
                      <a:pt x="396" y="88"/>
                      <a:pt x="396" y="88"/>
                    </a:cubicBezTo>
                    <a:cubicBezTo>
                      <a:pt x="396" y="83"/>
                      <a:pt x="392" y="80"/>
                      <a:pt x="388" y="80"/>
                    </a:cubicBezTo>
                    <a:cubicBezTo>
                      <a:pt x="383" y="80"/>
                      <a:pt x="380" y="83"/>
                      <a:pt x="380" y="88"/>
                    </a:cubicBezTo>
                    <a:cubicBezTo>
                      <a:pt x="380" y="254"/>
                      <a:pt x="380" y="254"/>
                      <a:pt x="380" y="254"/>
                    </a:cubicBezTo>
                    <a:cubicBezTo>
                      <a:pt x="380" y="257"/>
                      <a:pt x="379" y="258"/>
                      <a:pt x="379" y="258"/>
                    </a:cubicBezTo>
                    <a:cubicBezTo>
                      <a:pt x="379" y="258"/>
                      <a:pt x="378" y="259"/>
                      <a:pt x="376" y="259"/>
                    </a:cubicBezTo>
                    <a:cubicBezTo>
                      <a:pt x="285" y="254"/>
                      <a:pt x="214" y="276"/>
                      <a:pt x="201" y="281"/>
                    </a:cubicBezTo>
                    <a:cubicBezTo>
                      <a:pt x="199" y="282"/>
                      <a:pt x="197" y="282"/>
                      <a:pt x="196" y="281"/>
                    </a:cubicBezTo>
                    <a:cubicBezTo>
                      <a:pt x="182" y="276"/>
                      <a:pt x="111" y="254"/>
                      <a:pt x="20" y="259"/>
                    </a:cubicBezTo>
                    <a:cubicBezTo>
                      <a:pt x="18" y="259"/>
                      <a:pt x="17" y="258"/>
                      <a:pt x="17" y="258"/>
                    </a:cubicBezTo>
                    <a:cubicBezTo>
                      <a:pt x="17" y="258"/>
                      <a:pt x="17" y="257"/>
                      <a:pt x="17" y="254"/>
                    </a:cubicBezTo>
                    <a:cubicBezTo>
                      <a:pt x="17" y="39"/>
                      <a:pt x="17" y="39"/>
                      <a:pt x="17" y="39"/>
                    </a:cubicBezTo>
                    <a:cubicBezTo>
                      <a:pt x="17" y="35"/>
                      <a:pt x="18" y="34"/>
                      <a:pt x="22" y="33"/>
                    </a:cubicBezTo>
                    <a:cubicBezTo>
                      <a:pt x="115" y="16"/>
                      <a:pt x="179" y="46"/>
                      <a:pt x="186" y="49"/>
                    </a:cubicBezTo>
                    <a:cubicBezTo>
                      <a:pt x="192" y="52"/>
                      <a:pt x="195" y="53"/>
                      <a:pt x="195" y="53"/>
                    </a:cubicBezTo>
                    <a:cubicBezTo>
                      <a:pt x="197" y="54"/>
                      <a:pt x="199" y="54"/>
                      <a:pt x="201" y="53"/>
                    </a:cubicBezTo>
                    <a:cubicBezTo>
                      <a:pt x="201" y="53"/>
                      <a:pt x="205" y="52"/>
                      <a:pt x="211" y="49"/>
                    </a:cubicBezTo>
                    <a:cubicBezTo>
                      <a:pt x="217" y="46"/>
                      <a:pt x="281" y="16"/>
                      <a:pt x="375" y="33"/>
                    </a:cubicBezTo>
                    <a:cubicBezTo>
                      <a:pt x="378" y="34"/>
                      <a:pt x="380" y="35"/>
                      <a:pt x="380" y="39"/>
                    </a:cubicBezTo>
                    <a:cubicBezTo>
                      <a:pt x="380" y="56"/>
                      <a:pt x="380" y="56"/>
                      <a:pt x="380" y="56"/>
                    </a:cubicBezTo>
                    <a:cubicBezTo>
                      <a:pt x="380" y="60"/>
                      <a:pt x="383" y="64"/>
                      <a:pt x="388" y="64"/>
                    </a:cubicBezTo>
                    <a:moveTo>
                      <a:pt x="389" y="299"/>
                    </a:moveTo>
                    <a:cubicBezTo>
                      <a:pt x="295" y="291"/>
                      <a:pt x="221" y="314"/>
                      <a:pt x="201" y="321"/>
                    </a:cubicBezTo>
                    <a:cubicBezTo>
                      <a:pt x="199" y="321"/>
                      <a:pt x="197" y="321"/>
                      <a:pt x="196" y="321"/>
                    </a:cubicBezTo>
                    <a:cubicBezTo>
                      <a:pt x="175" y="314"/>
                      <a:pt x="101" y="291"/>
                      <a:pt x="8" y="299"/>
                    </a:cubicBezTo>
                    <a:cubicBezTo>
                      <a:pt x="3" y="300"/>
                      <a:pt x="0" y="304"/>
                      <a:pt x="1" y="308"/>
                    </a:cubicBezTo>
                    <a:cubicBezTo>
                      <a:pt x="1" y="313"/>
                      <a:pt x="5" y="316"/>
                      <a:pt x="9" y="315"/>
                    </a:cubicBezTo>
                    <a:cubicBezTo>
                      <a:pt x="99" y="307"/>
                      <a:pt x="171" y="329"/>
                      <a:pt x="190" y="336"/>
                    </a:cubicBezTo>
                    <a:cubicBezTo>
                      <a:pt x="193" y="337"/>
                      <a:pt x="196" y="337"/>
                      <a:pt x="198" y="337"/>
                    </a:cubicBezTo>
                    <a:cubicBezTo>
                      <a:pt x="201" y="337"/>
                      <a:pt x="203" y="337"/>
                      <a:pt x="206" y="336"/>
                    </a:cubicBezTo>
                    <a:cubicBezTo>
                      <a:pt x="226" y="329"/>
                      <a:pt x="297" y="307"/>
                      <a:pt x="387" y="315"/>
                    </a:cubicBezTo>
                    <a:cubicBezTo>
                      <a:pt x="392" y="316"/>
                      <a:pt x="395" y="313"/>
                      <a:pt x="396" y="308"/>
                    </a:cubicBezTo>
                    <a:cubicBezTo>
                      <a:pt x="396" y="304"/>
                      <a:pt x="393" y="300"/>
                      <a:pt x="389" y="299"/>
                    </a:cubicBezTo>
                    <a:moveTo>
                      <a:pt x="389" y="339"/>
                    </a:moveTo>
                    <a:cubicBezTo>
                      <a:pt x="295" y="331"/>
                      <a:pt x="221" y="354"/>
                      <a:pt x="200" y="361"/>
                    </a:cubicBezTo>
                    <a:cubicBezTo>
                      <a:pt x="199" y="361"/>
                      <a:pt x="197" y="361"/>
                      <a:pt x="196" y="361"/>
                    </a:cubicBezTo>
                    <a:cubicBezTo>
                      <a:pt x="176" y="354"/>
                      <a:pt x="101" y="331"/>
                      <a:pt x="8" y="339"/>
                    </a:cubicBezTo>
                    <a:cubicBezTo>
                      <a:pt x="3" y="340"/>
                      <a:pt x="0" y="344"/>
                      <a:pt x="1" y="348"/>
                    </a:cubicBezTo>
                    <a:cubicBezTo>
                      <a:pt x="1" y="352"/>
                      <a:pt x="5" y="356"/>
                      <a:pt x="9" y="355"/>
                    </a:cubicBezTo>
                    <a:cubicBezTo>
                      <a:pt x="100" y="347"/>
                      <a:pt x="171" y="369"/>
                      <a:pt x="191" y="376"/>
                    </a:cubicBezTo>
                    <a:cubicBezTo>
                      <a:pt x="193" y="377"/>
                      <a:pt x="196" y="377"/>
                      <a:pt x="198" y="377"/>
                    </a:cubicBezTo>
                    <a:cubicBezTo>
                      <a:pt x="201" y="377"/>
                      <a:pt x="203" y="377"/>
                      <a:pt x="206" y="376"/>
                    </a:cubicBezTo>
                    <a:cubicBezTo>
                      <a:pt x="225" y="369"/>
                      <a:pt x="297" y="347"/>
                      <a:pt x="387" y="355"/>
                    </a:cubicBezTo>
                    <a:cubicBezTo>
                      <a:pt x="392" y="356"/>
                      <a:pt x="395" y="352"/>
                      <a:pt x="396" y="348"/>
                    </a:cubicBezTo>
                    <a:cubicBezTo>
                      <a:pt x="396" y="344"/>
                      <a:pt x="393" y="340"/>
                      <a:pt x="389" y="339"/>
                    </a:cubicBezTo>
                    <a:moveTo>
                      <a:pt x="180" y="210"/>
                    </a:moveTo>
                    <a:cubicBezTo>
                      <a:pt x="170" y="220"/>
                      <a:pt x="170" y="236"/>
                      <a:pt x="180" y="246"/>
                    </a:cubicBezTo>
                    <a:cubicBezTo>
                      <a:pt x="190" y="256"/>
                      <a:pt x="206" y="256"/>
                      <a:pt x="216" y="246"/>
                    </a:cubicBezTo>
                    <a:cubicBezTo>
                      <a:pt x="226" y="236"/>
                      <a:pt x="226" y="220"/>
                      <a:pt x="216" y="210"/>
                    </a:cubicBezTo>
                    <a:cubicBezTo>
                      <a:pt x="206" y="200"/>
                      <a:pt x="190" y="200"/>
                      <a:pt x="180" y="210"/>
                    </a:cubicBezTo>
                    <a:moveTo>
                      <a:pt x="237" y="190"/>
                    </a:moveTo>
                    <a:cubicBezTo>
                      <a:pt x="239" y="190"/>
                      <a:pt x="241" y="189"/>
                      <a:pt x="243" y="187"/>
                    </a:cubicBezTo>
                    <a:cubicBezTo>
                      <a:pt x="246" y="184"/>
                      <a:pt x="246" y="179"/>
                      <a:pt x="243" y="176"/>
                    </a:cubicBezTo>
                    <a:cubicBezTo>
                      <a:pt x="230" y="164"/>
                      <a:pt x="214" y="158"/>
                      <a:pt x="198" y="158"/>
                    </a:cubicBezTo>
                    <a:cubicBezTo>
                      <a:pt x="182" y="158"/>
                      <a:pt x="166" y="164"/>
                      <a:pt x="154" y="176"/>
                    </a:cubicBezTo>
                    <a:cubicBezTo>
                      <a:pt x="151" y="179"/>
                      <a:pt x="151" y="184"/>
                      <a:pt x="154" y="187"/>
                    </a:cubicBezTo>
                    <a:cubicBezTo>
                      <a:pt x="157" y="191"/>
                      <a:pt x="162" y="191"/>
                      <a:pt x="165" y="187"/>
                    </a:cubicBezTo>
                    <a:cubicBezTo>
                      <a:pt x="174" y="178"/>
                      <a:pt x="186" y="174"/>
                      <a:pt x="198" y="174"/>
                    </a:cubicBezTo>
                    <a:cubicBezTo>
                      <a:pt x="210" y="174"/>
                      <a:pt x="222" y="178"/>
                      <a:pt x="231" y="187"/>
                    </a:cubicBezTo>
                    <a:cubicBezTo>
                      <a:pt x="233" y="189"/>
                      <a:pt x="235" y="190"/>
                      <a:pt x="237" y="190"/>
                    </a:cubicBezTo>
                    <a:moveTo>
                      <a:pt x="290" y="129"/>
                    </a:moveTo>
                    <a:cubicBezTo>
                      <a:pt x="291" y="131"/>
                      <a:pt x="293" y="132"/>
                      <a:pt x="295" y="132"/>
                    </a:cubicBezTo>
                    <a:cubicBezTo>
                      <a:pt x="298" y="132"/>
                      <a:pt x="300" y="131"/>
                      <a:pt x="301" y="129"/>
                    </a:cubicBezTo>
                    <a:cubicBezTo>
                      <a:pt x="304" y="126"/>
                      <a:pt x="304" y="121"/>
                      <a:pt x="301" y="118"/>
                    </a:cubicBezTo>
                    <a:cubicBezTo>
                      <a:pt x="296" y="113"/>
                      <a:pt x="291" y="109"/>
                      <a:pt x="286" y="105"/>
                    </a:cubicBezTo>
                    <a:cubicBezTo>
                      <a:pt x="284" y="103"/>
                      <a:pt x="282" y="102"/>
                      <a:pt x="281" y="101"/>
                    </a:cubicBezTo>
                    <a:cubicBezTo>
                      <a:pt x="277" y="98"/>
                      <a:pt x="272" y="99"/>
                      <a:pt x="269" y="103"/>
                    </a:cubicBezTo>
                    <a:cubicBezTo>
                      <a:pt x="267" y="106"/>
                      <a:pt x="268" y="111"/>
                      <a:pt x="272" y="114"/>
                    </a:cubicBezTo>
                    <a:cubicBezTo>
                      <a:pt x="273" y="115"/>
                      <a:pt x="275" y="116"/>
                      <a:pt x="276" y="118"/>
                    </a:cubicBezTo>
                    <a:cubicBezTo>
                      <a:pt x="281" y="121"/>
                      <a:pt x="286" y="125"/>
                      <a:pt x="290" y="129"/>
                    </a:cubicBezTo>
                    <a:moveTo>
                      <a:pt x="245" y="100"/>
                    </a:moveTo>
                    <a:cubicBezTo>
                      <a:pt x="249" y="102"/>
                      <a:pt x="254" y="100"/>
                      <a:pt x="255" y="95"/>
                    </a:cubicBezTo>
                    <a:cubicBezTo>
                      <a:pt x="257" y="91"/>
                      <a:pt x="255" y="87"/>
                      <a:pt x="251" y="85"/>
                    </a:cubicBezTo>
                    <a:cubicBezTo>
                      <a:pt x="234" y="79"/>
                      <a:pt x="216" y="75"/>
                      <a:pt x="198" y="75"/>
                    </a:cubicBezTo>
                    <a:cubicBezTo>
                      <a:pt x="159" y="75"/>
                      <a:pt x="123" y="90"/>
                      <a:pt x="95" y="118"/>
                    </a:cubicBezTo>
                    <a:cubicBezTo>
                      <a:pt x="92" y="121"/>
                      <a:pt x="92" y="126"/>
                      <a:pt x="95" y="129"/>
                    </a:cubicBezTo>
                    <a:cubicBezTo>
                      <a:pt x="97" y="131"/>
                      <a:pt x="99" y="132"/>
                      <a:pt x="101" y="132"/>
                    </a:cubicBezTo>
                    <a:cubicBezTo>
                      <a:pt x="103" y="132"/>
                      <a:pt x="105" y="131"/>
                      <a:pt x="107" y="129"/>
                    </a:cubicBezTo>
                    <a:cubicBezTo>
                      <a:pt x="131" y="105"/>
                      <a:pt x="164" y="91"/>
                      <a:pt x="198" y="91"/>
                    </a:cubicBezTo>
                    <a:cubicBezTo>
                      <a:pt x="214" y="91"/>
                      <a:pt x="230" y="94"/>
                      <a:pt x="245" y="100"/>
                    </a:cubicBezTo>
                    <a:moveTo>
                      <a:pt x="266" y="161"/>
                    </a:moveTo>
                    <a:cubicBezTo>
                      <a:pt x="268" y="161"/>
                      <a:pt x="270" y="160"/>
                      <a:pt x="272" y="159"/>
                    </a:cubicBezTo>
                    <a:cubicBezTo>
                      <a:pt x="275" y="155"/>
                      <a:pt x="275" y="150"/>
                      <a:pt x="272" y="147"/>
                    </a:cubicBezTo>
                    <a:cubicBezTo>
                      <a:pt x="251" y="127"/>
                      <a:pt x="225" y="117"/>
                      <a:pt x="198" y="117"/>
                    </a:cubicBezTo>
                    <a:cubicBezTo>
                      <a:pt x="172" y="117"/>
                      <a:pt x="145" y="127"/>
                      <a:pt x="125" y="147"/>
                    </a:cubicBezTo>
                    <a:cubicBezTo>
                      <a:pt x="122" y="150"/>
                      <a:pt x="122" y="155"/>
                      <a:pt x="125" y="159"/>
                    </a:cubicBezTo>
                    <a:cubicBezTo>
                      <a:pt x="128" y="162"/>
                      <a:pt x="133" y="162"/>
                      <a:pt x="136" y="159"/>
                    </a:cubicBezTo>
                    <a:cubicBezTo>
                      <a:pt x="136" y="159"/>
                      <a:pt x="136" y="159"/>
                      <a:pt x="136" y="159"/>
                    </a:cubicBezTo>
                    <a:cubicBezTo>
                      <a:pt x="153" y="141"/>
                      <a:pt x="176" y="133"/>
                      <a:pt x="198" y="133"/>
                    </a:cubicBezTo>
                    <a:cubicBezTo>
                      <a:pt x="221" y="133"/>
                      <a:pt x="243" y="141"/>
                      <a:pt x="260" y="159"/>
                    </a:cubicBezTo>
                    <a:cubicBezTo>
                      <a:pt x="262" y="160"/>
                      <a:pt x="264" y="161"/>
                      <a:pt x="266" y="16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22" name="Freeform 3"/>
              <p:cNvSpPr>
                <a:spLocks noChangeAspect="1" noEditPoints="1"/>
              </p:cNvSpPr>
              <p:nvPr/>
            </p:nvSpPr>
            <p:spPr bwMode="auto">
              <a:xfrm>
                <a:off x="6385696" y="3768468"/>
                <a:ext cx="198561" cy="105776"/>
              </a:xfrm>
              <a:custGeom>
                <a:avLst/>
                <a:gdLst>
                  <a:gd name="T0" fmla="*/ 2147483647 w 502"/>
                  <a:gd name="T1" fmla="*/ 2147483647 h 273"/>
                  <a:gd name="T2" fmla="*/ 2147483647 w 502"/>
                  <a:gd name="T3" fmla="*/ 2147483647 h 273"/>
                  <a:gd name="T4" fmla="*/ 2147483647 w 502"/>
                  <a:gd name="T5" fmla="*/ 2147483647 h 273"/>
                  <a:gd name="T6" fmla="*/ 2147483647 w 502"/>
                  <a:gd name="T7" fmla="*/ 2147483647 h 273"/>
                  <a:gd name="T8" fmla="*/ 2147483647 w 502"/>
                  <a:gd name="T9" fmla="*/ 2147483647 h 273"/>
                  <a:gd name="T10" fmla="*/ 2147483647 w 502"/>
                  <a:gd name="T11" fmla="*/ 2147483647 h 273"/>
                  <a:gd name="T12" fmla="*/ 2147483647 w 502"/>
                  <a:gd name="T13" fmla="*/ 2147483647 h 273"/>
                  <a:gd name="T14" fmla="*/ 2147483647 w 502"/>
                  <a:gd name="T15" fmla="*/ 2147483647 h 273"/>
                  <a:gd name="T16" fmla="*/ 2147483647 w 502"/>
                  <a:gd name="T17" fmla="*/ 2147483647 h 273"/>
                  <a:gd name="T18" fmla="*/ 2147483647 w 502"/>
                  <a:gd name="T19" fmla="*/ 2147483647 h 273"/>
                  <a:gd name="T20" fmla="*/ 2147483647 w 502"/>
                  <a:gd name="T21" fmla="*/ 2147483647 h 273"/>
                  <a:gd name="T22" fmla="*/ 2147483647 w 502"/>
                  <a:gd name="T23" fmla="*/ 0 h 273"/>
                  <a:gd name="T24" fmla="*/ 2147483647 w 502"/>
                  <a:gd name="T25" fmla="*/ 2147483647 h 273"/>
                  <a:gd name="T26" fmla="*/ 2147483647 w 502"/>
                  <a:gd name="T27" fmla="*/ 2147483647 h 273"/>
                  <a:gd name="T28" fmla="*/ 0 w 502"/>
                  <a:gd name="T29" fmla="*/ 2147483647 h 273"/>
                  <a:gd name="T30" fmla="*/ 2147483647 w 502"/>
                  <a:gd name="T31" fmla="*/ 2147483647 h 273"/>
                  <a:gd name="T32" fmla="*/ 2147483647 w 502"/>
                  <a:gd name="T33" fmla="*/ 2147483647 h 273"/>
                  <a:gd name="T34" fmla="*/ 2147483647 w 502"/>
                  <a:gd name="T35" fmla="*/ 2147483647 h 273"/>
                  <a:gd name="T36" fmla="*/ 2147483647 w 502"/>
                  <a:gd name="T37" fmla="*/ 2147483647 h 273"/>
                  <a:gd name="T38" fmla="*/ 2147483647 w 502"/>
                  <a:gd name="T39" fmla="*/ 2147483647 h 273"/>
                  <a:gd name="T40" fmla="*/ 2147483647 w 502"/>
                  <a:gd name="T41" fmla="*/ 2147483647 h 273"/>
                  <a:gd name="T42" fmla="*/ 2147483647 w 502"/>
                  <a:gd name="T43" fmla="*/ 2147483647 h 273"/>
                  <a:gd name="T44" fmla="*/ 2147483647 w 502"/>
                  <a:gd name="T45" fmla="*/ 2147483647 h 273"/>
                  <a:gd name="T46" fmla="*/ 2147483647 w 502"/>
                  <a:gd name="T47" fmla="*/ 2147483647 h 273"/>
                  <a:gd name="T48" fmla="*/ 2147483647 w 502"/>
                  <a:gd name="T49" fmla="*/ 2147483647 h 273"/>
                  <a:gd name="T50" fmla="*/ 2147483647 w 502"/>
                  <a:gd name="T51" fmla="*/ 2147483647 h 273"/>
                  <a:gd name="T52" fmla="*/ 2147483647 w 502"/>
                  <a:gd name="T53" fmla="*/ 2147483647 h 273"/>
                  <a:gd name="T54" fmla="*/ 2147483647 w 502"/>
                  <a:gd name="T55" fmla="*/ 2147483647 h 273"/>
                  <a:gd name="T56" fmla="*/ 2147483647 w 502"/>
                  <a:gd name="T57" fmla="*/ 2147483647 h 273"/>
                  <a:gd name="T58" fmla="*/ 2147483647 w 502"/>
                  <a:gd name="T59" fmla="*/ 2147483647 h 273"/>
                  <a:gd name="T60" fmla="*/ 2147483647 w 502"/>
                  <a:gd name="T61" fmla="*/ 2147483647 h 273"/>
                  <a:gd name="T62" fmla="*/ 2147483647 w 502"/>
                  <a:gd name="T63" fmla="*/ 2147483647 h 273"/>
                  <a:gd name="T64" fmla="*/ 2147483647 w 502"/>
                  <a:gd name="T65" fmla="*/ 2147483647 h 273"/>
                  <a:gd name="T66" fmla="*/ 2147483647 w 502"/>
                  <a:gd name="T67" fmla="*/ 2147483647 h 273"/>
                  <a:gd name="T68" fmla="*/ 2147483647 w 502"/>
                  <a:gd name="T69" fmla="*/ 2147483647 h 273"/>
                  <a:gd name="T70" fmla="*/ 2147483647 w 502"/>
                  <a:gd name="T71" fmla="*/ 2147483647 h 273"/>
                  <a:gd name="T72" fmla="*/ 2147483647 w 502"/>
                  <a:gd name="T73" fmla="*/ 2147483647 h 273"/>
                  <a:gd name="T74" fmla="*/ 2147483647 w 502"/>
                  <a:gd name="T75" fmla="*/ 2147483647 h 273"/>
                  <a:gd name="T76" fmla="*/ 2147483647 w 502"/>
                  <a:gd name="T77" fmla="*/ 2147483647 h 273"/>
                  <a:gd name="T78" fmla="*/ 2147483647 w 502"/>
                  <a:gd name="T79" fmla="*/ 2147483647 h 273"/>
                  <a:gd name="T80" fmla="*/ 2147483647 w 502"/>
                  <a:gd name="T81" fmla="*/ 2147483647 h 273"/>
                  <a:gd name="T82" fmla="*/ 2147483647 w 502"/>
                  <a:gd name="T83" fmla="*/ 2147483647 h 273"/>
                  <a:gd name="T84" fmla="*/ 2147483647 w 502"/>
                  <a:gd name="T85" fmla="*/ 2147483647 h 27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02" h="273">
                    <a:moveTo>
                      <a:pt x="500" y="150"/>
                    </a:moveTo>
                    <a:cubicBezTo>
                      <a:pt x="498" y="148"/>
                      <a:pt x="496" y="147"/>
                      <a:pt x="494" y="147"/>
                    </a:cubicBezTo>
                    <a:cubicBezTo>
                      <a:pt x="480" y="147"/>
                      <a:pt x="480" y="147"/>
                      <a:pt x="480" y="147"/>
                    </a:cubicBezTo>
                    <a:cubicBezTo>
                      <a:pt x="480" y="91"/>
                      <a:pt x="480" y="91"/>
                      <a:pt x="480" y="91"/>
                    </a:cubicBezTo>
                    <a:cubicBezTo>
                      <a:pt x="480" y="87"/>
                      <a:pt x="477" y="83"/>
                      <a:pt x="472" y="83"/>
                    </a:cubicBezTo>
                    <a:cubicBezTo>
                      <a:pt x="468" y="83"/>
                      <a:pt x="464" y="87"/>
                      <a:pt x="464" y="91"/>
                    </a:cubicBezTo>
                    <a:cubicBezTo>
                      <a:pt x="464" y="147"/>
                      <a:pt x="464" y="147"/>
                      <a:pt x="464" y="147"/>
                    </a:cubicBezTo>
                    <a:cubicBezTo>
                      <a:pt x="352" y="147"/>
                      <a:pt x="352" y="147"/>
                      <a:pt x="352" y="147"/>
                    </a:cubicBezTo>
                    <a:cubicBezTo>
                      <a:pt x="352" y="88"/>
                      <a:pt x="352" y="88"/>
                      <a:pt x="352" y="88"/>
                    </a:cubicBezTo>
                    <a:cubicBezTo>
                      <a:pt x="418" y="88"/>
                      <a:pt x="418" y="88"/>
                      <a:pt x="418" y="88"/>
                    </a:cubicBezTo>
                    <a:cubicBezTo>
                      <a:pt x="420" y="88"/>
                      <a:pt x="422" y="87"/>
                      <a:pt x="423" y="86"/>
                    </a:cubicBezTo>
                    <a:cubicBezTo>
                      <a:pt x="425" y="84"/>
                      <a:pt x="426" y="82"/>
                      <a:pt x="426" y="80"/>
                    </a:cubicBezTo>
                    <a:cubicBezTo>
                      <a:pt x="426" y="39"/>
                      <a:pt x="426" y="39"/>
                      <a:pt x="426" y="39"/>
                    </a:cubicBezTo>
                    <a:cubicBezTo>
                      <a:pt x="464" y="39"/>
                      <a:pt x="464" y="39"/>
                      <a:pt x="464" y="39"/>
                    </a:cubicBezTo>
                    <a:cubicBezTo>
                      <a:pt x="464" y="60"/>
                      <a:pt x="464" y="60"/>
                      <a:pt x="464" y="60"/>
                    </a:cubicBezTo>
                    <a:cubicBezTo>
                      <a:pt x="464" y="64"/>
                      <a:pt x="468" y="68"/>
                      <a:pt x="472" y="68"/>
                    </a:cubicBezTo>
                    <a:cubicBezTo>
                      <a:pt x="477" y="68"/>
                      <a:pt x="480" y="64"/>
                      <a:pt x="480" y="60"/>
                    </a:cubicBezTo>
                    <a:cubicBezTo>
                      <a:pt x="480" y="39"/>
                      <a:pt x="480" y="39"/>
                      <a:pt x="480" y="39"/>
                    </a:cubicBezTo>
                    <a:cubicBezTo>
                      <a:pt x="480" y="39"/>
                      <a:pt x="480" y="39"/>
                      <a:pt x="480" y="39"/>
                    </a:cubicBezTo>
                    <a:cubicBezTo>
                      <a:pt x="480" y="37"/>
                      <a:pt x="480" y="37"/>
                      <a:pt x="480" y="37"/>
                    </a:cubicBezTo>
                    <a:cubicBezTo>
                      <a:pt x="480" y="37"/>
                      <a:pt x="480" y="37"/>
                      <a:pt x="480" y="37"/>
                    </a:cubicBezTo>
                    <a:cubicBezTo>
                      <a:pt x="480" y="36"/>
                      <a:pt x="480" y="36"/>
                      <a:pt x="480" y="36"/>
                    </a:cubicBezTo>
                    <a:cubicBezTo>
                      <a:pt x="480" y="35"/>
                      <a:pt x="480" y="33"/>
                      <a:pt x="479" y="32"/>
                    </a:cubicBezTo>
                    <a:cubicBezTo>
                      <a:pt x="477" y="27"/>
                      <a:pt x="472" y="23"/>
                      <a:pt x="466" y="23"/>
                    </a:cubicBezTo>
                    <a:cubicBezTo>
                      <a:pt x="424" y="23"/>
                      <a:pt x="424" y="23"/>
                      <a:pt x="424" y="23"/>
                    </a:cubicBezTo>
                    <a:cubicBezTo>
                      <a:pt x="416" y="23"/>
                      <a:pt x="410" y="29"/>
                      <a:pt x="410" y="37"/>
                    </a:cubicBezTo>
                    <a:cubicBezTo>
                      <a:pt x="410" y="72"/>
                      <a:pt x="410" y="72"/>
                      <a:pt x="410" y="72"/>
                    </a:cubicBezTo>
                    <a:cubicBezTo>
                      <a:pt x="352" y="72"/>
                      <a:pt x="352" y="72"/>
                      <a:pt x="352" y="72"/>
                    </a:cubicBezTo>
                    <a:cubicBezTo>
                      <a:pt x="343" y="72"/>
                      <a:pt x="336" y="79"/>
                      <a:pt x="336" y="88"/>
                    </a:cubicBezTo>
                    <a:cubicBezTo>
                      <a:pt x="336" y="147"/>
                      <a:pt x="336" y="147"/>
                      <a:pt x="336" y="147"/>
                    </a:cubicBezTo>
                    <a:cubicBezTo>
                      <a:pt x="296" y="147"/>
                      <a:pt x="296" y="147"/>
                      <a:pt x="296" y="147"/>
                    </a:cubicBezTo>
                    <a:cubicBezTo>
                      <a:pt x="296" y="65"/>
                      <a:pt x="296" y="65"/>
                      <a:pt x="296" y="65"/>
                    </a:cubicBezTo>
                    <a:cubicBezTo>
                      <a:pt x="296" y="56"/>
                      <a:pt x="289" y="49"/>
                      <a:pt x="280" y="49"/>
                    </a:cubicBezTo>
                    <a:cubicBezTo>
                      <a:pt x="247" y="49"/>
                      <a:pt x="247" y="49"/>
                      <a:pt x="247" y="49"/>
                    </a:cubicBezTo>
                    <a:cubicBezTo>
                      <a:pt x="247" y="16"/>
                      <a:pt x="247" y="16"/>
                      <a:pt x="247" y="16"/>
                    </a:cubicBezTo>
                    <a:cubicBezTo>
                      <a:pt x="247" y="7"/>
                      <a:pt x="240" y="0"/>
                      <a:pt x="231" y="0"/>
                    </a:cubicBezTo>
                    <a:cubicBezTo>
                      <a:pt x="100" y="0"/>
                      <a:pt x="100" y="0"/>
                      <a:pt x="100" y="0"/>
                    </a:cubicBezTo>
                    <a:cubicBezTo>
                      <a:pt x="91" y="0"/>
                      <a:pt x="84" y="7"/>
                      <a:pt x="84" y="16"/>
                    </a:cubicBezTo>
                    <a:cubicBezTo>
                      <a:pt x="84" y="49"/>
                      <a:pt x="84" y="49"/>
                      <a:pt x="84" y="49"/>
                    </a:cubicBezTo>
                    <a:cubicBezTo>
                      <a:pt x="51" y="49"/>
                      <a:pt x="51" y="49"/>
                      <a:pt x="51" y="49"/>
                    </a:cubicBezTo>
                    <a:cubicBezTo>
                      <a:pt x="42" y="49"/>
                      <a:pt x="35" y="56"/>
                      <a:pt x="35" y="65"/>
                    </a:cubicBezTo>
                    <a:cubicBezTo>
                      <a:pt x="35" y="147"/>
                      <a:pt x="35" y="147"/>
                      <a:pt x="35" y="147"/>
                    </a:cubicBezTo>
                    <a:cubicBezTo>
                      <a:pt x="8" y="147"/>
                      <a:pt x="8" y="147"/>
                      <a:pt x="8" y="147"/>
                    </a:cubicBezTo>
                    <a:cubicBezTo>
                      <a:pt x="6" y="147"/>
                      <a:pt x="4" y="148"/>
                      <a:pt x="3" y="150"/>
                    </a:cubicBezTo>
                    <a:cubicBezTo>
                      <a:pt x="1" y="151"/>
                      <a:pt x="0" y="153"/>
                      <a:pt x="0" y="156"/>
                    </a:cubicBezTo>
                    <a:cubicBezTo>
                      <a:pt x="0" y="190"/>
                      <a:pt x="13" y="220"/>
                      <a:pt x="30" y="240"/>
                    </a:cubicBezTo>
                    <a:cubicBezTo>
                      <a:pt x="47" y="261"/>
                      <a:pt x="67" y="273"/>
                      <a:pt x="84" y="273"/>
                    </a:cubicBezTo>
                    <a:cubicBezTo>
                      <a:pt x="424" y="273"/>
                      <a:pt x="424" y="273"/>
                      <a:pt x="424" y="273"/>
                    </a:cubicBezTo>
                    <a:cubicBezTo>
                      <a:pt x="432" y="273"/>
                      <a:pt x="440" y="270"/>
                      <a:pt x="448" y="264"/>
                    </a:cubicBezTo>
                    <a:cubicBezTo>
                      <a:pt x="456" y="258"/>
                      <a:pt x="465" y="250"/>
                      <a:pt x="473" y="239"/>
                    </a:cubicBezTo>
                    <a:cubicBezTo>
                      <a:pt x="489" y="219"/>
                      <a:pt x="502" y="190"/>
                      <a:pt x="502" y="156"/>
                    </a:cubicBezTo>
                    <a:cubicBezTo>
                      <a:pt x="502" y="153"/>
                      <a:pt x="501" y="151"/>
                      <a:pt x="500" y="150"/>
                    </a:cubicBezTo>
                    <a:close/>
                    <a:moveTo>
                      <a:pt x="247" y="65"/>
                    </a:moveTo>
                    <a:cubicBezTo>
                      <a:pt x="280" y="65"/>
                      <a:pt x="280" y="65"/>
                      <a:pt x="280" y="65"/>
                    </a:cubicBezTo>
                    <a:cubicBezTo>
                      <a:pt x="280" y="98"/>
                      <a:pt x="280" y="98"/>
                      <a:pt x="280" y="98"/>
                    </a:cubicBezTo>
                    <a:cubicBezTo>
                      <a:pt x="247" y="98"/>
                      <a:pt x="247" y="98"/>
                      <a:pt x="247" y="98"/>
                    </a:cubicBezTo>
                    <a:cubicBezTo>
                      <a:pt x="247" y="82"/>
                      <a:pt x="247" y="82"/>
                      <a:pt x="247" y="82"/>
                    </a:cubicBezTo>
                    <a:lnTo>
                      <a:pt x="247" y="65"/>
                    </a:lnTo>
                    <a:close/>
                    <a:moveTo>
                      <a:pt x="247" y="114"/>
                    </a:moveTo>
                    <a:cubicBezTo>
                      <a:pt x="280" y="114"/>
                      <a:pt x="280" y="114"/>
                      <a:pt x="280" y="114"/>
                    </a:cubicBezTo>
                    <a:cubicBezTo>
                      <a:pt x="280" y="147"/>
                      <a:pt x="280" y="147"/>
                      <a:pt x="280" y="147"/>
                    </a:cubicBezTo>
                    <a:cubicBezTo>
                      <a:pt x="247" y="147"/>
                      <a:pt x="247" y="147"/>
                      <a:pt x="247" y="147"/>
                    </a:cubicBezTo>
                    <a:cubicBezTo>
                      <a:pt x="247" y="131"/>
                      <a:pt x="247" y="131"/>
                      <a:pt x="247" y="131"/>
                    </a:cubicBezTo>
                    <a:lnTo>
                      <a:pt x="247" y="114"/>
                    </a:lnTo>
                    <a:close/>
                    <a:moveTo>
                      <a:pt x="198" y="16"/>
                    </a:moveTo>
                    <a:cubicBezTo>
                      <a:pt x="231" y="16"/>
                      <a:pt x="231" y="16"/>
                      <a:pt x="231" y="16"/>
                    </a:cubicBezTo>
                    <a:cubicBezTo>
                      <a:pt x="231" y="49"/>
                      <a:pt x="231" y="49"/>
                      <a:pt x="231" y="49"/>
                    </a:cubicBezTo>
                    <a:cubicBezTo>
                      <a:pt x="198" y="49"/>
                      <a:pt x="198" y="49"/>
                      <a:pt x="198" y="49"/>
                    </a:cubicBezTo>
                    <a:lnTo>
                      <a:pt x="198" y="16"/>
                    </a:lnTo>
                    <a:close/>
                    <a:moveTo>
                      <a:pt x="198" y="65"/>
                    </a:moveTo>
                    <a:cubicBezTo>
                      <a:pt x="231" y="65"/>
                      <a:pt x="231" y="65"/>
                      <a:pt x="231" y="65"/>
                    </a:cubicBezTo>
                    <a:cubicBezTo>
                      <a:pt x="231" y="98"/>
                      <a:pt x="231" y="98"/>
                      <a:pt x="231" y="98"/>
                    </a:cubicBezTo>
                    <a:cubicBezTo>
                      <a:pt x="198" y="98"/>
                      <a:pt x="198" y="98"/>
                      <a:pt x="198" y="98"/>
                    </a:cubicBezTo>
                    <a:lnTo>
                      <a:pt x="198" y="65"/>
                    </a:lnTo>
                    <a:close/>
                    <a:moveTo>
                      <a:pt x="198" y="114"/>
                    </a:moveTo>
                    <a:cubicBezTo>
                      <a:pt x="231" y="114"/>
                      <a:pt x="231" y="114"/>
                      <a:pt x="231" y="114"/>
                    </a:cubicBezTo>
                    <a:cubicBezTo>
                      <a:pt x="231" y="147"/>
                      <a:pt x="231" y="147"/>
                      <a:pt x="231" y="147"/>
                    </a:cubicBezTo>
                    <a:cubicBezTo>
                      <a:pt x="198" y="147"/>
                      <a:pt x="198" y="147"/>
                      <a:pt x="198" y="147"/>
                    </a:cubicBezTo>
                    <a:lnTo>
                      <a:pt x="198" y="114"/>
                    </a:lnTo>
                    <a:close/>
                    <a:moveTo>
                      <a:pt x="149" y="16"/>
                    </a:moveTo>
                    <a:cubicBezTo>
                      <a:pt x="182" y="16"/>
                      <a:pt x="182" y="16"/>
                      <a:pt x="182" y="16"/>
                    </a:cubicBezTo>
                    <a:cubicBezTo>
                      <a:pt x="182" y="49"/>
                      <a:pt x="182" y="49"/>
                      <a:pt x="182" y="49"/>
                    </a:cubicBezTo>
                    <a:cubicBezTo>
                      <a:pt x="149" y="49"/>
                      <a:pt x="149" y="49"/>
                      <a:pt x="149" y="49"/>
                    </a:cubicBezTo>
                    <a:lnTo>
                      <a:pt x="149" y="16"/>
                    </a:lnTo>
                    <a:close/>
                    <a:moveTo>
                      <a:pt x="149" y="65"/>
                    </a:moveTo>
                    <a:cubicBezTo>
                      <a:pt x="182" y="65"/>
                      <a:pt x="182" y="65"/>
                      <a:pt x="182" y="65"/>
                    </a:cubicBezTo>
                    <a:cubicBezTo>
                      <a:pt x="182" y="98"/>
                      <a:pt x="182" y="98"/>
                      <a:pt x="182" y="98"/>
                    </a:cubicBezTo>
                    <a:cubicBezTo>
                      <a:pt x="149" y="98"/>
                      <a:pt x="149" y="98"/>
                      <a:pt x="149" y="98"/>
                    </a:cubicBezTo>
                    <a:lnTo>
                      <a:pt x="149" y="65"/>
                    </a:lnTo>
                    <a:close/>
                    <a:moveTo>
                      <a:pt x="149" y="114"/>
                    </a:moveTo>
                    <a:cubicBezTo>
                      <a:pt x="182" y="114"/>
                      <a:pt x="182" y="114"/>
                      <a:pt x="182" y="114"/>
                    </a:cubicBezTo>
                    <a:cubicBezTo>
                      <a:pt x="182" y="147"/>
                      <a:pt x="182" y="147"/>
                      <a:pt x="182" y="147"/>
                    </a:cubicBezTo>
                    <a:cubicBezTo>
                      <a:pt x="149" y="147"/>
                      <a:pt x="149" y="147"/>
                      <a:pt x="149" y="147"/>
                    </a:cubicBezTo>
                    <a:lnTo>
                      <a:pt x="149" y="114"/>
                    </a:lnTo>
                    <a:close/>
                    <a:moveTo>
                      <a:pt x="133" y="16"/>
                    </a:moveTo>
                    <a:cubicBezTo>
                      <a:pt x="133" y="49"/>
                      <a:pt x="133" y="49"/>
                      <a:pt x="133" y="49"/>
                    </a:cubicBezTo>
                    <a:cubicBezTo>
                      <a:pt x="100" y="49"/>
                      <a:pt x="100" y="49"/>
                      <a:pt x="100" y="49"/>
                    </a:cubicBezTo>
                    <a:cubicBezTo>
                      <a:pt x="100" y="16"/>
                      <a:pt x="100" y="16"/>
                      <a:pt x="100" y="16"/>
                    </a:cubicBezTo>
                    <a:lnTo>
                      <a:pt x="133" y="16"/>
                    </a:lnTo>
                    <a:close/>
                    <a:moveTo>
                      <a:pt x="133" y="65"/>
                    </a:moveTo>
                    <a:cubicBezTo>
                      <a:pt x="133" y="98"/>
                      <a:pt x="133" y="98"/>
                      <a:pt x="133" y="98"/>
                    </a:cubicBezTo>
                    <a:cubicBezTo>
                      <a:pt x="100" y="98"/>
                      <a:pt x="100" y="98"/>
                      <a:pt x="100" y="98"/>
                    </a:cubicBezTo>
                    <a:cubicBezTo>
                      <a:pt x="100" y="79"/>
                      <a:pt x="100" y="79"/>
                      <a:pt x="100" y="79"/>
                    </a:cubicBezTo>
                    <a:cubicBezTo>
                      <a:pt x="100" y="65"/>
                      <a:pt x="100" y="65"/>
                      <a:pt x="100" y="65"/>
                    </a:cubicBezTo>
                    <a:lnTo>
                      <a:pt x="133" y="65"/>
                    </a:lnTo>
                    <a:close/>
                    <a:moveTo>
                      <a:pt x="133" y="114"/>
                    </a:moveTo>
                    <a:cubicBezTo>
                      <a:pt x="133" y="147"/>
                      <a:pt x="133" y="147"/>
                      <a:pt x="133" y="147"/>
                    </a:cubicBezTo>
                    <a:cubicBezTo>
                      <a:pt x="100" y="147"/>
                      <a:pt x="100" y="147"/>
                      <a:pt x="100" y="147"/>
                    </a:cubicBezTo>
                    <a:cubicBezTo>
                      <a:pt x="100" y="114"/>
                      <a:pt x="100" y="114"/>
                      <a:pt x="100" y="114"/>
                    </a:cubicBezTo>
                    <a:lnTo>
                      <a:pt x="133" y="114"/>
                    </a:lnTo>
                    <a:close/>
                    <a:moveTo>
                      <a:pt x="84" y="65"/>
                    </a:moveTo>
                    <a:cubicBezTo>
                      <a:pt x="84" y="98"/>
                      <a:pt x="84" y="98"/>
                      <a:pt x="84" y="98"/>
                    </a:cubicBezTo>
                    <a:cubicBezTo>
                      <a:pt x="51" y="98"/>
                      <a:pt x="51" y="98"/>
                      <a:pt x="51" y="98"/>
                    </a:cubicBezTo>
                    <a:cubicBezTo>
                      <a:pt x="51" y="65"/>
                      <a:pt x="51" y="65"/>
                      <a:pt x="51" y="65"/>
                    </a:cubicBezTo>
                    <a:lnTo>
                      <a:pt x="84" y="65"/>
                    </a:lnTo>
                    <a:close/>
                    <a:moveTo>
                      <a:pt x="84" y="114"/>
                    </a:moveTo>
                    <a:cubicBezTo>
                      <a:pt x="84" y="147"/>
                      <a:pt x="84" y="147"/>
                      <a:pt x="84" y="147"/>
                    </a:cubicBezTo>
                    <a:cubicBezTo>
                      <a:pt x="51" y="147"/>
                      <a:pt x="51" y="147"/>
                      <a:pt x="51" y="147"/>
                    </a:cubicBezTo>
                    <a:cubicBezTo>
                      <a:pt x="51" y="114"/>
                      <a:pt x="51" y="114"/>
                      <a:pt x="51" y="114"/>
                    </a:cubicBezTo>
                    <a:lnTo>
                      <a:pt x="84" y="114"/>
                    </a:lnTo>
                    <a:close/>
                    <a:moveTo>
                      <a:pt x="439" y="251"/>
                    </a:moveTo>
                    <a:cubicBezTo>
                      <a:pt x="432" y="255"/>
                      <a:pt x="426" y="258"/>
                      <a:pt x="424" y="257"/>
                    </a:cubicBezTo>
                    <a:cubicBezTo>
                      <a:pt x="84" y="257"/>
                      <a:pt x="84" y="257"/>
                      <a:pt x="84" y="257"/>
                    </a:cubicBezTo>
                    <a:cubicBezTo>
                      <a:pt x="75" y="258"/>
                      <a:pt x="57" y="248"/>
                      <a:pt x="43" y="230"/>
                    </a:cubicBezTo>
                    <a:cubicBezTo>
                      <a:pt x="29" y="214"/>
                      <a:pt x="18" y="191"/>
                      <a:pt x="16" y="164"/>
                    </a:cubicBezTo>
                    <a:cubicBezTo>
                      <a:pt x="198" y="164"/>
                      <a:pt x="198" y="164"/>
                      <a:pt x="198" y="164"/>
                    </a:cubicBezTo>
                    <a:cubicBezTo>
                      <a:pt x="198" y="164"/>
                      <a:pt x="198" y="164"/>
                      <a:pt x="198" y="164"/>
                    </a:cubicBezTo>
                    <a:cubicBezTo>
                      <a:pt x="206" y="164"/>
                      <a:pt x="206" y="164"/>
                      <a:pt x="206" y="164"/>
                    </a:cubicBezTo>
                    <a:cubicBezTo>
                      <a:pt x="486" y="164"/>
                      <a:pt x="486" y="164"/>
                      <a:pt x="486" y="164"/>
                    </a:cubicBezTo>
                    <a:cubicBezTo>
                      <a:pt x="483" y="204"/>
                      <a:pt x="458" y="237"/>
                      <a:pt x="439"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23" name="Freeform 3"/>
              <p:cNvSpPr>
                <a:spLocks noChangeAspect="1" noEditPoints="1"/>
              </p:cNvSpPr>
              <p:nvPr/>
            </p:nvSpPr>
            <p:spPr bwMode="auto">
              <a:xfrm>
                <a:off x="6184339" y="3838743"/>
                <a:ext cx="95345" cy="148743"/>
              </a:xfrm>
              <a:custGeom>
                <a:avLst/>
                <a:gdLst>
                  <a:gd name="T0" fmla="*/ 2147483647 w 241"/>
                  <a:gd name="T1" fmla="*/ 2147483647 h 384"/>
                  <a:gd name="T2" fmla="*/ 2147483647 w 241"/>
                  <a:gd name="T3" fmla="*/ 2147483647 h 384"/>
                  <a:gd name="T4" fmla="*/ 2147483647 w 241"/>
                  <a:gd name="T5" fmla="*/ 2147483647 h 384"/>
                  <a:gd name="T6" fmla="*/ 2147483647 w 241"/>
                  <a:gd name="T7" fmla="*/ 2147483647 h 384"/>
                  <a:gd name="T8" fmla="*/ 2147483647 w 241"/>
                  <a:gd name="T9" fmla="*/ 2147483647 h 384"/>
                  <a:gd name="T10" fmla="*/ 2147483647 w 241"/>
                  <a:gd name="T11" fmla="*/ 2147483647 h 384"/>
                  <a:gd name="T12" fmla="*/ 2147483647 w 241"/>
                  <a:gd name="T13" fmla="*/ 2147483647 h 384"/>
                  <a:gd name="T14" fmla="*/ 2147483647 w 241"/>
                  <a:gd name="T15" fmla="*/ 0 h 384"/>
                  <a:gd name="T16" fmla="*/ 0 w 241"/>
                  <a:gd name="T17" fmla="*/ 2147483647 h 384"/>
                  <a:gd name="T18" fmla="*/ 2147483647 w 241"/>
                  <a:gd name="T19" fmla="*/ 2147483647 h 384"/>
                  <a:gd name="T20" fmla="*/ 2147483647 w 241"/>
                  <a:gd name="T21" fmla="*/ 2147483647 h 384"/>
                  <a:gd name="T22" fmla="*/ 2147483647 w 241"/>
                  <a:gd name="T23" fmla="*/ 2147483647 h 384"/>
                  <a:gd name="T24" fmla="*/ 2147483647 w 241"/>
                  <a:gd name="T25" fmla="*/ 2147483647 h 384"/>
                  <a:gd name="T26" fmla="*/ 2147483647 w 241"/>
                  <a:gd name="T27" fmla="*/ 2147483647 h 384"/>
                  <a:gd name="T28" fmla="*/ 2147483647 w 241"/>
                  <a:gd name="T29" fmla="*/ 2147483647 h 384"/>
                  <a:gd name="T30" fmla="*/ 2147483647 w 241"/>
                  <a:gd name="T31" fmla="*/ 2147483647 h 384"/>
                  <a:gd name="T32" fmla="*/ 2147483647 w 241"/>
                  <a:gd name="T33" fmla="*/ 2147483647 h 384"/>
                  <a:gd name="T34" fmla="*/ 2147483647 w 241"/>
                  <a:gd name="T35" fmla="*/ 2147483647 h 384"/>
                  <a:gd name="T36" fmla="*/ 2147483647 w 241"/>
                  <a:gd name="T37" fmla="*/ 2147483647 h 384"/>
                  <a:gd name="T38" fmla="*/ 2147483647 w 241"/>
                  <a:gd name="T39" fmla="*/ 2147483647 h 384"/>
                  <a:gd name="T40" fmla="*/ 2147483647 w 241"/>
                  <a:gd name="T41" fmla="*/ 2147483647 h 384"/>
                  <a:gd name="T42" fmla="*/ 2147483647 w 241"/>
                  <a:gd name="T43" fmla="*/ 2147483647 h 384"/>
                  <a:gd name="T44" fmla="*/ 2147483647 w 241"/>
                  <a:gd name="T45" fmla="*/ 2147483647 h 384"/>
                  <a:gd name="T46" fmla="*/ 2147483647 w 241"/>
                  <a:gd name="T47" fmla="*/ 2147483647 h 384"/>
                  <a:gd name="T48" fmla="*/ 2147483647 w 241"/>
                  <a:gd name="T49" fmla="*/ 2147483647 h 384"/>
                  <a:gd name="T50" fmla="*/ 2147483647 w 241"/>
                  <a:gd name="T51" fmla="*/ 2147483647 h 384"/>
                  <a:gd name="T52" fmla="*/ 2147483647 w 241"/>
                  <a:gd name="T53" fmla="*/ 2147483647 h 384"/>
                  <a:gd name="T54" fmla="*/ 2147483647 w 241"/>
                  <a:gd name="T55" fmla="*/ 2147483647 h 384"/>
                  <a:gd name="T56" fmla="*/ 2147483647 w 241"/>
                  <a:gd name="T57" fmla="*/ 2147483647 h 384"/>
                  <a:gd name="T58" fmla="*/ 2147483647 w 241"/>
                  <a:gd name="T59" fmla="*/ 2147483647 h 384"/>
                  <a:gd name="T60" fmla="*/ 2147483647 w 241"/>
                  <a:gd name="T61" fmla="*/ 2147483647 h 384"/>
                  <a:gd name="T62" fmla="*/ 2147483647 w 241"/>
                  <a:gd name="T63" fmla="*/ 2147483647 h 384"/>
                  <a:gd name="T64" fmla="*/ 2147483647 w 241"/>
                  <a:gd name="T65" fmla="*/ 2147483647 h 384"/>
                  <a:gd name="T66" fmla="*/ 2147483647 w 241"/>
                  <a:gd name="T67" fmla="*/ 2147483647 h 384"/>
                  <a:gd name="T68" fmla="*/ 2147483647 w 241"/>
                  <a:gd name="T69" fmla="*/ 2147483647 h 384"/>
                  <a:gd name="T70" fmla="*/ 2147483647 w 241"/>
                  <a:gd name="T71" fmla="*/ 2147483647 h 384"/>
                  <a:gd name="T72" fmla="*/ 2147483647 w 241"/>
                  <a:gd name="T73" fmla="*/ 2147483647 h 384"/>
                  <a:gd name="T74" fmla="*/ 2147483647 w 241"/>
                  <a:gd name="T75" fmla="*/ 2147483647 h 384"/>
                  <a:gd name="T76" fmla="*/ 2147483647 w 241"/>
                  <a:gd name="T77" fmla="*/ 2147483647 h 384"/>
                  <a:gd name="T78" fmla="*/ 2147483647 w 241"/>
                  <a:gd name="T79" fmla="*/ 2147483647 h 384"/>
                  <a:gd name="T80" fmla="*/ 2147483647 w 241"/>
                  <a:gd name="T81" fmla="*/ 2147483647 h 384"/>
                  <a:gd name="T82" fmla="*/ 2147483647 w 241"/>
                  <a:gd name="T83" fmla="*/ 2147483647 h 384"/>
                  <a:gd name="T84" fmla="*/ 2147483647 w 241"/>
                  <a:gd name="T85" fmla="*/ 2147483647 h 384"/>
                  <a:gd name="T86" fmla="*/ 2147483647 w 241"/>
                  <a:gd name="T87" fmla="*/ 2147483647 h 384"/>
                  <a:gd name="T88" fmla="*/ 2147483647 w 241"/>
                  <a:gd name="T89" fmla="*/ 2147483647 h 384"/>
                  <a:gd name="T90" fmla="*/ 2147483647 w 241"/>
                  <a:gd name="T91" fmla="*/ 2147483647 h 384"/>
                  <a:gd name="T92" fmla="*/ 2147483647 w 241"/>
                  <a:gd name="T93" fmla="*/ 2147483647 h 384"/>
                  <a:gd name="T94" fmla="*/ 2147483647 w 241"/>
                  <a:gd name="T95" fmla="*/ 2147483647 h 384"/>
                  <a:gd name="T96" fmla="*/ 2147483647 w 241"/>
                  <a:gd name="T97" fmla="*/ 2147483647 h 384"/>
                  <a:gd name="T98" fmla="*/ 2147483647 w 241"/>
                  <a:gd name="T99" fmla="*/ 2147483647 h 384"/>
                  <a:gd name="T100" fmla="*/ 2147483647 w 241"/>
                  <a:gd name="T101" fmla="*/ 2147483647 h 384"/>
                  <a:gd name="T102" fmla="*/ 2147483647 w 241"/>
                  <a:gd name="T103" fmla="*/ 2147483647 h 38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241" h="384">
                    <a:moveTo>
                      <a:pt x="117" y="356"/>
                    </a:moveTo>
                    <a:cubicBezTo>
                      <a:pt x="127" y="356"/>
                      <a:pt x="135" y="348"/>
                      <a:pt x="135" y="339"/>
                    </a:cubicBezTo>
                    <a:cubicBezTo>
                      <a:pt x="135" y="329"/>
                      <a:pt x="127" y="321"/>
                      <a:pt x="117" y="321"/>
                    </a:cubicBezTo>
                    <a:cubicBezTo>
                      <a:pt x="107" y="321"/>
                      <a:pt x="99" y="329"/>
                      <a:pt x="99" y="339"/>
                    </a:cubicBezTo>
                    <a:cubicBezTo>
                      <a:pt x="99" y="348"/>
                      <a:pt x="107" y="356"/>
                      <a:pt x="117" y="356"/>
                    </a:cubicBezTo>
                    <a:close/>
                    <a:moveTo>
                      <a:pt x="135" y="26"/>
                    </a:moveTo>
                    <a:cubicBezTo>
                      <a:pt x="99" y="26"/>
                      <a:pt x="99" y="26"/>
                      <a:pt x="99" y="26"/>
                    </a:cubicBezTo>
                    <a:cubicBezTo>
                      <a:pt x="95" y="26"/>
                      <a:pt x="91" y="30"/>
                      <a:pt x="91" y="34"/>
                    </a:cubicBezTo>
                    <a:cubicBezTo>
                      <a:pt x="91" y="39"/>
                      <a:pt x="95" y="42"/>
                      <a:pt x="99" y="42"/>
                    </a:cubicBezTo>
                    <a:cubicBezTo>
                      <a:pt x="135" y="42"/>
                      <a:pt x="135" y="42"/>
                      <a:pt x="135" y="42"/>
                    </a:cubicBezTo>
                    <a:cubicBezTo>
                      <a:pt x="139" y="42"/>
                      <a:pt x="143" y="39"/>
                      <a:pt x="143" y="34"/>
                    </a:cubicBezTo>
                    <a:cubicBezTo>
                      <a:pt x="143" y="30"/>
                      <a:pt x="139" y="26"/>
                      <a:pt x="135" y="26"/>
                    </a:cubicBezTo>
                    <a:close/>
                    <a:moveTo>
                      <a:pt x="233" y="91"/>
                    </a:moveTo>
                    <a:cubicBezTo>
                      <a:pt x="237" y="91"/>
                      <a:pt x="241" y="87"/>
                      <a:pt x="241" y="83"/>
                    </a:cubicBezTo>
                    <a:cubicBezTo>
                      <a:pt x="241" y="19"/>
                      <a:pt x="241" y="19"/>
                      <a:pt x="241" y="19"/>
                    </a:cubicBezTo>
                    <a:cubicBezTo>
                      <a:pt x="241" y="9"/>
                      <a:pt x="232" y="0"/>
                      <a:pt x="221" y="0"/>
                    </a:cubicBezTo>
                    <a:cubicBezTo>
                      <a:pt x="19" y="0"/>
                      <a:pt x="19" y="0"/>
                      <a:pt x="19" y="0"/>
                    </a:cubicBezTo>
                    <a:cubicBezTo>
                      <a:pt x="8" y="0"/>
                      <a:pt x="0" y="9"/>
                      <a:pt x="0" y="19"/>
                    </a:cubicBezTo>
                    <a:cubicBezTo>
                      <a:pt x="0" y="364"/>
                      <a:pt x="0" y="364"/>
                      <a:pt x="0" y="364"/>
                    </a:cubicBezTo>
                    <a:cubicBezTo>
                      <a:pt x="0" y="375"/>
                      <a:pt x="8" y="384"/>
                      <a:pt x="19" y="384"/>
                    </a:cubicBezTo>
                    <a:cubicBezTo>
                      <a:pt x="221" y="384"/>
                      <a:pt x="221" y="384"/>
                      <a:pt x="221" y="384"/>
                    </a:cubicBezTo>
                    <a:cubicBezTo>
                      <a:pt x="232" y="384"/>
                      <a:pt x="241" y="375"/>
                      <a:pt x="241" y="364"/>
                    </a:cubicBezTo>
                    <a:cubicBezTo>
                      <a:pt x="241" y="114"/>
                      <a:pt x="241" y="114"/>
                      <a:pt x="241" y="114"/>
                    </a:cubicBezTo>
                    <a:cubicBezTo>
                      <a:pt x="241" y="110"/>
                      <a:pt x="237" y="106"/>
                      <a:pt x="233" y="106"/>
                    </a:cubicBezTo>
                    <a:cubicBezTo>
                      <a:pt x="228" y="106"/>
                      <a:pt x="225" y="110"/>
                      <a:pt x="225" y="114"/>
                    </a:cubicBezTo>
                    <a:cubicBezTo>
                      <a:pt x="225" y="296"/>
                      <a:pt x="225" y="296"/>
                      <a:pt x="225" y="296"/>
                    </a:cubicBezTo>
                    <a:cubicBezTo>
                      <a:pt x="16" y="296"/>
                      <a:pt x="16" y="296"/>
                      <a:pt x="16" y="296"/>
                    </a:cubicBezTo>
                    <a:cubicBezTo>
                      <a:pt x="16" y="69"/>
                      <a:pt x="16" y="69"/>
                      <a:pt x="16" y="69"/>
                    </a:cubicBezTo>
                    <a:cubicBezTo>
                      <a:pt x="225" y="69"/>
                      <a:pt x="225" y="69"/>
                      <a:pt x="225" y="69"/>
                    </a:cubicBezTo>
                    <a:cubicBezTo>
                      <a:pt x="225" y="83"/>
                      <a:pt x="225" y="83"/>
                      <a:pt x="225" y="83"/>
                    </a:cubicBezTo>
                    <a:cubicBezTo>
                      <a:pt x="225" y="87"/>
                      <a:pt x="228" y="91"/>
                      <a:pt x="233" y="91"/>
                    </a:cubicBezTo>
                    <a:close/>
                    <a:moveTo>
                      <a:pt x="225" y="312"/>
                    </a:moveTo>
                    <a:cubicBezTo>
                      <a:pt x="225" y="364"/>
                      <a:pt x="225" y="364"/>
                      <a:pt x="225" y="364"/>
                    </a:cubicBezTo>
                    <a:cubicBezTo>
                      <a:pt x="225" y="366"/>
                      <a:pt x="223" y="368"/>
                      <a:pt x="221" y="368"/>
                    </a:cubicBezTo>
                    <a:cubicBezTo>
                      <a:pt x="19" y="368"/>
                      <a:pt x="19" y="368"/>
                      <a:pt x="19" y="368"/>
                    </a:cubicBezTo>
                    <a:cubicBezTo>
                      <a:pt x="17" y="368"/>
                      <a:pt x="16" y="366"/>
                      <a:pt x="16" y="364"/>
                    </a:cubicBezTo>
                    <a:cubicBezTo>
                      <a:pt x="16" y="312"/>
                      <a:pt x="16" y="312"/>
                      <a:pt x="16" y="312"/>
                    </a:cubicBezTo>
                    <a:lnTo>
                      <a:pt x="225" y="312"/>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14" y="137"/>
                    </a:moveTo>
                    <a:cubicBezTo>
                      <a:pt x="114" y="142"/>
                      <a:pt x="114" y="142"/>
                      <a:pt x="114" y="142"/>
                    </a:cubicBezTo>
                    <a:cubicBezTo>
                      <a:pt x="111" y="143"/>
                      <a:pt x="109" y="143"/>
                      <a:pt x="106" y="144"/>
                    </a:cubicBezTo>
                    <a:cubicBezTo>
                      <a:pt x="103" y="146"/>
                      <a:pt x="99" y="148"/>
                      <a:pt x="96" y="151"/>
                    </a:cubicBezTo>
                    <a:cubicBezTo>
                      <a:pt x="93" y="154"/>
                      <a:pt x="91" y="159"/>
                      <a:pt x="91" y="165"/>
                    </a:cubicBezTo>
                    <a:cubicBezTo>
                      <a:pt x="91" y="170"/>
                      <a:pt x="92" y="174"/>
                      <a:pt x="94" y="178"/>
                    </a:cubicBezTo>
                    <a:cubicBezTo>
                      <a:pt x="98" y="183"/>
                      <a:pt x="103" y="186"/>
                      <a:pt x="108" y="188"/>
                    </a:cubicBezTo>
                    <a:cubicBezTo>
                      <a:pt x="113" y="189"/>
                      <a:pt x="117" y="190"/>
                      <a:pt x="120" y="190"/>
                    </a:cubicBezTo>
                    <a:cubicBezTo>
                      <a:pt x="123" y="191"/>
                      <a:pt x="127" y="192"/>
                      <a:pt x="131" y="194"/>
                    </a:cubicBezTo>
                    <a:cubicBezTo>
                      <a:pt x="134" y="195"/>
                      <a:pt x="137" y="197"/>
                      <a:pt x="138" y="200"/>
                    </a:cubicBezTo>
                    <a:cubicBezTo>
                      <a:pt x="138" y="201"/>
                      <a:pt x="138" y="202"/>
                      <a:pt x="138" y="204"/>
                    </a:cubicBezTo>
                    <a:cubicBezTo>
                      <a:pt x="138" y="206"/>
                      <a:pt x="138" y="207"/>
                      <a:pt x="137" y="209"/>
                    </a:cubicBezTo>
                    <a:cubicBezTo>
                      <a:pt x="135" y="210"/>
                      <a:pt x="132" y="212"/>
                      <a:pt x="128" y="213"/>
                    </a:cubicBezTo>
                    <a:cubicBezTo>
                      <a:pt x="125" y="214"/>
                      <a:pt x="121" y="214"/>
                      <a:pt x="121" y="214"/>
                    </a:cubicBezTo>
                    <a:cubicBezTo>
                      <a:pt x="121" y="214"/>
                      <a:pt x="121" y="214"/>
                      <a:pt x="121" y="214"/>
                    </a:cubicBezTo>
                    <a:cubicBezTo>
                      <a:pt x="116" y="214"/>
                      <a:pt x="111" y="212"/>
                      <a:pt x="107" y="210"/>
                    </a:cubicBezTo>
                    <a:cubicBezTo>
                      <a:pt x="105" y="209"/>
                      <a:pt x="103" y="208"/>
                      <a:pt x="102" y="207"/>
                    </a:cubicBezTo>
                    <a:cubicBezTo>
                      <a:pt x="102" y="207"/>
                      <a:pt x="101" y="206"/>
                      <a:pt x="101" y="206"/>
                    </a:cubicBezTo>
                    <a:cubicBezTo>
                      <a:pt x="101" y="206"/>
                      <a:pt x="101" y="206"/>
                      <a:pt x="101" y="206"/>
                    </a:cubicBezTo>
                    <a:cubicBezTo>
                      <a:pt x="98" y="203"/>
                      <a:pt x="93" y="204"/>
                      <a:pt x="91" y="207"/>
                    </a:cubicBezTo>
                    <a:cubicBezTo>
                      <a:pt x="89" y="210"/>
                      <a:pt x="89" y="214"/>
                      <a:pt x="92" y="217"/>
                    </a:cubicBezTo>
                    <a:cubicBezTo>
                      <a:pt x="92" y="217"/>
                      <a:pt x="101" y="224"/>
                      <a:pt x="114" y="227"/>
                    </a:cubicBezTo>
                    <a:cubicBezTo>
                      <a:pt x="114" y="233"/>
                      <a:pt x="114" y="233"/>
                      <a:pt x="114" y="233"/>
                    </a:cubicBezTo>
                    <a:cubicBezTo>
                      <a:pt x="114" y="236"/>
                      <a:pt x="117" y="240"/>
                      <a:pt x="121" y="240"/>
                    </a:cubicBezTo>
                    <a:cubicBezTo>
                      <a:pt x="125" y="240"/>
                      <a:pt x="128" y="236"/>
                      <a:pt x="128" y="233"/>
                    </a:cubicBezTo>
                    <a:cubicBezTo>
                      <a:pt x="128" y="227"/>
                      <a:pt x="128" y="227"/>
                      <a:pt x="128" y="227"/>
                    </a:cubicBezTo>
                    <a:cubicBezTo>
                      <a:pt x="130" y="227"/>
                      <a:pt x="133" y="226"/>
                      <a:pt x="136" y="225"/>
                    </a:cubicBezTo>
                    <a:cubicBezTo>
                      <a:pt x="140" y="223"/>
                      <a:pt x="144" y="221"/>
                      <a:pt x="147" y="218"/>
                    </a:cubicBezTo>
                    <a:cubicBezTo>
                      <a:pt x="150" y="214"/>
                      <a:pt x="152" y="209"/>
                      <a:pt x="152" y="203"/>
                    </a:cubicBezTo>
                    <a:cubicBezTo>
                      <a:pt x="152" y="200"/>
                      <a:pt x="152" y="197"/>
                      <a:pt x="150" y="194"/>
                    </a:cubicBezTo>
                    <a:cubicBezTo>
                      <a:pt x="148" y="187"/>
                      <a:pt x="142" y="183"/>
                      <a:pt x="136" y="181"/>
                    </a:cubicBezTo>
                    <a:cubicBezTo>
                      <a:pt x="131" y="179"/>
                      <a:pt x="126" y="178"/>
                      <a:pt x="123" y="177"/>
                    </a:cubicBezTo>
                    <a:cubicBezTo>
                      <a:pt x="118" y="176"/>
                      <a:pt x="113" y="175"/>
                      <a:pt x="110" y="173"/>
                    </a:cubicBezTo>
                    <a:cubicBezTo>
                      <a:pt x="108" y="172"/>
                      <a:pt x="107" y="172"/>
                      <a:pt x="106" y="170"/>
                    </a:cubicBezTo>
                    <a:cubicBezTo>
                      <a:pt x="105" y="169"/>
                      <a:pt x="105" y="168"/>
                      <a:pt x="105" y="165"/>
                    </a:cubicBezTo>
                    <a:cubicBezTo>
                      <a:pt x="105" y="163"/>
                      <a:pt x="105" y="162"/>
                      <a:pt x="106" y="160"/>
                    </a:cubicBezTo>
                    <a:cubicBezTo>
                      <a:pt x="108" y="159"/>
                      <a:pt x="111" y="157"/>
                      <a:pt x="114" y="156"/>
                    </a:cubicBezTo>
                    <a:cubicBezTo>
                      <a:pt x="116" y="156"/>
                      <a:pt x="118" y="156"/>
                      <a:pt x="119" y="156"/>
                    </a:cubicBezTo>
                    <a:cubicBezTo>
                      <a:pt x="119" y="156"/>
                      <a:pt x="120" y="156"/>
                      <a:pt x="120" y="156"/>
                    </a:cubicBezTo>
                    <a:cubicBezTo>
                      <a:pt x="120" y="156"/>
                      <a:pt x="120" y="156"/>
                      <a:pt x="120" y="156"/>
                    </a:cubicBezTo>
                    <a:cubicBezTo>
                      <a:pt x="126" y="156"/>
                      <a:pt x="130" y="157"/>
                      <a:pt x="132" y="158"/>
                    </a:cubicBezTo>
                    <a:cubicBezTo>
                      <a:pt x="133" y="158"/>
                      <a:pt x="134" y="159"/>
                      <a:pt x="134" y="159"/>
                    </a:cubicBezTo>
                    <a:cubicBezTo>
                      <a:pt x="135" y="159"/>
                      <a:pt x="135" y="159"/>
                      <a:pt x="135" y="159"/>
                    </a:cubicBezTo>
                    <a:cubicBezTo>
                      <a:pt x="135" y="159"/>
                      <a:pt x="135" y="159"/>
                      <a:pt x="135" y="159"/>
                    </a:cubicBezTo>
                    <a:cubicBezTo>
                      <a:pt x="138" y="162"/>
                      <a:pt x="142" y="162"/>
                      <a:pt x="145" y="159"/>
                    </a:cubicBezTo>
                    <a:cubicBezTo>
                      <a:pt x="147" y="156"/>
                      <a:pt x="147" y="152"/>
                      <a:pt x="144" y="149"/>
                    </a:cubicBezTo>
                    <a:cubicBezTo>
                      <a:pt x="143" y="148"/>
                      <a:pt x="138" y="144"/>
                      <a:pt x="127" y="142"/>
                    </a:cubicBezTo>
                    <a:cubicBezTo>
                      <a:pt x="127" y="137"/>
                      <a:pt x="127" y="137"/>
                      <a:pt x="127" y="137"/>
                    </a:cubicBezTo>
                    <a:cubicBezTo>
                      <a:pt x="127" y="133"/>
                      <a:pt x="124" y="130"/>
                      <a:pt x="121" y="130"/>
                    </a:cubicBezTo>
                    <a:cubicBezTo>
                      <a:pt x="117" y="130"/>
                      <a:pt x="114" y="133"/>
                      <a:pt x="114" y="137"/>
                    </a:cubicBezTo>
                    <a:close/>
                    <a:moveTo>
                      <a:pt x="34" y="185"/>
                    </a:moveTo>
                    <a:cubicBezTo>
                      <a:pt x="34" y="233"/>
                      <a:pt x="73" y="272"/>
                      <a:pt x="121" y="272"/>
                    </a:cubicBezTo>
                    <a:cubicBezTo>
                      <a:pt x="169" y="272"/>
                      <a:pt x="208" y="233"/>
                      <a:pt x="208" y="185"/>
                    </a:cubicBezTo>
                    <a:cubicBezTo>
                      <a:pt x="208" y="137"/>
                      <a:pt x="169" y="98"/>
                      <a:pt x="121" y="98"/>
                    </a:cubicBezTo>
                    <a:cubicBezTo>
                      <a:pt x="73" y="98"/>
                      <a:pt x="34" y="137"/>
                      <a:pt x="34" y="185"/>
                    </a:cubicBezTo>
                    <a:close/>
                    <a:moveTo>
                      <a:pt x="192" y="185"/>
                    </a:moveTo>
                    <a:cubicBezTo>
                      <a:pt x="192" y="224"/>
                      <a:pt x="160" y="256"/>
                      <a:pt x="121" y="256"/>
                    </a:cubicBezTo>
                    <a:cubicBezTo>
                      <a:pt x="82" y="256"/>
                      <a:pt x="50" y="224"/>
                      <a:pt x="50" y="185"/>
                    </a:cubicBezTo>
                    <a:cubicBezTo>
                      <a:pt x="50" y="146"/>
                      <a:pt x="82" y="114"/>
                      <a:pt x="121" y="114"/>
                    </a:cubicBezTo>
                    <a:cubicBezTo>
                      <a:pt x="160" y="114"/>
                      <a:pt x="192" y="146"/>
                      <a:pt x="192" y="1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24" name="Freeform 6"/>
              <p:cNvSpPr>
                <a:spLocks noEditPoints="1"/>
              </p:cNvSpPr>
              <p:nvPr/>
            </p:nvSpPr>
            <p:spPr bwMode="auto">
              <a:xfrm>
                <a:off x="6646686" y="3585112"/>
                <a:ext cx="115785" cy="151367"/>
              </a:xfrm>
              <a:custGeom>
                <a:avLst/>
                <a:gdLst>
                  <a:gd name="T0" fmla="*/ 2147483647 w 292"/>
                  <a:gd name="T1" fmla="*/ 2147483647 h 391"/>
                  <a:gd name="T2" fmla="*/ 2147483647 w 292"/>
                  <a:gd name="T3" fmla="*/ 0 h 391"/>
                  <a:gd name="T4" fmla="*/ 0 w 292"/>
                  <a:gd name="T5" fmla="*/ 2147483647 h 391"/>
                  <a:gd name="T6" fmla="*/ 2147483647 w 292"/>
                  <a:gd name="T7" fmla="*/ 2147483647 h 391"/>
                  <a:gd name="T8" fmla="*/ 2147483647 w 292"/>
                  <a:gd name="T9" fmla="*/ 2147483647 h 391"/>
                  <a:gd name="T10" fmla="*/ 2147483647 w 292"/>
                  <a:gd name="T11" fmla="*/ 2147483647 h 391"/>
                  <a:gd name="T12" fmla="*/ 2147483647 w 292"/>
                  <a:gd name="T13" fmla="*/ 2147483647 h 391"/>
                  <a:gd name="T14" fmla="*/ 2147483647 w 292"/>
                  <a:gd name="T15" fmla="*/ 2147483647 h 391"/>
                  <a:gd name="T16" fmla="*/ 2147483647 w 292"/>
                  <a:gd name="T17" fmla="*/ 2147483647 h 391"/>
                  <a:gd name="T18" fmla="*/ 2147483647 w 292"/>
                  <a:gd name="T19" fmla="*/ 2147483647 h 391"/>
                  <a:gd name="T20" fmla="*/ 2147483647 w 292"/>
                  <a:gd name="T21" fmla="*/ 2147483647 h 391"/>
                  <a:gd name="T22" fmla="*/ 2147483647 w 292"/>
                  <a:gd name="T23" fmla="*/ 2147483647 h 391"/>
                  <a:gd name="T24" fmla="*/ 2147483647 w 292"/>
                  <a:gd name="T25" fmla="*/ 2147483647 h 391"/>
                  <a:gd name="T26" fmla="*/ 2147483647 w 292"/>
                  <a:gd name="T27" fmla="*/ 2147483647 h 391"/>
                  <a:gd name="T28" fmla="*/ 2147483647 w 292"/>
                  <a:gd name="T29" fmla="*/ 2147483647 h 391"/>
                  <a:gd name="T30" fmla="*/ 2147483647 w 292"/>
                  <a:gd name="T31" fmla="*/ 2147483647 h 391"/>
                  <a:gd name="T32" fmla="*/ 2147483647 w 292"/>
                  <a:gd name="T33" fmla="*/ 2147483647 h 391"/>
                  <a:gd name="T34" fmla="*/ 2147483647 w 292"/>
                  <a:gd name="T35" fmla="*/ 2147483647 h 391"/>
                  <a:gd name="T36" fmla="*/ 2147483647 w 292"/>
                  <a:gd name="T37" fmla="*/ 2147483647 h 391"/>
                  <a:gd name="T38" fmla="*/ 2147483647 w 292"/>
                  <a:gd name="T39" fmla="*/ 2147483647 h 391"/>
                  <a:gd name="T40" fmla="*/ 2147483647 w 292"/>
                  <a:gd name="T41" fmla="*/ 2147483647 h 391"/>
                  <a:gd name="T42" fmla="*/ 2147483647 w 292"/>
                  <a:gd name="T43" fmla="*/ 2147483647 h 391"/>
                  <a:gd name="T44" fmla="*/ 2147483647 w 292"/>
                  <a:gd name="T45" fmla="*/ 2147483647 h 391"/>
                  <a:gd name="T46" fmla="*/ 2147483647 w 292"/>
                  <a:gd name="T47" fmla="*/ 2147483647 h 391"/>
                  <a:gd name="T48" fmla="*/ 2147483647 w 292"/>
                  <a:gd name="T49" fmla="*/ 2147483647 h 391"/>
                  <a:gd name="T50" fmla="*/ 2147483647 w 292"/>
                  <a:gd name="T51" fmla="*/ 2147483647 h 391"/>
                  <a:gd name="T52" fmla="*/ 2147483647 w 292"/>
                  <a:gd name="T53" fmla="*/ 2147483647 h 391"/>
                  <a:gd name="T54" fmla="*/ 2147483647 w 292"/>
                  <a:gd name="T55" fmla="*/ 2147483647 h 391"/>
                  <a:gd name="T56" fmla="*/ 2147483647 w 292"/>
                  <a:gd name="T57" fmla="*/ 2147483647 h 391"/>
                  <a:gd name="T58" fmla="*/ 2147483647 w 292"/>
                  <a:gd name="T59" fmla="*/ 2147483647 h 391"/>
                  <a:gd name="T60" fmla="*/ 2147483647 w 292"/>
                  <a:gd name="T61" fmla="*/ 2147483647 h 391"/>
                  <a:gd name="T62" fmla="*/ 2147483647 w 292"/>
                  <a:gd name="T63" fmla="*/ 2147483647 h 391"/>
                  <a:gd name="T64" fmla="*/ 2147483647 w 292"/>
                  <a:gd name="T65" fmla="*/ 2147483647 h 391"/>
                  <a:gd name="T66" fmla="*/ 2147483647 w 292"/>
                  <a:gd name="T67" fmla="*/ 2147483647 h 391"/>
                  <a:gd name="T68" fmla="*/ 2147483647 w 292"/>
                  <a:gd name="T69" fmla="*/ 2147483647 h 391"/>
                  <a:gd name="T70" fmla="*/ 2147483647 w 292"/>
                  <a:gd name="T71" fmla="*/ 2147483647 h 391"/>
                  <a:gd name="T72" fmla="*/ 2147483647 w 292"/>
                  <a:gd name="T73" fmla="*/ 2147483647 h 391"/>
                  <a:gd name="T74" fmla="*/ 2147483647 w 292"/>
                  <a:gd name="T75" fmla="*/ 2147483647 h 391"/>
                  <a:gd name="T76" fmla="*/ 2147483647 w 292"/>
                  <a:gd name="T77" fmla="*/ 2147483647 h 391"/>
                  <a:gd name="T78" fmla="*/ 2147483647 w 292"/>
                  <a:gd name="T79" fmla="*/ 2147483647 h 391"/>
                  <a:gd name="T80" fmla="*/ 2147483647 w 292"/>
                  <a:gd name="T81" fmla="*/ 2147483647 h 391"/>
                  <a:gd name="T82" fmla="*/ 2147483647 w 292"/>
                  <a:gd name="T83" fmla="*/ 2147483647 h 391"/>
                  <a:gd name="T84" fmla="*/ 2147483647 w 292"/>
                  <a:gd name="T85" fmla="*/ 2147483647 h 391"/>
                  <a:gd name="T86" fmla="*/ 2147483647 w 292"/>
                  <a:gd name="T87" fmla="*/ 2147483647 h 391"/>
                  <a:gd name="T88" fmla="*/ 2147483647 w 292"/>
                  <a:gd name="T89" fmla="*/ 2147483647 h 391"/>
                  <a:gd name="T90" fmla="*/ 2147483647 w 292"/>
                  <a:gd name="T91" fmla="*/ 2147483647 h 391"/>
                  <a:gd name="T92" fmla="*/ 2147483647 w 292"/>
                  <a:gd name="T93" fmla="*/ 2147483647 h 391"/>
                  <a:gd name="T94" fmla="*/ 2147483647 w 292"/>
                  <a:gd name="T95" fmla="*/ 2147483647 h 39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292" h="391">
                    <a:moveTo>
                      <a:pt x="284" y="84"/>
                    </a:moveTo>
                    <a:cubicBezTo>
                      <a:pt x="288" y="84"/>
                      <a:pt x="292" y="80"/>
                      <a:pt x="292" y="76"/>
                    </a:cubicBezTo>
                    <a:cubicBezTo>
                      <a:pt x="292" y="49"/>
                      <a:pt x="292" y="49"/>
                      <a:pt x="292" y="49"/>
                    </a:cubicBezTo>
                    <a:cubicBezTo>
                      <a:pt x="292" y="22"/>
                      <a:pt x="270" y="0"/>
                      <a:pt x="244" y="0"/>
                    </a:cubicBezTo>
                    <a:cubicBezTo>
                      <a:pt x="48" y="0"/>
                      <a:pt x="48" y="0"/>
                      <a:pt x="48" y="0"/>
                    </a:cubicBezTo>
                    <a:cubicBezTo>
                      <a:pt x="22" y="0"/>
                      <a:pt x="0" y="22"/>
                      <a:pt x="0" y="49"/>
                    </a:cubicBezTo>
                    <a:cubicBezTo>
                      <a:pt x="0" y="343"/>
                      <a:pt x="0" y="343"/>
                      <a:pt x="0" y="343"/>
                    </a:cubicBezTo>
                    <a:cubicBezTo>
                      <a:pt x="0" y="370"/>
                      <a:pt x="22" y="391"/>
                      <a:pt x="48" y="391"/>
                    </a:cubicBezTo>
                    <a:cubicBezTo>
                      <a:pt x="244" y="391"/>
                      <a:pt x="244" y="391"/>
                      <a:pt x="244" y="391"/>
                    </a:cubicBezTo>
                    <a:cubicBezTo>
                      <a:pt x="270" y="391"/>
                      <a:pt x="292" y="370"/>
                      <a:pt x="292" y="343"/>
                    </a:cubicBezTo>
                    <a:cubicBezTo>
                      <a:pt x="292" y="108"/>
                      <a:pt x="292" y="108"/>
                      <a:pt x="292" y="108"/>
                    </a:cubicBezTo>
                    <a:cubicBezTo>
                      <a:pt x="292" y="103"/>
                      <a:pt x="288" y="100"/>
                      <a:pt x="284" y="100"/>
                    </a:cubicBezTo>
                    <a:cubicBezTo>
                      <a:pt x="280" y="100"/>
                      <a:pt x="276" y="103"/>
                      <a:pt x="276" y="108"/>
                    </a:cubicBezTo>
                    <a:cubicBezTo>
                      <a:pt x="276" y="343"/>
                      <a:pt x="276" y="343"/>
                      <a:pt x="276" y="343"/>
                    </a:cubicBezTo>
                    <a:cubicBezTo>
                      <a:pt x="276" y="361"/>
                      <a:pt x="262" y="375"/>
                      <a:pt x="244" y="375"/>
                    </a:cubicBezTo>
                    <a:cubicBezTo>
                      <a:pt x="48" y="375"/>
                      <a:pt x="48" y="375"/>
                      <a:pt x="48" y="375"/>
                    </a:cubicBezTo>
                    <a:cubicBezTo>
                      <a:pt x="30" y="375"/>
                      <a:pt x="16" y="361"/>
                      <a:pt x="16" y="343"/>
                    </a:cubicBezTo>
                    <a:cubicBezTo>
                      <a:pt x="16" y="49"/>
                      <a:pt x="16" y="49"/>
                      <a:pt x="16" y="49"/>
                    </a:cubicBezTo>
                    <a:cubicBezTo>
                      <a:pt x="16" y="31"/>
                      <a:pt x="30" y="16"/>
                      <a:pt x="48" y="16"/>
                    </a:cubicBezTo>
                    <a:cubicBezTo>
                      <a:pt x="244" y="16"/>
                      <a:pt x="244" y="16"/>
                      <a:pt x="244" y="16"/>
                    </a:cubicBezTo>
                    <a:cubicBezTo>
                      <a:pt x="262" y="16"/>
                      <a:pt x="276" y="31"/>
                      <a:pt x="276" y="49"/>
                    </a:cubicBezTo>
                    <a:cubicBezTo>
                      <a:pt x="276" y="76"/>
                      <a:pt x="276" y="76"/>
                      <a:pt x="276" y="76"/>
                    </a:cubicBezTo>
                    <a:cubicBezTo>
                      <a:pt x="276" y="80"/>
                      <a:pt x="280" y="84"/>
                      <a:pt x="284" y="84"/>
                    </a:cubicBezTo>
                    <a:close/>
                    <a:moveTo>
                      <a:pt x="216" y="70"/>
                    </a:moveTo>
                    <a:cubicBezTo>
                      <a:pt x="214" y="68"/>
                      <a:pt x="211" y="67"/>
                      <a:pt x="209" y="68"/>
                    </a:cubicBezTo>
                    <a:cubicBezTo>
                      <a:pt x="120" y="89"/>
                      <a:pt x="120" y="89"/>
                      <a:pt x="120" y="89"/>
                    </a:cubicBezTo>
                    <a:cubicBezTo>
                      <a:pt x="117" y="89"/>
                      <a:pt x="114" y="93"/>
                      <a:pt x="114" y="96"/>
                    </a:cubicBezTo>
                    <a:cubicBezTo>
                      <a:pt x="114" y="165"/>
                      <a:pt x="114" y="165"/>
                      <a:pt x="114" y="165"/>
                    </a:cubicBezTo>
                    <a:cubicBezTo>
                      <a:pt x="110" y="164"/>
                      <a:pt x="106" y="163"/>
                      <a:pt x="102" y="163"/>
                    </a:cubicBezTo>
                    <a:cubicBezTo>
                      <a:pt x="86" y="163"/>
                      <a:pt x="73" y="175"/>
                      <a:pt x="73" y="191"/>
                    </a:cubicBezTo>
                    <a:cubicBezTo>
                      <a:pt x="73" y="207"/>
                      <a:pt x="86" y="219"/>
                      <a:pt x="102" y="219"/>
                    </a:cubicBezTo>
                    <a:cubicBezTo>
                      <a:pt x="117" y="219"/>
                      <a:pt x="130" y="207"/>
                      <a:pt x="130" y="191"/>
                    </a:cubicBezTo>
                    <a:cubicBezTo>
                      <a:pt x="130" y="191"/>
                      <a:pt x="130" y="191"/>
                      <a:pt x="130" y="191"/>
                    </a:cubicBezTo>
                    <a:cubicBezTo>
                      <a:pt x="130" y="103"/>
                      <a:pt x="130" y="103"/>
                      <a:pt x="130" y="103"/>
                    </a:cubicBezTo>
                    <a:cubicBezTo>
                      <a:pt x="203" y="86"/>
                      <a:pt x="203" y="86"/>
                      <a:pt x="203" y="86"/>
                    </a:cubicBezTo>
                    <a:cubicBezTo>
                      <a:pt x="203" y="143"/>
                      <a:pt x="203" y="143"/>
                      <a:pt x="203" y="143"/>
                    </a:cubicBezTo>
                    <a:cubicBezTo>
                      <a:pt x="199" y="141"/>
                      <a:pt x="195" y="140"/>
                      <a:pt x="190" y="140"/>
                    </a:cubicBezTo>
                    <a:cubicBezTo>
                      <a:pt x="175" y="140"/>
                      <a:pt x="162" y="153"/>
                      <a:pt x="162" y="169"/>
                    </a:cubicBezTo>
                    <a:cubicBezTo>
                      <a:pt x="162" y="184"/>
                      <a:pt x="175" y="197"/>
                      <a:pt x="190" y="197"/>
                    </a:cubicBezTo>
                    <a:cubicBezTo>
                      <a:pt x="206" y="197"/>
                      <a:pt x="219" y="184"/>
                      <a:pt x="219" y="169"/>
                    </a:cubicBezTo>
                    <a:cubicBezTo>
                      <a:pt x="219" y="76"/>
                      <a:pt x="219" y="76"/>
                      <a:pt x="219" y="76"/>
                    </a:cubicBezTo>
                    <a:cubicBezTo>
                      <a:pt x="219" y="73"/>
                      <a:pt x="218" y="71"/>
                      <a:pt x="216" y="70"/>
                    </a:cubicBezTo>
                    <a:close/>
                    <a:moveTo>
                      <a:pt x="56" y="295"/>
                    </a:moveTo>
                    <a:cubicBezTo>
                      <a:pt x="49" y="295"/>
                      <a:pt x="44" y="300"/>
                      <a:pt x="44" y="307"/>
                    </a:cubicBezTo>
                    <a:cubicBezTo>
                      <a:pt x="44" y="333"/>
                      <a:pt x="44" y="333"/>
                      <a:pt x="44" y="333"/>
                    </a:cubicBezTo>
                    <a:cubicBezTo>
                      <a:pt x="44" y="340"/>
                      <a:pt x="49" y="345"/>
                      <a:pt x="56" y="345"/>
                    </a:cubicBezTo>
                    <a:cubicBezTo>
                      <a:pt x="82" y="345"/>
                      <a:pt x="82" y="345"/>
                      <a:pt x="82" y="345"/>
                    </a:cubicBezTo>
                    <a:cubicBezTo>
                      <a:pt x="88" y="345"/>
                      <a:pt x="93" y="340"/>
                      <a:pt x="93" y="333"/>
                    </a:cubicBezTo>
                    <a:cubicBezTo>
                      <a:pt x="93" y="307"/>
                      <a:pt x="93" y="307"/>
                      <a:pt x="93" y="307"/>
                    </a:cubicBezTo>
                    <a:cubicBezTo>
                      <a:pt x="93" y="300"/>
                      <a:pt x="88" y="295"/>
                      <a:pt x="82" y="295"/>
                    </a:cubicBezTo>
                    <a:lnTo>
                      <a:pt x="56" y="295"/>
                    </a:lnTo>
                    <a:close/>
                    <a:moveTo>
                      <a:pt x="120" y="285"/>
                    </a:moveTo>
                    <a:cubicBezTo>
                      <a:pt x="114" y="285"/>
                      <a:pt x="109" y="290"/>
                      <a:pt x="109" y="296"/>
                    </a:cubicBezTo>
                    <a:cubicBezTo>
                      <a:pt x="109" y="343"/>
                      <a:pt x="109" y="343"/>
                      <a:pt x="109" y="343"/>
                    </a:cubicBezTo>
                    <a:cubicBezTo>
                      <a:pt x="109" y="350"/>
                      <a:pt x="114" y="355"/>
                      <a:pt x="120" y="355"/>
                    </a:cubicBezTo>
                    <a:cubicBezTo>
                      <a:pt x="172" y="355"/>
                      <a:pt x="172" y="355"/>
                      <a:pt x="172" y="355"/>
                    </a:cubicBezTo>
                    <a:cubicBezTo>
                      <a:pt x="178" y="355"/>
                      <a:pt x="183" y="350"/>
                      <a:pt x="183" y="343"/>
                    </a:cubicBezTo>
                    <a:cubicBezTo>
                      <a:pt x="183" y="296"/>
                      <a:pt x="183" y="296"/>
                      <a:pt x="183" y="296"/>
                    </a:cubicBezTo>
                    <a:cubicBezTo>
                      <a:pt x="183" y="290"/>
                      <a:pt x="178" y="285"/>
                      <a:pt x="172" y="285"/>
                    </a:cubicBezTo>
                    <a:lnTo>
                      <a:pt x="120" y="285"/>
                    </a:lnTo>
                    <a:close/>
                    <a:moveTo>
                      <a:pt x="161" y="321"/>
                    </a:moveTo>
                    <a:cubicBezTo>
                      <a:pt x="134" y="336"/>
                      <a:pt x="134" y="336"/>
                      <a:pt x="134" y="336"/>
                    </a:cubicBezTo>
                    <a:cubicBezTo>
                      <a:pt x="134" y="336"/>
                      <a:pt x="133" y="336"/>
                      <a:pt x="133" y="336"/>
                    </a:cubicBezTo>
                    <a:cubicBezTo>
                      <a:pt x="133" y="336"/>
                      <a:pt x="132" y="335"/>
                      <a:pt x="132" y="335"/>
                    </a:cubicBezTo>
                    <a:cubicBezTo>
                      <a:pt x="132" y="305"/>
                      <a:pt x="132" y="305"/>
                      <a:pt x="132" y="305"/>
                    </a:cubicBezTo>
                    <a:cubicBezTo>
                      <a:pt x="132" y="304"/>
                      <a:pt x="133" y="304"/>
                      <a:pt x="133" y="304"/>
                    </a:cubicBezTo>
                    <a:cubicBezTo>
                      <a:pt x="133" y="303"/>
                      <a:pt x="134" y="303"/>
                      <a:pt x="134" y="304"/>
                    </a:cubicBezTo>
                    <a:cubicBezTo>
                      <a:pt x="161" y="319"/>
                      <a:pt x="161" y="319"/>
                      <a:pt x="161" y="319"/>
                    </a:cubicBezTo>
                    <a:cubicBezTo>
                      <a:pt x="161" y="319"/>
                      <a:pt x="161" y="319"/>
                      <a:pt x="161" y="320"/>
                    </a:cubicBezTo>
                    <a:cubicBezTo>
                      <a:pt x="161" y="320"/>
                      <a:pt x="161" y="321"/>
                      <a:pt x="161" y="321"/>
                    </a:cubicBezTo>
                    <a:close/>
                    <a:moveTo>
                      <a:pt x="262" y="233"/>
                    </a:moveTo>
                    <a:cubicBezTo>
                      <a:pt x="262" y="62"/>
                      <a:pt x="262" y="62"/>
                      <a:pt x="262" y="62"/>
                    </a:cubicBezTo>
                    <a:cubicBezTo>
                      <a:pt x="262" y="45"/>
                      <a:pt x="248" y="32"/>
                      <a:pt x="231" y="32"/>
                    </a:cubicBezTo>
                    <a:cubicBezTo>
                      <a:pt x="61" y="32"/>
                      <a:pt x="61" y="32"/>
                      <a:pt x="61" y="32"/>
                    </a:cubicBezTo>
                    <a:cubicBezTo>
                      <a:pt x="44" y="32"/>
                      <a:pt x="30" y="45"/>
                      <a:pt x="30" y="62"/>
                    </a:cubicBezTo>
                    <a:cubicBezTo>
                      <a:pt x="30" y="233"/>
                      <a:pt x="30" y="233"/>
                      <a:pt x="30" y="233"/>
                    </a:cubicBezTo>
                    <a:cubicBezTo>
                      <a:pt x="30" y="250"/>
                      <a:pt x="44" y="264"/>
                      <a:pt x="61" y="264"/>
                    </a:cubicBezTo>
                    <a:cubicBezTo>
                      <a:pt x="231" y="264"/>
                      <a:pt x="231" y="264"/>
                      <a:pt x="231" y="264"/>
                    </a:cubicBezTo>
                    <a:cubicBezTo>
                      <a:pt x="248" y="264"/>
                      <a:pt x="262" y="250"/>
                      <a:pt x="262" y="233"/>
                    </a:cubicBezTo>
                    <a:close/>
                    <a:moveTo>
                      <a:pt x="246" y="233"/>
                    </a:moveTo>
                    <a:cubicBezTo>
                      <a:pt x="246" y="241"/>
                      <a:pt x="239" y="248"/>
                      <a:pt x="231" y="248"/>
                    </a:cubicBezTo>
                    <a:cubicBezTo>
                      <a:pt x="61" y="248"/>
                      <a:pt x="61" y="248"/>
                      <a:pt x="61" y="248"/>
                    </a:cubicBezTo>
                    <a:cubicBezTo>
                      <a:pt x="53" y="248"/>
                      <a:pt x="46" y="241"/>
                      <a:pt x="46" y="233"/>
                    </a:cubicBezTo>
                    <a:cubicBezTo>
                      <a:pt x="46" y="62"/>
                      <a:pt x="46" y="62"/>
                      <a:pt x="46" y="62"/>
                    </a:cubicBezTo>
                    <a:cubicBezTo>
                      <a:pt x="46" y="54"/>
                      <a:pt x="53" y="48"/>
                      <a:pt x="61" y="48"/>
                    </a:cubicBezTo>
                    <a:cubicBezTo>
                      <a:pt x="231" y="48"/>
                      <a:pt x="231" y="48"/>
                      <a:pt x="231" y="48"/>
                    </a:cubicBezTo>
                    <a:cubicBezTo>
                      <a:pt x="239" y="48"/>
                      <a:pt x="246" y="54"/>
                      <a:pt x="246" y="62"/>
                    </a:cubicBezTo>
                    <a:lnTo>
                      <a:pt x="246" y="233"/>
                    </a:lnTo>
                    <a:close/>
                    <a:moveTo>
                      <a:pt x="210" y="295"/>
                    </a:moveTo>
                    <a:cubicBezTo>
                      <a:pt x="203" y="295"/>
                      <a:pt x="198" y="300"/>
                      <a:pt x="198" y="307"/>
                    </a:cubicBezTo>
                    <a:cubicBezTo>
                      <a:pt x="198" y="333"/>
                      <a:pt x="198" y="333"/>
                      <a:pt x="198" y="333"/>
                    </a:cubicBezTo>
                    <a:cubicBezTo>
                      <a:pt x="198" y="340"/>
                      <a:pt x="203" y="345"/>
                      <a:pt x="210" y="345"/>
                    </a:cubicBezTo>
                    <a:cubicBezTo>
                      <a:pt x="235" y="345"/>
                      <a:pt x="235" y="345"/>
                      <a:pt x="235" y="345"/>
                    </a:cubicBezTo>
                    <a:cubicBezTo>
                      <a:pt x="242" y="345"/>
                      <a:pt x="247" y="340"/>
                      <a:pt x="247" y="333"/>
                    </a:cubicBezTo>
                    <a:cubicBezTo>
                      <a:pt x="247" y="307"/>
                      <a:pt x="247" y="307"/>
                      <a:pt x="247" y="307"/>
                    </a:cubicBezTo>
                    <a:cubicBezTo>
                      <a:pt x="247" y="300"/>
                      <a:pt x="242" y="295"/>
                      <a:pt x="235" y="295"/>
                    </a:cubicBezTo>
                    <a:lnTo>
                      <a:pt x="210" y="2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25" name="Freeform 3"/>
              <p:cNvSpPr>
                <a:spLocks noChangeAspect="1" noEditPoints="1"/>
              </p:cNvSpPr>
              <p:nvPr/>
            </p:nvSpPr>
            <p:spPr bwMode="auto">
              <a:xfrm>
                <a:off x="6612504" y="3994477"/>
                <a:ext cx="149967" cy="146448"/>
              </a:xfrm>
              <a:custGeom>
                <a:avLst/>
                <a:gdLst>
                  <a:gd name="T0" fmla="*/ 2147483647 w 379"/>
                  <a:gd name="T1" fmla="*/ 2147483647 h 378"/>
                  <a:gd name="T2" fmla="*/ 2147483647 w 379"/>
                  <a:gd name="T3" fmla="*/ 0 h 378"/>
                  <a:gd name="T4" fmla="*/ 0 w 379"/>
                  <a:gd name="T5" fmla="*/ 2147483647 h 378"/>
                  <a:gd name="T6" fmla="*/ 2147483647 w 379"/>
                  <a:gd name="T7" fmla="*/ 2147483647 h 378"/>
                  <a:gd name="T8" fmla="*/ 2147483647 w 379"/>
                  <a:gd name="T9" fmla="*/ 2147483647 h 378"/>
                  <a:gd name="T10" fmla="*/ 2147483647 w 379"/>
                  <a:gd name="T11" fmla="*/ 2147483647 h 378"/>
                  <a:gd name="T12" fmla="*/ 2147483647 w 379"/>
                  <a:gd name="T13" fmla="*/ 2147483647 h 378"/>
                  <a:gd name="T14" fmla="*/ 2147483647 w 379"/>
                  <a:gd name="T15" fmla="*/ 2147483647 h 378"/>
                  <a:gd name="T16" fmla="*/ 2147483647 w 379"/>
                  <a:gd name="T17" fmla="*/ 2147483647 h 378"/>
                  <a:gd name="T18" fmla="*/ 2147483647 w 379"/>
                  <a:gd name="T19" fmla="*/ 2147483647 h 378"/>
                  <a:gd name="T20" fmla="*/ 2147483647 w 379"/>
                  <a:gd name="T21" fmla="*/ 2147483647 h 378"/>
                  <a:gd name="T22" fmla="*/ 2147483647 w 379"/>
                  <a:gd name="T23" fmla="*/ 2147483647 h 378"/>
                  <a:gd name="T24" fmla="*/ 2147483647 w 379"/>
                  <a:gd name="T25" fmla="*/ 2147483647 h 378"/>
                  <a:gd name="T26" fmla="*/ 2147483647 w 379"/>
                  <a:gd name="T27" fmla="*/ 2147483647 h 378"/>
                  <a:gd name="T28" fmla="*/ 2147483647 w 379"/>
                  <a:gd name="T29" fmla="*/ 2147483647 h 378"/>
                  <a:gd name="T30" fmla="*/ 2147483647 w 379"/>
                  <a:gd name="T31" fmla="*/ 2147483647 h 378"/>
                  <a:gd name="T32" fmla="*/ 2147483647 w 379"/>
                  <a:gd name="T33" fmla="*/ 2147483647 h 378"/>
                  <a:gd name="T34" fmla="*/ 2147483647 w 379"/>
                  <a:gd name="T35" fmla="*/ 2147483647 h 378"/>
                  <a:gd name="T36" fmla="*/ 2147483647 w 379"/>
                  <a:gd name="T37" fmla="*/ 2147483647 h 378"/>
                  <a:gd name="T38" fmla="*/ 2147483647 w 379"/>
                  <a:gd name="T39" fmla="*/ 2147483647 h 378"/>
                  <a:gd name="T40" fmla="*/ 2147483647 w 379"/>
                  <a:gd name="T41" fmla="*/ 2147483647 h 378"/>
                  <a:gd name="T42" fmla="*/ 2147483647 w 379"/>
                  <a:gd name="T43" fmla="*/ 2147483647 h 378"/>
                  <a:gd name="T44" fmla="*/ 2147483647 w 379"/>
                  <a:gd name="T45" fmla="*/ 2147483647 h 378"/>
                  <a:gd name="T46" fmla="*/ 2147483647 w 379"/>
                  <a:gd name="T47" fmla="*/ 2147483647 h 378"/>
                  <a:gd name="T48" fmla="*/ 2147483647 w 379"/>
                  <a:gd name="T49" fmla="*/ 2147483647 h 378"/>
                  <a:gd name="T50" fmla="*/ 2147483647 w 379"/>
                  <a:gd name="T51" fmla="*/ 2147483647 h 378"/>
                  <a:gd name="T52" fmla="*/ 2147483647 w 379"/>
                  <a:gd name="T53" fmla="*/ 2147483647 h 378"/>
                  <a:gd name="T54" fmla="*/ 2147483647 w 379"/>
                  <a:gd name="T55" fmla="*/ 2147483647 h 378"/>
                  <a:gd name="T56" fmla="*/ 2147483647 w 379"/>
                  <a:gd name="T57" fmla="*/ 2147483647 h 378"/>
                  <a:gd name="T58" fmla="*/ 2147483647 w 379"/>
                  <a:gd name="T59" fmla="*/ 2147483647 h 378"/>
                  <a:gd name="T60" fmla="*/ 2147483647 w 379"/>
                  <a:gd name="T61" fmla="*/ 2147483647 h 378"/>
                  <a:gd name="T62" fmla="*/ 2147483647 w 379"/>
                  <a:gd name="T63" fmla="*/ 2147483647 h 378"/>
                  <a:gd name="T64" fmla="*/ 2147483647 w 379"/>
                  <a:gd name="T65" fmla="*/ 2147483647 h 378"/>
                  <a:gd name="T66" fmla="*/ 2147483647 w 379"/>
                  <a:gd name="T67" fmla="*/ 2147483647 h 378"/>
                  <a:gd name="T68" fmla="*/ 2147483647 w 379"/>
                  <a:gd name="T69" fmla="*/ 2147483647 h 378"/>
                  <a:gd name="T70" fmla="*/ 2147483647 w 379"/>
                  <a:gd name="T71" fmla="*/ 2147483647 h 378"/>
                  <a:gd name="T72" fmla="*/ 2147483647 w 379"/>
                  <a:gd name="T73" fmla="*/ 2147483647 h 378"/>
                  <a:gd name="T74" fmla="*/ 2147483647 w 379"/>
                  <a:gd name="T75" fmla="*/ 2147483647 h 378"/>
                  <a:gd name="T76" fmla="*/ 2147483647 w 379"/>
                  <a:gd name="T77" fmla="*/ 2147483647 h 378"/>
                  <a:gd name="T78" fmla="*/ 2147483647 w 379"/>
                  <a:gd name="T79" fmla="*/ 2147483647 h 378"/>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379" h="378">
                    <a:moveTo>
                      <a:pt x="371" y="41"/>
                    </a:moveTo>
                    <a:cubicBezTo>
                      <a:pt x="375" y="41"/>
                      <a:pt x="379" y="37"/>
                      <a:pt x="379" y="32"/>
                    </a:cubicBezTo>
                    <a:cubicBezTo>
                      <a:pt x="379" y="25"/>
                      <a:pt x="379" y="25"/>
                      <a:pt x="379" y="25"/>
                    </a:cubicBezTo>
                    <a:cubicBezTo>
                      <a:pt x="379" y="11"/>
                      <a:pt x="368" y="0"/>
                      <a:pt x="354" y="0"/>
                    </a:cubicBezTo>
                    <a:cubicBezTo>
                      <a:pt x="24" y="0"/>
                      <a:pt x="24" y="0"/>
                      <a:pt x="24" y="0"/>
                    </a:cubicBezTo>
                    <a:cubicBezTo>
                      <a:pt x="11" y="0"/>
                      <a:pt x="0" y="11"/>
                      <a:pt x="0" y="25"/>
                    </a:cubicBezTo>
                    <a:cubicBezTo>
                      <a:pt x="0" y="236"/>
                      <a:pt x="0" y="236"/>
                      <a:pt x="0" y="236"/>
                    </a:cubicBezTo>
                    <a:cubicBezTo>
                      <a:pt x="0" y="250"/>
                      <a:pt x="11" y="261"/>
                      <a:pt x="24" y="261"/>
                    </a:cubicBezTo>
                    <a:cubicBezTo>
                      <a:pt x="94" y="261"/>
                      <a:pt x="94" y="261"/>
                      <a:pt x="94" y="261"/>
                    </a:cubicBezTo>
                    <a:cubicBezTo>
                      <a:pt x="92" y="268"/>
                      <a:pt x="90" y="276"/>
                      <a:pt x="90" y="285"/>
                    </a:cubicBezTo>
                    <a:cubicBezTo>
                      <a:pt x="90" y="358"/>
                      <a:pt x="90" y="358"/>
                      <a:pt x="90" y="358"/>
                    </a:cubicBezTo>
                    <a:cubicBezTo>
                      <a:pt x="90" y="366"/>
                      <a:pt x="96" y="378"/>
                      <a:pt x="111" y="378"/>
                    </a:cubicBezTo>
                    <a:cubicBezTo>
                      <a:pt x="268" y="378"/>
                      <a:pt x="268" y="378"/>
                      <a:pt x="268" y="378"/>
                    </a:cubicBezTo>
                    <a:cubicBezTo>
                      <a:pt x="276" y="378"/>
                      <a:pt x="288" y="372"/>
                      <a:pt x="288" y="358"/>
                    </a:cubicBezTo>
                    <a:cubicBezTo>
                      <a:pt x="288" y="285"/>
                      <a:pt x="288" y="285"/>
                      <a:pt x="288" y="285"/>
                    </a:cubicBezTo>
                    <a:cubicBezTo>
                      <a:pt x="288" y="276"/>
                      <a:pt x="287" y="268"/>
                      <a:pt x="284" y="261"/>
                    </a:cubicBezTo>
                    <a:cubicBezTo>
                      <a:pt x="354" y="261"/>
                      <a:pt x="354" y="261"/>
                      <a:pt x="354" y="261"/>
                    </a:cubicBezTo>
                    <a:cubicBezTo>
                      <a:pt x="368" y="261"/>
                      <a:pt x="379" y="250"/>
                      <a:pt x="379" y="236"/>
                    </a:cubicBezTo>
                    <a:cubicBezTo>
                      <a:pt x="379" y="65"/>
                      <a:pt x="379" y="65"/>
                      <a:pt x="379" y="65"/>
                    </a:cubicBezTo>
                    <a:cubicBezTo>
                      <a:pt x="379" y="60"/>
                      <a:pt x="375" y="56"/>
                      <a:pt x="371" y="56"/>
                    </a:cubicBezTo>
                    <a:cubicBezTo>
                      <a:pt x="366" y="56"/>
                      <a:pt x="362" y="60"/>
                      <a:pt x="362" y="65"/>
                    </a:cubicBezTo>
                    <a:cubicBezTo>
                      <a:pt x="362" y="236"/>
                      <a:pt x="362" y="236"/>
                      <a:pt x="362" y="236"/>
                    </a:cubicBezTo>
                    <a:cubicBezTo>
                      <a:pt x="362" y="241"/>
                      <a:pt x="359" y="244"/>
                      <a:pt x="354" y="244"/>
                    </a:cubicBezTo>
                    <a:cubicBezTo>
                      <a:pt x="276" y="244"/>
                      <a:pt x="276" y="244"/>
                      <a:pt x="276" y="244"/>
                    </a:cubicBezTo>
                    <a:cubicBezTo>
                      <a:pt x="268" y="231"/>
                      <a:pt x="256" y="222"/>
                      <a:pt x="245" y="215"/>
                    </a:cubicBezTo>
                    <a:cubicBezTo>
                      <a:pt x="260" y="200"/>
                      <a:pt x="270" y="180"/>
                      <a:pt x="270" y="157"/>
                    </a:cubicBezTo>
                    <a:cubicBezTo>
                      <a:pt x="270" y="112"/>
                      <a:pt x="234" y="76"/>
                      <a:pt x="189" y="76"/>
                    </a:cubicBezTo>
                    <a:cubicBezTo>
                      <a:pt x="145" y="76"/>
                      <a:pt x="108" y="112"/>
                      <a:pt x="108" y="157"/>
                    </a:cubicBezTo>
                    <a:cubicBezTo>
                      <a:pt x="108" y="180"/>
                      <a:pt x="118" y="200"/>
                      <a:pt x="133" y="215"/>
                    </a:cubicBezTo>
                    <a:cubicBezTo>
                      <a:pt x="123" y="222"/>
                      <a:pt x="111" y="231"/>
                      <a:pt x="102" y="244"/>
                    </a:cubicBezTo>
                    <a:cubicBezTo>
                      <a:pt x="24" y="244"/>
                      <a:pt x="24" y="244"/>
                      <a:pt x="24" y="244"/>
                    </a:cubicBezTo>
                    <a:cubicBezTo>
                      <a:pt x="20" y="244"/>
                      <a:pt x="16" y="241"/>
                      <a:pt x="16" y="236"/>
                    </a:cubicBezTo>
                    <a:cubicBezTo>
                      <a:pt x="16" y="25"/>
                      <a:pt x="16" y="25"/>
                      <a:pt x="16" y="25"/>
                    </a:cubicBezTo>
                    <a:cubicBezTo>
                      <a:pt x="16" y="20"/>
                      <a:pt x="20" y="16"/>
                      <a:pt x="24" y="16"/>
                    </a:cubicBezTo>
                    <a:cubicBezTo>
                      <a:pt x="354" y="16"/>
                      <a:pt x="354" y="16"/>
                      <a:pt x="354" y="16"/>
                    </a:cubicBezTo>
                    <a:cubicBezTo>
                      <a:pt x="359" y="16"/>
                      <a:pt x="362" y="20"/>
                      <a:pt x="362" y="25"/>
                    </a:cubicBezTo>
                    <a:cubicBezTo>
                      <a:pt x="362" y="32"/>
                      <a:pt x="362" y="32"/>
                      <a:pt x="362" y="32"/>
                    </a:cubicBezTo>
                    <a:cubicBezTo>
                      <a:pt x="362" y="37"/>
                      <a:pt x="366" y="41"/>
                      <a:pt x="371" y="41"/>
                    </a:cubicBezTo>
                    <a:close/>
                    <a:moveTo>
                      <a:pt x="124" y="157"/>
                    </a:moveTo>
                    <a:cubicBezTo>
                      <a:pt x="124" y="121"/>
                      <a:pt x="153" y="92"/>
                      <a:pt x="189" y="92"/>
                    </a:cubicBezTo>
                    <a:cubicBezTo>
                      <a:pt x="225" y="92"/>
                      <a:pt x="254" y="121"/>
                      <a:pt x="254" y="157"/>
                    </a:cubicBezTo>
                    <a:cubicBezTo>
                      <a:pt x="254" y="192"/>
                      <a:pt x="225" y="222"/>
                      <a:pt x="189" y="222"/>
                    </a:cubicBezTo>
                    <a:cubicBezTo>
                      <a:pt x="153" y="222"/>
                      <a:pt x="124" y="192"/>
                      <a:pt x="124" y="157"/>
                    </a:cubicBezTo>
                    <a:close/>
                    <a:moveTo>
                      <a:pt x="106" y="285"/>
                    </a:moveTo>
                    <a:cubicBezTo>
                      <a:pt x="106" y="253"/>
                      <a:pt x="130" y="234"/>
                      <a:pt x="147" y="226"/>
                    </a:cubicBezTo>
                    <a:cubicBezTo>
                      <a:pt x="160" y="233"/>
                      <a:pt x="174" y="238"/>
                      <a:pt x="189" y="238"/>
                    </a:cubicBezTo>
                    <a:cubicBezTo>
                      <a:pt x="205" y="238"/>
                      <a:pt x="219" y="233"/>
                      <a:pt x="231" y="226"/>
                    </a:cubicBezTo>
                    <a:cubicBezTo>
                      <a:pt x="248" y="234"/>
                      <a:pt x="272" y="252"/>
                      <a:pt x="272" y="285"/>
                    </a:cubicBezTo>
                    <a:cubicBezTo>
                      <a:pt x="272" y="358"/>
                      <a:pt x="272" y="358"/>
                      <a:pt x="272" y="358"/>
                    </a:cubicBezTo>
                    <a:cubicBezTo>
                      <a:pt x="272" y="359"/>
                      <a:pt x="272" y="362"/>
                      <a:pt x="268" y="362"/>
                    </a:cubicBezTo>
                    <a:cubicBezTo>
                      <a:pt x="255" y="362"/>
                      <a:pt x="255" y="362"/>
                      <a:pt x="255" y="362"/>
                    </a:cubicBezTo>
                    <a:cubicBezTo>
                      <a:pt x="255" y="277"/>
                      <a:pt x="255" y="277"/>
                      <a:pt x="255" y="277"/>
                    </a:cubicBezTo>
                    <a:cubicBezTo>
                      <a:pt x="255" y="273"/>
                      <a:pt x="252" y="269"/>
                      <a:pt x="247" y="269"/>
                    </a:cubicBezTo>
                    <a:cubicBezTo>
                      <a:pt x="243" y="269"/>
                      <a:pt x="239" y="273"/>
                      <a:pt x="239" y="277"/>
                    </a:cubicBezTo>
                    <a:cubicBezTo>
                      <a:pt x="239" y="362"/>
                      <a:pt x="239" y="362"/>
                      <a:pt x="239" y="362"/>
                    </a:cubicBezTo>
                    <a:cubicBezTo>
                      <a:pt x="139" y="362"/>
                      <a:pt x="139" y="362"/>
                      <a:pt x="139" y="362"/>
                    </a:cubicBezTo>
                    <a:cubicBezTo>
                      <a:pt x="139" y="277"/>
                      <a:pt x="139" y="277"/>
                      <a:pt x="139" y="277"/>
                    </a:cubicBezTo>
                    <a:cubicBezTo>
                      <a:pt x="139" y="273"/>
                      <a:pt x="136" y="269"/>
                      <a:pt x="131" y="269"/>
                    </a:cubicBezTo>
                    <a:cubicBezTo>
                      <a:pt x="127" y="269"/>
                      <a:pt x="123" y="273"/>
                      <a:pt x="123" y="277"/>
                    </a:cubicBezTo>
                    <a:cubicBezTo>
                      <a:pt x="123" y="362"/>
                      <a:pt x="123" y="362"/>
                      <a:pt x="123" y="362"/>
                    </a:cubicBezTo>
                    <a:cubicBezTo>
                      <a:pt x="111" y="362"/>
                      <a:pt x="111" y="362"/>
                      <a:pt x="111" y="362"/>
                    </a:cubicBezTo>
                    <a:cubicBezTo>
                      <a:pt x="109" y="362"/>
                      <a:pt x="107" y="362"/>
                      <a:pt x="106" y="358"/>
                    </a:cubicBezTo>
                    <a:lnTo>
                      <a:pt x="106" y="285"/>
                    </a:lnTo>
                    <a:close/>
                    <a:moveTo>
                      <a:pt x="287" y="176"/>
                    </a:moveTo>
                    <a:cubicBezTo>
                      <a:pt x="289" y="178"/>
                      <a:pt x="291" y="179"/>
                      <a:pt x="293" y="179"/>
                    </a:cubicBezTo>
                    <a:cubicBezTo>
                      <a:pt x="294" y="179"/>
                      <a:pt x="294" y="179"/>
                      <a:pt x="295" y="179"/>
                    </a:cubicBezTo>
                    <a:cubicBezTo>
                      <a:pt x="308" y="176"/>
                      <a:pt x="331" y="163"/>
                      <a:pt x="328" y="136"/>
                    </a:cubicBezTo>
                    <a:cubicBezTo>
                      <a:pt x="325" y="112"/>
                      <a:pt x="304" y="105"/>
                      <a:pt x="289" y="105"/>
                    </a:cubicBezTo>
                    <a:cubicBezTo>
                      <a:pt x="270" y="68"/>
                      <a:pt x="233" y="44"/>
                      <a:pt x="189" y="44"/>
                    </a:cubicBezTo>
                    <a:cubicBezTo>
                      <a:pt x="189" y="44"/>
                      <a:pt x="189" y="44"/>
                      <a:pt x="189" y="44"/>
                    </a:cubicBezTo>
                    <a:cubicBezTo>
                      <a:pt x="145" y="44"/>
                      <a:pt x="107" y="69"/>
                      <a:pt x="89" y="105"/>
                    </a:cubicBezTo>
                    <a:cubicBezTo>
                      <a:pt x="74" y="105"/>
                      <a:pt x="53" y="112"/>
                      <a:pt x="50" y="136"/>
                    </a:cubicBezTo>
                    <a:cubicBezTo>
                      <a:pt x="47" y="163"/>
                      <a:pt x="70" y="176"/>
                      <a:pt x="83" y="179"/>
                    </a:cubicBezTo>
                    <a:cubicBezTo>
                      <a:pt x="86" y="179"/>
                      <a:pt x="89" y="178"/>
                      <a:pt x="91" y="176"/>
                    </a:cubicBezTo>
                    <a:cubicBezTo>
                      <a:pt x="93" y="175"/>
                      <a:pt x="93" y="172"/>
                      <a:pt x="93" y="169"/>
                    </a:cubicBezTo>
                    <a:cubicBezTo>
                      <a:pt x="92" y="163"/>
                      <a:pt x="92" y="157"/>
                      <a:pt x="92" y="157"/>
                    </a:cubicBezTo>
                    <a:cubicBezTo>
                      <a:pt x="92" y="103"/>
                      <a:pt x="135" y="60"/>
                      <a:pt x="189" y="60"/>
                    </a:cubicBezTo>
                    <a:cubicBezTo>
                      <a:pt x="243" y="60"/>
                      <a:pt x="286" y="103"/>
                      <a:pt x="286" y="157"/>
                    </a:cubicBezTo>
                    <a:cubicBezTo>
                      <a:pt x="286" y="157"/>
                      <a:pt x="286" y="163"/>
                      <a:pt x="285" y="169"/>
                    </a:cubicBezTo>
                    <a:cubicBezTo>
                      <a:pt x="285" y="172"/>
                      <a:pt x="285" y="175"/>
                      <a:pt x="287" y="1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26" name="Freeform 6"/>
              <p:cNvSpPr>
                <a:spLocks noEditPoints="1"/>
              </p:cNvSpPr>
              <p:nvPr/>
            </p:nvSpPr>
            <p:spPr bwMode="auto">
              <a:xfrm>
                <a:off x="6172611" y="4315396"/>
                <a:ext cx="118802" cy="111515"/>
              </a:xfrm>
              <a:custGeom>
                <a:avLst/>
                <a:gdLst>
                  <a:gd name="T0" fmla="*/ 2147483647 w 300"/>
                  <a:gd name="T1" fmla="*/ 2147483647 h 288"/>
                  <a:gd name="T2" fmla="*/ 2147483647 w 300"/>
                  <a:gd name="T3" fmla="*/ 2147483647 h 288"/>
                  <a:gd name="T4" fmla="*/ 2147483647 w 300"/>
                  <a:gd name="T5" fmla="*/ 0 h 288"/>
                  <a:gd name="T6" fmla="*/ 2147483647 w 300"/>
                  <a:gd name="T7" fmla="*/ 2147483647 h 288"/>
                  <a:gd name="T8" fmla="*/ 2147483647 w 300"/>
                  <a:gd name="T9" fmla="*/ 2147483647 h 288"/>
                  <a:gd name="T10" fmla="*/ 2147483647 w 300"/>
                  <a:gd name="T11" fmla="*/ 2147483647 h 288"/>
                  <a:gd name="T12" fmla="*/ 2147483647 w 300"/>
                  <a:gd name="T13" fmla="*/ 2147483647 h 288"/>
                  <a:gd name="T14" fmla="*/ 2147483647 w 300"/>
                  <a:gd name="T15" fmla="*/ 2147483647 h 288"/>
                  <a:gd name="T16" fmla="*/ 2147483647 w 300"/>
                  <a:gd name="T17" fmla="*/ 2147483647 h 288"/>
                  <a:gd name="T18" fmla="*/ 2147483647 w 300"/>
                  <a:gd name="T19" fmla="*/ 2147483647 h 288"/>
                  <a:gd name="T20" fmla="*/ 2147483647 w 300"/>
                  <a:gd name="T21" fmla="*/ 2147483647 h 288"/>
                  <a:gd name="T22" fmla="*/ 2147483647 w 300"/>
                  <a:gd name="T23" fmla="*/ 2147483647 h 288"/>
                  <a:gd name="T24" fmla="*/ 2147483647 w 300"/>
                  <a:gd name="T25" fmla="*/ 2147483647 h 288"/>
                  <a:gd name="T26" fmla="*/ 0 w 300"/>
                  <a:gd name="T27" fmla="*/ 2147483647 h 288"/>
                  <a:gd name="T28" fmla="*/ 0 w 300"/>
                  <a:gd name="T29" fmla="*/ 2147483647 h 288"/>
                  <a:gd name="T30" fmla="*/ 2147483647 w 300"/>
                  <a:gd name="T31" fmla="*/ 2147483647 h 288"/>
                  <a:gd name="T32" fmla="*/ 2147483647 w 300"/>
                  <a:gd name="T33" fmla="*/ 2147483647 h 288"/>
                  <a:gd name="T34" fmla="*/ 2147483647 w 300"/>
                  <a:gd name="T35" fmla="*/ 2147483647 h 288"/>
                  <a:gd name="T36" fmla="*/ 2147483647 w 300"/>
                  <a:gd name="T37" fmla="*/ 2147483647 h 288"/>
                  <a:gd name="T38" fmla="*/ 2147483647 w 300"/>
                  <a:gd name="T39" fmla="*/ 2147483647 h 288"/>
                  <a:gd name="T40" fmla="*/ 2147483647 w 300"/>
                  <a:gd name="T41" fmla="*/ 2147483647 h 288"/>
                  <a:gd name="T42" fmla="*/ 2147483647 w 300"/>
                  <a:gd name="T43" fmla="*/ 2147483647 h 288"/>
                  <a:gd name="T44" fmla="*/ 2147483647 w 300"/>
                  <a:gd name="T45" fmla="*/ 2147483647 h 288"/>
                  <a:gd name="T46" fmla="*/ 2147483647 w 300"/>
                  <a:gd name="T47" fmla="*/ 2147483647 h 288"/>
                  <a:gd name="T48" fmla="*/ 2147483647 w 300"/>
                  <a:gd name="T49" fmla="*/ 2147483647 h 288"/>
                  <a:gd name="T50" fmla="*/ 2147483647 w 300"/>
                  <a:gd name="T51" fmla="*/ 2147483647 h 288"/>
                  <a:gd name="T52" fmla="*/ 2147483647 w 300"/>
                  <a:gd name="T53" fmla="*/ 2147483647 h 288"/>
                  <a:gd name="T54" fmla="*/ 2147483647 w 300"/>
                  <a:gd name="T55" fmla="*/ 2147483647 h 288"/>
                  <a:gd name="T56" fmla="*/ 2147483647 w 300"/>
                  <a:gd name="T57" fmla="*/ 2147483647 h 288"/>
                  <a:gd name="T58" fmla="*/ 2147483647 w 300"/>
                  <a:gd name="T59" fmla="*/ 2147483647 h 288"/>
                  <a:gd name="T60" fmla="*/ 2147483647 w 300"/>
                  <a:gd name="T61" fmla="*/ 2147483647 h 288"/>
                  <a:gd name="T62" fmla="*/ 2147483647 w 300"/>
                  <a:gd name="T63" fmla="*/ 2147483647 h 288"/>
                  <a:gd name="T64" fmla="*/ 2147483647 w 300"/>
                  <a:gd name="T65" fmla="*/ 2147483647 h 288"/>
                  <a:gd name="T66" fmla="*/ 2147483647 w 300"/>
                  <a:gd name="T67" fmla="*/ 2147483647 h 288"/>
                  <a:gd name="T68" fmla="*/ 2147483647 w 300"/>
                  <a:gd name="T69" fmla="*/ 2147483647 h 288"/>
                  <a:gd name="T70" fmla="*/ 2147483647 w 300"/>
                  <a:gd name="T71" fmla="*/ 2147483647 h 288"/>
                  <a:gd name="T72" fmla="*/ 2147483647 w 300"/>
                  <a:gd name="T73" fmla="*/ 2147483647 h 288"/>
                  <a:gd name="T74" fmla="*/ 2147483647 w 300"/>
                  <a:gd name="T75" fmla="*/ 2147483647 h 288"/>
                  <a:gd name="T76" fmla="*/ 2147483647 w 300"/>
                  <a:gd name="T77" fmla="*/ 2147483647 h 288"/>
                  <a:gd name="T78" fmla="*/ 0 w 300"/>
                  <a:gd name="T79" fmla="*/ 2147483647 h 288"/>
                  <a:gd name="T80" fmla="*/ 0 w 300"/>
                  <a:gd name="T81" fmla="*/ 2147483647 h 288"/>
                  <a:gd name="T82" fmla="*/ 2147483647 w 300"/>
                  <a:gd name="T83" fmla="*/ 2147483647 h 288"/>
                  <a:gd name="T84" fmla="*/ 2147483647 w 300"/>
                  <a:gd name="T85" fmla="*/ 2147483647 h 288"/>
                  <a:gd name="T86" fmla="*/ 2147483647 w 300"/>
                  <a:gd name="T87" fmla="*/ 2147483647 h 288"/>
                  <a:gd name="T88" fmla="*/ 2147483647 w 300"/>
                  <a:gd name="T89" fmla="*/ 2147483647 h 288"/>
                  <a:gd name="T90" fmla="*/ 2147483647 w 300"/>
                  <a:gd name="T91" fmla="*/ 2147483647 h 288"/>
                  <a:gd name="T92" fmla="*/ 2147483647 w 300"/>
                  <a:gd name="T93" fmla="*/ 2147483647 h 288"/>
                  <a:gd name="T94" fmla="*/ 2147483647 w 300"/>
                  <a:gd name="T95" fmla="*/ 2147483647 h 288"/>
                  <a:gd name="T96" fmla="*/ 2147483647 w 300"/>
                  <a:gd name="T97" fmla="*/ 2147483647 h 288"/>
                  <a:gd name="T98" fmla="*/ 2147483647 w 300"/>
                  <a:gd name="T99" fmla="*/ 2147483647 h 288"/>
                  <a:gd name="T100" fmla="*/ 2147483647 w 300"/>
                  <a:gd name="T101" fmla="*/ 2147483647 h 288"/>
                  <a:gd name="T102" fmla="*/ 2147483647 w 300"/>
                  <a:gd name="T103" fmla="*/ 2147483647 h 288"/>
                  <a:gd name="T104" fmla="*/ 2147483647 w 300"/>
                  <a:gd name="T105" fmla="*/ 0 h 288"/>
                  <a:gd name="T106" fmla="*/ 2147483647 w 300"/>
                  <a:gd name="T107" fmla="*/ 2147483647 h 288"/>
                  <a:gd name="T108" fmla="*/ 2147483647 w 300"/>
                  <a:gd name="T109" fmla="*/ 2147483647 h 28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300" h="288">
                    <a:moveTo>
                      <a:pt x="171" y="83"/>
                    </a:moveTo>
                    <a:cubicBezTo>
                      <a:pt x="194" y="83"/>
                      <a:pt x="213" y="64"/>
                      <a:pt x="213" y="41"/>
                    </a:cubicBezTo>
                    <a:cubicBezTo>
                      <a:pt x="213" y="19"/>
                      <a:pt x="194" y="0"/>
                      <a:pt x="171" y="0"/>
                    </a:cubicBezTo>
                    <a:cubicBezTo>
                      <a:pt x="149" y="0"/>
                      <a:pt x="130" y="19"/>
                      <a:pt x="130" y="41"/>
                    </a:cubicBezTo>
                    <a:cubicBezTo>
                      <a:pt x="130" y="64"/>
                      <a:pt x="149" y="83"/>
                      <a:pt x="171" y="83"/>
                    </a:cubicBezTo>
                    <a:close/>
                    <a:moveTo>
                      <a:pt x="300" y="142"/>
                    </a:moveTo>
                    <a:cubicBezTo>
                      <a:pt x="300" y="137"/>
                      <a:pt x="299" y="132"/>
                      <a:pt x="296" y="128"/>
                    </a:cubicBezTo>
                    <a:cubicBezTo>
                      <a:pt x="294" y="124"/>
                      <a:pt x="289" y="122"/>
                      <a:pt x="284" y="122"/>
                    </a:cubicBezTo>
                    <a:cubicBezTo>
                      <a:pt x="279" y="122"/>
                      <a:pt x="275" y="124"/>
                      <a:pt x="271" y="127"/>
                    </a:cubicBezTo>
                    <a:cubicBezTo>
                      <a:pt x="271" y="127"/>
                      <a:pt x="247" y="146"/>
                      <a:pt x="229" y="161"/>
                    </a:cubicBezTo>
                    <a:cubicBezTo>
                      <a:pt x="229" y="139"/>
                      <a:pt x="229" y="139"/>
                      <a:pt x="229" y="139"/>
                    </a:cubicBezTo>
                    <a:cubicBezTo>
                      <a:pt x="229" y="116"/>
                      <a:pt x="210" y="97"/>
                      <a:pt x="187" y="97"/>
                    </a:cubicBezTo>
                    <a:cubicBezTo>
                      <a:pt x="42" y="97"/>
                      <a:pt x="42" y="97"/>
                      <a:pt x="42" y="97"/>
                    </a:cubicBezTo>
                    <a:cubicBezTo>
                      <a:pt x="19" y="97"/>
                      <a:pt x="0" y="116"/>
                      <a:pt x="0" y="139"/>
                    </a:cubicBezTo>
                    <a:cubicBezTo>
                      <a:pt x="0" y="197"/>
                      <a:pt x="0" y="197"/>
                      <a:pt x="0" y="197"/>
                    </a:cubicBezTo>
                    <a:cubicBezTo>
                      <a:pt x="0" y="201"/>
                      <a:pt x="4" y="205"/>
                      <a:pt x="8" y="205"/>
                    </a:cubicBezTo>
                    <a:cubicBezTo>
                      <a:pt x="12" y="205"/>
                      <a:pt x="16" y="201"/>
                      <a:pt x="16" y="197"/>
                    </a:cubicBezTo>
                    <a:cubicBezTo>
                      <a:pt x="16" y="139"/>
                      <a:pt x="16" y="139"/>
                      <a:pt x="16" y="139"/>
                    </a:cubicBezTo>
                    <a:cubicBezTo>
                      <a:pt x="16" y="125"/>
                      <a:pt x="28" y="113"/>
                      <a:pt x="42" y="113"/>
                    </a:cubicBezTo>
                    <a:cubicBezTo>
                      <a:pt x="187" y="113"/>
                      <a:pt x="187" y="113"/>
                      <a:pt x="187" y="113"/>
                    </a:cubicBezTo>
                    <a:cubicBezTo>
                      <a:pt x="201" y="113"/>
                      <a:pt x="213" y="125"/>
                      <a:pt x="213" y="139"/>
                    </a:cubicBezTo>
                    <a:cubicBezTo>
                      <a:pt x="213" y="177"/>
                      <a:pt x="213" y="177"/>
                      <a:pt x="213" y="177"/>
                    </a:cubicBezTo>
                    <a:cubicBezTo>
                      <a:pt x="213" y="180"/>
                      <a:pt x="215" y="183"/>
                      <a:pt x="217" y="184"/>
                    </a:cubicBezTo>
                    <a:cubicBezTo>
                      <a:pt x="220" y="186"/>
                      <a:pt x="223" y="185"/>
                      <a:pt x="226" y="183"/>
                    </a:cubicBezTo>
                    <a:cubicBezTo>
                      <a:pt x="235" y="176"/>
                      <a:pt x="280" y="140"/>
                      <a:pt x="281" y="140"/>
                    </a:cubicBezTo>
                    <a:cubicBezTo>
                      <a:pt x="282" y="139"/>
                      <a:pt x="283" y="138"/>
                      <a:pt x="283" y="138"/>
                    </a:cubicBezTo>
                    <a:cubicBezTo>
                      <a:pt x="284" y="139"/>
                      <a:pt x="284" y="140"/>
                      <a:pt x="284" y="142"/>
                    </a:cubicBezTo>
                    <a:cubicBezTo>
                      <a:pt x="284" y="143"/>
                      <a:pt x="284" y="250"/>
                      <a:pt x="284" y="252"/>
                    </a:cubicBezTo>
                    <a:cubicBezTo>
                      <a:pt x="284" y="253"/>
                      <a:pt x="284" y="255"/>
                      <a:pt x="283" y="255"/>
                    </a:cubicBezTo>
                    <a:cubicBezTo>
                      <a:pt x="283" y="255"/>
                      <a:pt x="282" y="255"/>
                      <a:pt x="281" y="254"/>
                    </a:cubicBezTo>
                    <a:cubicBezTo>
                      <a:pt x="275" y="249"/>
                      <a:pt x="244" y="224"/>
                      <a:pt x="226" y="210"/>
                    </a:cubicBezTo>
                    <a:cubicBezTo>
                      <a:pt x="223" y="208"/>
                      <a:pt x="220" y="208"/>
                      <a:pt x="217" y="209"/>
                    </a:cubicBezTo>
                    <a:cubicBezTo>
                      <a:pt x="215" y="211"/>
                      <a:pt x="213" y="213"/>
                      <a:pt x="213" y="216"/>
                    </a:cubicBezTo>
                    <a:cubicBezTo>
                      <a:pt x="213" y="246"/>
                      <a:pt x="213" y="246"/>
                      <a:pt x="213" y="246"/>
                    </a:cubicBezTo>
                    <a:cubicBezTo>
                      <a:pt x="213" y="260"/>
                      <a:pt x="201" y="272"/>
                      <a:pt x="187" y="272"/>
                    </a:cubicBezTo>
                    <a:cubicBezTo>
                      <a:pt x="42" y="272"/>
                      <a:pt x="42" y="272"/>
                      <a:pt x="42" y="272"/>
                    </a:cubicBezTo>
                    <a:cubicBezTo>
                      <a:pt x="28" y="272"/>
                      <a:pt x="16" y="260"/>
                      <a:pt x="16" y="246"/>
                    </a:cubicBezTo>
                    <a:cubicBezTo>
                      <a:pt x="16" y="229"/>
                      <a:pt x="16" y="229"/>
                      <a:pt x="16" y="229"/>
                    </a:cubicBezTo>
                    <a:cubicBezTo>
                      <a:pt x="16" y="224"/>
                      <a:pt x="12" y="221"/>
                      <a:pt x="8" y="221"/>
                    </a:cubicBezTo>
                    <a:cubicBezTo>
                      <a:pt x="4" y="221"/>
                      <a:pt x="0" y="224"/>
                      <a:pt x="0" y="229"/>
                    </a:cubicBezTo>
                    <a:cubicBezTo>
                      <a:pt x="0" y="246"/>
                      <a:pt x="0" y="246"/>
                      <a:pt x="0" y="246"/>
                    </a:cubicBezTo>
                    <a:cubicBezTo>
                      <a:pt x="0" y="269"/>
                      <a:pt x="19" y="288"/>
                      <a:pt x="42" y="288"/>
                    </a:cubicBezTo>
                    <a:cubicBezTo>
                      <a:pt x="187" y="288"/>
                      <a:pt x="187" y="288"/>
                      <a:pt x="187" y="288"/>
                    </a:cubicBezTo>
                    <a:cubicBezTo>
                      <a:pt x="210" y="288"/>
                      <a:pt x="229" y="269"/>
                      <a:pt x="229" y="246"/>
                    </a:cubicBezTo>
                    <a:cubicBezTo>
                      <a:pt x="229" y="233"/>
                      <a:pt x="229" y="233"/>
                      <a:pt x="229" y="233"/>
                    </a:cubicBezTo>
                    <a:cubicBezTo>
                      <a:pt x="246" y="246"/>
                      <a:pt x="266" y="262"/>
                      <a:pt x="271" y="266"/>
                    </a:cubicBezTo>
                    <a:cubicBezTo>
                      <a:pt x="275" y="269"/>
                      <a:pt x="279" y="271"/>
                      <a:pt x="284" y="271"/>
                    </a:cubicBezTo>
                    <a:cubicBezTo>
                      <a:pt x="288" y="272"/>
                      <a:pt x="293" y="269"/>
                      <a:pt x="296" y="265"/>
                    </a:cubicBezTo>
                    <a:cubicBezTo>
                      <a:pt x="299" y="261"/>
                      <a:pt x="300" y="257"/>
                      <a:pt x="300" y="252"/>
                    </a:cubicBezTo>
                    <a:cubicBezTo>
                      <a:pt x="300" y="250"/>
                      <a:pt x="300" y="143"/>
                      <a:pt x="300" y="142"/>
                    </a:cubicBezTo>
                    <a:close/>
                    <a:moveTo>
                      <a:pt x="66" y="83"/>
                    </a:moveTo>
                    <a:cubicBezTo>
                      <a:pt x="89" y="83"/>
                      <a:pt x="107" y="64"/>
                      <a:pt x="107" y="41"/>
                    </a:cubicBezTo>
                    <a:cubicBezTo>
                      <a:pt x="107" y="19"/>
                      <a:pt x="89" y="0"/>
                      <a:pt x="66" y="0"/>
                    </a:cubicBezTo>
                    <a:cubicBezTo>
                      <a:pt x="43" y="0"/>
                      <a:pt x="25" y="19"/>
                      <a:pt x="25" y="41"/>
                    </a:cubicBezTo>
                    <a:cubicBezTo>
                      <a:pt x="25" y="64"/>
                      <a:pt x="43" y="83"/>
                      <a:pt x="66" y="8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27" name="Freeform 3"/>
              <p:cNvSpPr>
                <a:spLocks noChangeAspect="1" noEditPoints="1"/>
              </p:cNvSpPr>
              <p:nvPr/>
            </p:nvSpPr>
            <p:spPr bwMode="auto">
              <a:xfrm>
                <a:off x="6385696" y="3905119"/>
                <a:ext cx="189681" cy="180065"/>
              </a:xfrm>
              <a:custGeom>
                <a:avLst/>
                <a:gdLst>
                  <a:gd name="T0" fmla="*/ 2147483647 w 479"/>
                  <a:gd name="T1" fmla="*/ 2147483647 h 465"/>
                  <a:gd name="T2" fmla="*/ 2147483647 w 479"/>
                  <a:gd name="T3" fmla="*/ 0 h 465"/>
                  <a:gd name="T4" fmla="*/ 2147483647 w 479"/>
                  <a:gd name="T5" fmla="*/ 2147483647 h 465"/>
                  <a:gd name="T6" fmla="*/ 2147483647 w 479"/>
                  <a:gd name="T7" fmla="*/ 2147483647 h 465"/>
                  <a:gd name="T8" fmla="*/ 2147483647 w 479"/>
                  <a:gd name="T9" fmla="*/ 2147483647 h 465"/>
                  <a:gd name="T10" fmla="*/ 2147483647 w 479"/>
                  <a:gd name="T11" fmla="*/ 2147483647 h 465"/>
                  <a:gd name="T12" fmla="*/ 2147483647 w 479"/>
                  <a:gd name="T13" fmla="*/ 2147483647 h 465"/>
                  <a:gd name="T14" fmla="*/ 2147483647 w 479"/>
                  <a:gd name="T15" fmla="*/ 2147483647 h 465"/>
                  <a:gd name="T16" fmla="*/ 2147483647 w 479"/>
                  <a:gd name="T17" fmla="*/ 2147483647 h 465"/>
                  <a:gd name="T18" fmla="*/ 2147483647 w 479"/>
                  <a:gd name="T19" fmla="*/ 2147483647 h 465"/>
                  <a:gd name="T20" fmla="*/ 2147483647 w 479"/>
                  <a:gd name="T21" fmla="*/ 2147483647 h 465"/>
                  <a:gd name="T22" fmla="*/ 2147483647 w 479"/>
                  <a:gd name="T23" fmla="*/ 2147483647 h 465"/>
                  <a:gd name="T24" fmla="*/ 2147483647 w 479"/>
                  <a:gd name="T25" fmla="*/ 2147483647 h 465"/>
                  <a:gd name="T26" fmla="*/ 2147483647 w 479"/>
                  <a:gd name="T27" fmla="*/ 2147483647 h 465"/>
                  <a:gd name="T28" fmla="*/ 2147483647 w 479"/>
                  <a:gd name="T29" fmla="*/ 2147483647 h 465"/>
                  <a:gd name="T30" fmla="*/ 2147483647 w 479"/>
                  <a:gd name="T31" fmla="*/ 2147483647 h 465"/>
                  <a:gd name="T32" fmla="*/ 2147483647 w 479"/>
                  <a:gd name="T33" fmla="*/ 2147483647 h 465"/>
                  <a:gd name="T34" fmla="*/ 2147483647 w 479"/>
                  <a:gd name="T35" fmla="*/ 2147483647 h 465"/>
                  <a:gd name="T36" fmla="*/ 2147483647 w 479"/>
                  <a:gd name="T37" fmla="*/ 2147483647 h 465"/>
                  <a:gd name="T38" fmla="*/ 2147483647 w 479"/>
                  <a:gd name="T39" fmla="*/ 2147483647 h 465"/>
                  <a:gd name="T40" fmla="*/ 2147483647 w 479"/>
                  <a:gd name="T41" fmla="*/ 2147483647 h 465"/>
                  <a:gd name="T42" fmla="*/ 2147483647 w 479"/>
                  <a:gd name="T43" fmla="*/ 2147483647 h 465"/>
                  <a:gd name="T44" fmla="*/ 2147483647 w 479"/>
                  <a:gd name="T45" fmla="*/ 2147483647 h 465"/>
                  <a:gd name="T46" fmla="*/ 2147483647 w 479"/>
                  <a:gd name="T47" fmla="*/ 2147483647 h 465"/>
                  <a:gd name="T48" fmla="*/ 2147483647 w 479"/>
                  <a:gd name="T49" fmla="*/ 2147483647 h 465"/>
                  <a:gd name="T50" fmla="*/ 2147483647 w 479"/>
                  <a:gd name="T51" fmla="*/ 2147483647 h 465"/>
                  <a:gd name="T52" fmla="*/ 2147483647 w 479"/>
                  <a:gd name="T53" fmla="*/ 2147483647 h 465"/>
                  <a:gd name="T54" fmla="*/ 2147483647 w 479"/>
                  <a:gd name="T55" fmla="*/ 2147483647 h 465"/>
                  <a:gd name="T56" fmla="*/ 2147483647 w 479"/>
                  <a:gd name="T57" fmla="*/ 2147483647 h 465"/>
                  <a:gd name="T58" fmla="*/ 2147483647 w 479"/>
                  <a:gd name="T59" fmla="*/ 2147483647 h 465"/>
                  <a:gd name="T60" fmla="*/ 2147483647 w 479"/>
                  <a:gd name="T61" fmla="*/ 2147483647 h 465"/>
                  <a:gd name="T62" fmla="*/ 2147483647 w 479"/>
                  <a:gd name="T63" fmla="*/ 2147483647 h 465"/>
                  <a:gd name="T64" fmla="*/ 2147483647 w 479"/>
                  <a:gd name="T65" fmla="*/ 2147483647 h 465"/>
                  <a:gd name="T66" fmla="*/ 2147483647 w 479"/>
                  <a:gd name="T67" fmla="*/ 2147483647 h 465"/>
                  <a:gd name="T68" fmla="*/ 2147483647 w 479"/>
                  <a:gd name="T69" fmla="*/ 2147483647 h 465"/>
                  <a:gd name="T70" fmla="*/ 2147483647 w 479"/>
                  <a:gd name="T71" fmla="*/ 2147483647 h 465"/>
                  <a:gd name="T72" fmla="*/ 2147483647 w 479"/>
                  <a:gd name="T73" fmla="*/ 2147483647 h 465"/>
                  <a:gd name="T74" fmla="*/ 2147483647 w 479"/>
                  <a:gd name="T75" fmla="*/ 2147483647 h 465"/>
                  <a:gd name="T76" fmla="*/ 2147483647 w 479"/>
                  <a:gd name="T77" fmla="*/ 2147483647 h 465"/>
                  <a:gd name="T78" fmla="*/ 2147483647 w 479"/>
                  <a:gd name="T79" fmla="*/ 2147483647 h 465"/>
                  <a:gd name="T80" fmla="*/ 2147483647 w 479"/>
                  <a:gd name="T81" fmla="*/ 2147483647 h 465"/>
                  <a:gd name="T82" fmla="*/ 2147483647 w 479"/>
                  <a:gd name="T83" fmla="*/ 2147483647 h 465"/>
                  <a:gd name="T84" fmla="*/ 2147483647 w 479"/>
                  <a:gd name="T85" fmla="*/ 2147483647 h 465"/>
                  <a:gd name="T86" fmla="*/ 2147483647 w 479"/>
                  <a:gd name="T87" fmla="*/ 2147483647 h 465"/>
                  <a:gd name="T88" fmla="*/ 2147483647 w 479"/>
                  <a:gd name="T89" fmla="*/ 2147483647 h 465"/>
                  <a:gd name="T90" fmla="*/ 2147483647 w 479"/>
                  <a:gd name="T91" fmla="*/ 2147483647 h 465"/>
                  <a:gd name="T92" fmla="*/ 2147483647 w 479"/>
                  <a:gd name="T93" fmla="*/ 2147483647 h 465"/>
                  <a:gd name="T94" fmla="*/ 2147483647 w 479"/>
                  <a:gd name="T95" fmla="*/ 2147483647 h 465"/>
                  <a:gd name="T96" fmla="*/ 2147483647 w 479"/>
                  <a:gd name="T97" fmla="*/ 2147483647 h 465"/>
                  <a:gd name="T98" fmla="*/ 2147483647 w 479"/>
                  <a:gd name="T99" fmla="*/ 2147483647 h 465"/>
                  <a:gd name="T100" fmla="*/ 2147483647 w 479"/>
                  <a:gd name="T101" fmla="*/ 2147483647 h 465"/>
                  <a:gd name="T102" fmla="*/ 2147483647 w 479"/>
                  <a:gd name="T103" fmla="*/ 2147483647 h 465"/>
                  <a:gd name="T104" fmla="*/ 2147483647 w 479"/>
                  <a:gd name="T105" fmla="*/ 2147483647 h 465"/>
                  <a:gd name="T106" fmla="*/ 2147483647 w 479"/>
                  <a:gd name="T107" fmla="*/ 2147483647 h 465"/>
                  <a:gd name="T108" fmla="*/ 2147483647 w 479"/>
                  <a:gd name="T109" fmla="*/ 2147483647 h 465"/>
                  <a:gd name="T110" fmla="*/ 2147483647 w 479"/>
                  <a:gd name="T111" fmla="*/ 2147483647 h 465"/>
                  <a:gd name="T112" fmla="*/ 2147483647 w 479"/>
                  <a:gd name="T113" fmla="*/ 2147483647 h 465"/>
                  <a:gd name="T114" fmla="*/ 2147483647 w 479"/>
                  <a:gd name="T115" fmla="*/ 2147483647 h 465"/>
                  <a:gd name="T116" fmla="*/ 2147483647 w 479"/>
                  <a:gd name="T117" fmla="*/ 2147483647 h 46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479" h="465">
                    <a:moveTo>
                      <a:pt x="316" y="16"/>
                    </a:moveTo>
                    <a:cubicBezTo>
                      <a:pt x="316" y="16"/>
                      <a:pt x="316" y="16"/>
                      <a:pt x="316" y="16"/>
                    </a:cubicBezTo>
                    <a:cubicBezTo>
                      <a:pt x="382" y="17"/>
                      <a:pt x="436" y="70"/>
                      <a:pt x="436" y="137"/>
                    </a:cubicBezTo>
                    <a:cubicBezTo>
                      <a:pt x="436" y="141"/>
                      <a:pt x="440" y="145"/>
                      <a:pt x="444" y="145"/>
                    </a:cubicBezTo>
                    <a:cubicBezTo>
                      <a:pt x="448" y="145"/>
                      <a:pt x="452" y="141"/>
                      <a:pt x="452" y="137"/>
                    </a:cubicBezTo>
                    <a:cubicBezTo>
                      <a:pt x="452" y="62"/>
                      <a:pt x="391" y="0"/>
                      <a:pt x="316" y="0"/>
                    </a:cubicBezTo>
                    <a:cubicBezTo>
                      <a:pt x="311" y="0"/>
                      <a:pt x="308" y="4"/>
                      <a:pt x="308" y="8"/>
                    </a:cubicBezTo>
                    <a:cubicBezTo>
                      <a:pt x="308" y="13"/>
                      <a:pt x="311" y="16"/>
                      <a:pt x="316" y="16"/>
                    </a:cubicBezTo>
                    <a:close/>
                    <a:moveTo>
                      <a:pt x="316" y="93"/>
                    </a:moveTo>
                    <a:cubicBezTo>
                      <a:pt x="316" y="93"/>
                      <a:pt x="316" y="93"/>
                      <a:pt x="316" y="93"/>
                    </a:cubicBezTo>
                    <a:cubicBezTo>
                      <a:pt x="340" y="93"/>
                      <a:pt x="359" y="113"/>
                      <a:pt x="359" y="137"/>
                    </a:cubicBezTo>
                    <a:cubicBezTo>
                      <a:pt x="359" y="141"/>
                      <a:pt x="363" y="145"/>
                      <a:pt x="367" y="145"/>
                    </a:cubicBezTo>
                    <a:cubicBezTo>
                      <a:pt x="371" y="145"/>
                      <a:pt x="375" y="141"/>
                      <a:pt x="375" y="137"/>
                    </a:cubicBezTo>
                    <a:cubicBezTo>
                      <a:pt x="375" y="104"/>
                      <a:pt x="348" y="77"/>
                      <a:pt x="316" y="77"/>
                    </a:cubicBezTo>
                    <a:cubicBezTo>
                      <a:pt x="311" y="77"/>
                      <a:pt x="308" y="81"/>
                      <a:pt x="308" y="85"/>
                    </a:cubicBezTo>
                    <a:cubicBezTo>
                      <a:pt x="308" y="90"/>
                      <a:pt x="311" y="93"/>
                      <a:pt x="316" y="93"/>
                    </a:cubicBezTo>
                    <a:close/>
                    <a:moveTo>
                      <a:pt x="316" y="55"/>
                    </a:moveTo>
                    <a:cubicBezTo>
                      <a:pt x="316" y="55"/>
                      <a:pt x="316" y="55"/>
                      <a:pt x="316" y="55"/>
                    </a:cubicBezTo>
                    <a:cubicBezTo>
                      <a:pt x="361" y="55"/>
                      <a:pt x="397" y="92"/>
                      <a:pt x="398" y="137"/>
                    </a:cubicBezTo>
                    <a:cubicBezTo>
                      <a:pt x="398" y="141"/>
                      <a:pt x="401" y="145"/>
                      <a:pt x="406" y="145"/>
                    </a:cubicBezTo>
                    <a:cubicBezTo>
                      <a:pt x="410" y="145"/>
                      <a:pt x="414" y="141"/>
                      <a:pt x="414" y="137"/>
                    </a:cubicBezTo>
                    <a:cubicBezTo>
                      <a:pt x="414" y="83"/>
                      <a:pt x="370" y="39"/>
                      <a:pt x="316" y="39"/>
                    </a:cubicBezTo>
                    <a:cubicBezTo>
                      <a:pt x="311" y="39"/>
                      <a:pt x="308" y="43"/>
                      <a:pt x="308" y="47"/>
                    </a:cubicBezTo>
                    <a:cubicBezTo>
                      <a:pt x="308" y="51"/>
                      <a:pt x="311" y="55"/>
                      <a:pt x="316" y="55"/>
                    </a:cubicBezTo>
                    <a:close/>
                    <a:moveTo>
                      <a:pt x="119" y="222"/>
                    </a:moveTo>
                    <a:cubicBezTo>
                      <a:pt x="119" y="258"/>
                      <a:pt x="148" y="287"/>
                      <a:pt x="184" y="287"/>
                    </a:cubicBezTo>
                    <a:cubicBezTo>
                      <a:pt x="221" y="287"/>
                      <a:pt x="250" y="258"/>
                      <a:pt x="250" y="222"/>
                    </a:cubicBezTo>
                    <a:cubicBezTo>
                      <a:pt x="250" y="185"/>
                      <a:pt x="221" y="156"/>
                      <a:pt x="184" y="156"/>
                    </a:cubicBezTo>
                    <a:cubicBezTo>
                      <a:pt x="148" y="156"/>
                      <a:pt x="119" y="185"/>
                      <a:pt x="119" y="222"/>
                    </a:cubicBezTo>
                    <a:close/>
                    <a:moveTo>
                      <a:pt x="201" y="186"/>
                    </a:moveTo>
                    <a:cubicBezTo>
                      <a:pt x="201" y="205"/>
                      <a:pt x="201" y="205"/>
                      <a:pt x="201" y="205"/>
                    </a:cubicBezTo>
                    <a:cubicBezTo>
                      <a:pt x="220" y="205"/>
                      <a:pt x="220" y="205"/>
                      <a:pt x="220" y="205"/>
                    </a:cubicBezTo>
                    <a:cubicBezTo>
                      <a:pt x="225" y="205"/>
                      <a:pt x="230" y="210"/>
                      <a:pt x="230" y="215"/>
                    </a:cubicBezTo>
                    <a:cubicBezTo>
                      <a:pt x="230" y="228"/>
                      <a:pt x="230" y="228"/>
                      <a:pt x="230" y="228"/>
                    </a:cubicBezTo>
                    <a:cubicBezTo>
                      <a:pt x="230" y="234"/>
                      <a:pt x="225" y="238"/>
                      <a:pt x="220" y="238"/>
                    </a:cubicBezTo>
                    <a:cubicBezTo>
                      <a:pt x="201" y="238"/>
                      <a:pt x="201" y="238"/>
                      <a:pt x="201" y="238"/>
                    </a:cubicBezTo>
                    <a:cubicBezTo>
                      <a:pt x="201" y="257"/>
                      <a:pt x="201" y="257"/>
                      <a:pt x="201" y="257"/>
                    </a:cubicBezTo>
                    <a:cubicBezTo>
                      <a:pt x="201" y="263"/>
                      <a:pt x="196" y="267"/>
                      <a:pt x="191" y="267"/>
                    </a:cubicBezTo>
                    <a:cubicBezTo>
                      <a:pt x="178" y="267"/>
                      <a:pt x="178" y="267"/>
                      <a:pt x="178" y="267"/>
                    </a:cubicBezTo>
                    <a:cubicBezTo>
                      <a:pt x="172" y="267"/>
                      <a:pt x="168" y="263"/>
                      <a:pt x="168" y="257"/>
                    </a:cubicBezTo>
                    <a:cubicBezTo>
                      <a:pt x="168" y="238"/>
                      <a:pt x="168" y="238"/>
                      <a:pt x="168" y="238"/>
                    </a:cubicBezTo>
                    <a:cubicBezTo>
                      <a:pt x="149" y="238"/>
                      <a:pt x="149" y="238"/>
                      <a:pt x="149" y="238"/>
                    </a:cubicBezTo>
                    <a:cubicBezTo>
                      <a:pt x="143" y="238"/>
                      <a:pt x="139" y="234"/>
                      <a:pt x="139" y="228"/>
                    </a:cubicBezTo>
                    <a:cubicBezTo>
                      <a:pt x="139" y="215"/>
                      <a:pt x="139" y="215"/>
                      <a:pt x="139" y="215"/>
                    </a:cubicBezTo>
                    <a:cubicBezTo>
                      <a:pt x="139" y="210"/>
                      <a:pt x="143" y="205"/>
                      <a:pt x="149" y="205"/>
                    </a:cubicBezTo>
                    <a:cubicBezTo>
                      <a:pt x="168" y="205"/>
                      <a:pt x="168" y="205"/>
                      <a:pt x="168" y="205"/>
                    </a:cubicBezTo>
                    <a:cubicBezTo>
                      <a:pt x="168" y="186"/>
                      <a:pt x="168" y="186"/>
                      <a:pt x="168" y="186"/>
                    </a:cubicBezTo>
                    <a:cubicBezTo>
                      <a:pt x="168" y="181"/>
                      <a:pt x="172" y="176"/>
                      <a:pt x="178" y="176"/>
                    </a:cubicBezTo>
                    <a:cubicBezTo>
                      <a:pt x="191" y="176"/>
                      <a:pt x="191" y="176"/>
                      <a:pt x="191" y="176"/>
                    </a:cubicBezTo>
                    <a:cubicBezTo>
                      <a:pt x="196" y="176"/>
                      <a:pt x="201" y="181"/>
                      <a:pt x="201" y="186"/>
                    </a:cubicBezTo>
                    <a:close/>
                    <a:moveTo>
                      <a:pt x="468" y="372"/>
                    </a:moveTo>
                    <a:cubicBezTo>
                      <a:pt x="462" y="364"/>
                      <a:pt x="451" y="359"/>
                      <a:pt x="440" y="359"/>
                    </a:cubicBezTo>
                    <a:cubicBezTo>
                      <a:pt x="433" y="359"/>
                      <a:pt x="427" y="361"/>
                      <a:pt x="420" y="364"/>
                    </a:cubicBezTo>
                    <a:cubicBezTo>
                      <a:pt x="414" y="366"/>
                      <a:pt x="409" y="368"/>
                      <a:pt x="404" y="370"/>
                    </a:cubicBezTo>
                    <a:cubicBezTo>
                      <a:pt x="450" y="322"/>
                      <a:pt x="450" y="322"/>
                      <a:pt x="450" y="322"/>
                    </a:cubicBezTo>
                    <a:cubicBezTo>
                      <a:pt x="452" y="319"/>
                      <a:pt x="452" y="314"/>
                      <a:pt x="450" y="311"/>
                    </a:cubicBezTo>
                    <a:cubicBezTo>
                      <a:pt x="448" y="308"/>
                      <a:pt x="443" y="307"/>
                      <a:pt x="440" y="309"/>
                    </a:cubicBezTo>
                    <a:cubicBezTo>
                      <a:pt x="400" y="330"/>
                      <a:pt x="400" y="330"/>
                      <a:pt x="400" y="330"/>
                    </a:cubicBezTo>
                    <a:cubicBezTo>
                      <a:pt x="413" y="311"/>
                      <a:pt x="413" y="311"/>
                      <a:pt x="413" y="311"/>
                    </a:cubicBezTo>
                    <a:cubicBezTo>
                      <a:pt x="415" y="308"/>
                      <a:pt x="415" y="304"/>
                      <a:pt x="412" y="301"/>
                    </a:cubicBezTo>
                    <a:cubicBezTo>
                      <a:pt x="410" y="298"/>
                      <a:pt x="406" y="297"/>
                      <a:pt x="403" y="299"/>
                    </a:cubicBezTo>
                    <a:cubicBezTo>
                      <a:pt x="355" y="320"/>
                      <a:pt x="355" y="320"/>
                      <a:pt x="355" y="320"/>
                    </a:cubicBezTo>
                    <a:cubicBezTo>
                      <a:pt x="400" y="276"/>
                      <a:pt x="400" y="276"/>
                      <a:pt x="400" y="276"/>
                    </a:cubicBezTo>
                    <a:cubicBezTo>
                      <a:pt x="403" y="273"/>
                      <a:pt x="403" y="269"/>
                      <a:pt x="401" y="265"/>
                    </a:cubicBezTo>
                    <a:cubicBezTo>
                      <a:pt x="399" y="262"/>
                      <a:pt x="394" y="261"/>
                      <a:pt x="391" y="263"/>
                    </a:cubicBezTo>
                    <a:cubicBezTo>
                      <a:pt x="345" y="285"/>
                      <a:pt x="345" y="285"/>
                      <a:pt x="345" y="285"/>
                    </a:cubicBezTo>
                    <a:cubicBezTo>
                      <a:pt x="332" y="273"/>
                      <a:pt x="323" y="268"/>
                      <a:pt x="317" y="266"/>
                    </a:cubicBezTo>
                    <a:cubicBezTo>
                      <a:pt x="317" y="197"/>
                      <a:pt x="317" y="197"/>
                      <a:pt x="317" y="197"/>
                    </a:cubicBezTo>
                    <a:cubicBezTo>
                      <a:pt x="317" y="193"/>
                      <a:pt x="313" y="189"/>
                      <a:pt x="309" y="189"/>
                    </a:cubicBezTo>
                    <a:cubicBezTo>
                      <a:pt x="305" y="189"/>
                      <a:pt x="301" y="193"/>
                      <a:pt x="301" y="197"/>
                    </a:cubicBezTo>
                    <a:cubicBezTo>
                      <a:pt x="301" y="197"/>
                      <a:pt x="301" y="197"/>
                      <a:pt x="301" y="197"/>
                    </a:cubicBezTo>
                    <a:cubicBezTo>
                      <a:pt x="301" y="298"/>
                      <a:pt x="301" y="298"/>
                      <a:pt x="301" y="298"/>
                    </a:cubicBezTo>
                    <a:cubicBezTo>
                      <a:pt x="301" y="300"/>
                      <a:pt x="300" y="301"/>
                      <a:pt x="298" y="301"/>
                    </a:cubicBezTo>
                    <a:cubicBezTo>
                      <a:pt x="70" y="301"/>
                      <a:pt x="70" y="301"/>
                      <a:pt x="70" y="301"/>
                    </a:cubicBezTo>
                    <a:cubicBezTo>
                      <a:pt x="69" y="301"/>
                      <a:pt x="68" y="300"/>
                      <a:pt x="68" y="298"/>
                    </a:cubicBezTo>
                    <a:cubicBezTo>
                      <a:pt x="68" y="145"/>
                      <a:pt x="68" y="145"/>
                      <a:pt x="68" y="145"/>
                    </a:cubicBezTo>
                    <a:cubicBezTo>
                      <a:pt x="68" y="144"/>
                      <a:pt x="69" y="142"/>
                      <a:pt x="70" y="142"/>
                    </a:cubicBezTo>
                    <a:cubicBezTo>
                      <a:pt x="298" y="142"/>
                      <a:pt x="298" y="142"/>
                      <a:pt x="298" y="142"/>
                    </a:cubicBezTo>
                    <a:cubicBezTo>
                      <a:pt x="300" y="142"/>
                      <a:pt x="301" y="144"/>
                      <a:pt x="301" y="145"/>
                    </a:cubicBezTo>
                    <a:cubicBezTo>
                      <a:pt x="301" y="165"/>
                      <a:pt x="301" y="165"/>
                      <a:pt x="301" y="165"/>
                    </a:cubicBezTo>
                    <a:cubicBezTo>
                      <a:pt x="301" y="169"/>
                      <a:pt x="305" y="173"/>
                      <a:pt x="309" y="173"/>
                    </a:cubicBezTo>
                    <a:cubicBezTo>
                      <a:pt x="313" y="173"/>
                      <a:pt x="317" y="169"/>
                      <a:pt x="317" y="165"/>
                    </a:cubicBezTo>
                    <a:cubicBezTo>
                      <a:pt x="317" y="145"/>
                      <a:pt x="317" y="145"/>
                      <a:pt x="317" y="145"/>
                    </a:cubicBezTo>
                    <a:cubicBezTo>
                      <a:pt x="317" y="135"/>
                      <a:pt x="309" y="126"/>
                      <a:pt x="298" y="126"/>
                    </a:cubicBezTo>
                    <a:cubicBezTo>
                      <a:pt x="235" y="126"/>
                      <a:pt x="235" y="126"/>
                      <a:pt x="235" y="126"/>
                    </a:cubicBezTo>
                    <a:cubicBezTo>
                      <a:pt x="235" y="120"/>
                      <a:pt x="235" y="120"/>
                      <a:pt x="235" y="120"/>
                    </a:cubicBezTo>
                    <a:cubicBezTo>
                      <a:pt x="235" y="110"/>
                      <a:pt x="227" y="102"/>
                      <a:pt x="217" y="102"/>
                    </a:cubicBezTo>
                    <a:cubicBezTo>
                      <a:pt x="151" y="102"/>
                      <a:pt x="151" y="102"/>
                      <a:pt x="151" y="102"/>
                    </a:cubicBezTo>
                    <a:cubicBezTo>
                      <a:pt x="142" y="102"/>
                      <a:pt x="133" y="110"/>
                      <a:pt x="133" y="120"/>
                    </a:cubicBezTo>
                    <a:cubicBezTo>
                      <a:pt x="133" y="126"/>
                      <a:pt x="133" y="126"/>
                      <a:pt x="133" y="126"/>
                    </a:cubicBezTo>
                    <a:cubicBezTo>
                      <a:pt x="70" y="126"/>
                      <a:pt x="70" y="126"/>
                      <a:pt x="70" y="126"/>
                    </a:cubicBezTo>
                    <a:cubicBezTo>
                      <a:pt x="60" y="126"/>
                      <a:pt x="52" y="135"/>
                      <a:pt x="52" y="145"/>
                    </a:cubicBezTo>
                    <a:cubicBezTo>
                      <a:pt x="52" y="298"/>
                      <a:pt x="52" y="298"/>
                      <a:pt x="52" y="298"/>
                    </a:cubicBezTo>
                    <a:cubicBezTo>
                      <a:pt x="52" y="309"/>
                      <a:pt x="60" y="317"/>
                      <a:pt x="70" y="317"/>
                    </a:cubicBezTo>
                    <a:cubicBezTo>
                      <a:pt x="298" y="317"/>
                      <a:pt x="298" y="317"/>
                      <a:pt x="298" y="317"/>
                    </a:cubicBezTo>
                    <a:cubicBezTo>
                      <a:pt x="309" y="317"/>
                      <a:pt x="317" y="309"/>
                      <a:pt x="317" y="298"/>
                    </a:cubicBezTo>
                    <a:cubicBezTo>
                      <a:pt x="317" y="283"/>
                      <a:pt x="317" y="283"/>
                      <a:pt x="317" y="283"/>
                    </a:cubicBezTo>
                    <a:cubicBezTo>
                      <a:pt x="322" y="286"/>
                      <a:pt x="328" y="291"/>
                      <a:pt x="337" y="300"/>
                    </a:cubicBezTo>
                    <a:cubicBezTo>
                      <a:pt x="340" y="302"/>
                      <a:pt x="343" y="303"/>
                      <a:pt x="346" y="301"/>
                    </a:cubicBezTo>
                    <a:cubicBezTo>
                      <a:pt x="356" y="297"/>
                      <a:pt x="356" y="297"/>
                      <a:pt x="356" y="297"/>
                    </a:cubicBezTo>
                    <a:cubicBezTo>
                      <a:pt x="313" y="340"/>
                      <a:pt x="313" y="340"/>
                      <a:pt x="313" y="340"/>
                    </a:cubicBezTo>
                    <a:cubicBezTo>
                      <a:pt x="311" y="342"/>
                      <a:pt x="310" y="347"/>
                      <a:pt x="312" y="350"/>
                    </a:cubicBezTo>
                    <a:cubicBezTo>
                      <a:pt x="315" y="353"/>
                      <a:pt x="319" y="354"/>
                      <a:pt x="322" y="353"/>
                    </a:cubicBezTo>
                    <a:cubicBezTo>
                      <a:pt x="383" y="325"/>
                      <a:pt x="383" y="325"/>
                      <a:pt x="383" y="325"/>
                    </a:cubicBezTo>
                    <a:cubicBezTo>
                      <a:pt x="368" y="347"/>
                      <a:pt x="368" y="347"/>
                      <a:pt x="368" y="347"/>
                    </a:cubicBezTo>
                    <a:cubicBezTo>
                      <a:pt x="366" y="350"/>
                      <a:pt x="366" y="354"/>
                      <a:pt x="369" y="357"/>
                    </a:cubicBezTo>
                    <a:cubicBezTo>
                      <a:pt x="371" y="360"/>
                      <a:pt x="375" y="360"/>
                      <a:pt x="378" y="359"/>
                    </a:cubicBezTo>
                    <a:cubicBezTo>
                      <a:pt x="407" y="344"/>
                      <a:pt x="407" y="344"/>
                      <a:pt x="407" y="344"/>
                    </a:cubicBezTo>
                    <a:cubicBezTo>
                      <a:pt x="369" y="385"/>
                      <a:pt x="369" y="385"/>
                      <a:pt x="369" y="385"/>
                    </a:cubicBezTo>
                    <a:cubicBezTo>
                      <a:pt x="367" y="387"/>
                      <a:pt x="366" y="390"/>
                      <a:pt x="367" y="393"/>
                    </a:cubicBezTo>
                    <a:cubicBezTo>
                      <a:pt x="369" y="396"/>
                      <a:pt x="372" y="398"/>
                      <a:pt x="375" y="398"/>
                    </a:cubicBezTo>
                    <a:cubicBezTo>
                      <a:pt x="375" y="398"/>
                      <a:pt x="375" y="398"/>
                      <a:pt x="375" y="398"/>
                    </a:cubicBezTo>
                    <a:cubicBezTo>
                      <a:pt x="377" y="398"/>
                      <a:pt x="377" y="398"/>
                      <a:pt x="379" y="397"/>
                    </a:cubicBezTo>
                    <a:cubicBezTo>
                      <a:pt x="382" y="396"/>
                      <a:pt x="392" y="393"/>
                      <a:pt x="426" y="379"/>
                    </a:cubicBezTo>
                    <a:cubicBezTo>
                      <a:pt x="431" y="376"/>
                      <a:pt x="436" y="375"/>
                      <a:pt x="440" y="375"/>
                    </a:cubicBezTo>
                    <a:cubicBezTo>
                      <a:pt x="454" y="375"/>
                      <a:pt x="462" y="387"/>
                      <a:pt x="462" y="399"/>
                    </a:cubicBezTo>
                    <a:cubicBezTo>
                      <a:pt x="462" y="409"/>
                      <a:pt x="458" y="419"/>
                      <a:pt x="445" y="424"/>
                    </a:cubicBezTo>
                    <a:cubicBezTo>
                      <a:pt x="412" y="438"/>
                      <a:pt x="389" y="448"/>
                      <a:pt x="358" y="448"/>
                    </a:cubicBezTo>
                    <a:cubicBezTo>
                      <a:pt x="350" y="448"/>
                      <a:pt x="341" y="447"/>
                      <a:pt x="332" y="446"/>
                    </a:cubicBezTo>
                    <a:cubicBezTo>
                      <a:pt x="309" y="442"/>
                      <a:pt x="293" y="430"/>
                      <a:pt x="276" y="418"/>
                    </a:cubicBezTo>
                    <a:cubicBezTo>
                      <a:pt x="260" y="407"/>
                      <a:pt x="244" y="396"/>
                      <a:pt x="222" y="394"/>
                    </a:cubicBezTo>
                    <a:cubicBezTo>
                      <a:pt x="222" y="367"/>
                      <a:pt x="222" y="367"/>
                      <a:pt x="222" y="367"/>
                    </a:cubicBezTo>
                    <a:cubicBezTo>
                      <a:pt x="222" y="354"/>
                      <a:pt x="211" y="343"/>
                      <a:pt x="198" y="343"/>
                    </a:cubicBezTo>
                    <a:cubicBezTo>
                      <a:pt x="76" y="343"/>
                      <a:pt x="76" y="343"/>
                      <a:pt x="76" y="343"/>
                    </a:cubicBezTo>
                    <a:cubicBezTo>
                      <a:pt x="65" y="343"/>
                      <a:pt x="56" y="350"/>
                      <a:pt x="53" y="359"/>
                    </a:cubicBezTo>
                    <a:cubicBezTo>
                      <a:pt x="16" y="359"/>
                      <a:pt x="16" y="359"/>
                      <a:pt x="16" y="359"/>
                    </a:cubicBezTo>
                    <a:cubicBezTo>
                      <a:pt x="7" y="359"/>
                      <a:pt x="0" y="366"/>
                      <a:pt x="0" y="375"/>
                    </a:cubicBezTo>
                    <a:cubicBezTo>
                      <a:pt x="0" y="433"/>
                      <a:pt x="0" y="433"/>
                      <a:pt x="0" y="433"/>
                    </a:cubicBezTo>
                    <a:cubicBezTo>
                      <a:pt x="0" y="442"/>
                      <a:pt x="7" y="449"/>
                      <a:pt x="16" y="449"/>
                    </a:cubicBezTo>
                    <a:cubicBezTo>
                      <a:pt x="53" y="449"/>
                      <a:pt x="53" y="449"/>
                      <a:pt x="53" y="449"/>
                    </a:cubicBezTo>
                    <a:cubicBezTo>
                      <a:pt x="56" y="458"/>
                      <a:pt x="65" y="465"/>
                      <a:pt x="76" y="465"/>
                    </a:cubicBezTo>
                    <a:cubicBezTo>
                      <a:pt x="198" y="465"/>
                      <a:pt x="198" y="465"/>
                      <a:pt x="198" y="465"/>
                    </a:cubicBezTo>
                    <a:cubicBezTo>
                      <a:pt x="211" y="465"/>
                      <a:pt x="222" y="454"/>
                      <a:pt x="222" y="441"/>
                    </a:cubicBezTo>
                    <a:cubicBezTo>
                      <a:pt x="222" y="410"/>
                      <a:pt x="222" y="410"/>
                      <a:pt x="222" y="410"/>
                    </a:cubicBezTo>
                    <a:cubicBezTo>
                      <a:pt x="238" y="412"/>
                      <a:pt x="252" y="421"/>
                      <a:pt x="267" y="431"/>
                    </a:cubicBezTo>
                    <a:cubicBezTo>
                      <a:pt x="284" y="443"/>
                      <a:pt x="302" y="457"/>
                      <a:pt x="329" y="462"/>
                    </a:cubicBezTo>
                    <a:cubicBezTo>
                      <a:pt x="340" y="463"/>
                      <a:pt x="349" y="464"/>
                      <a:pt x="358" y="464"/>
                    </a:cubicBezTo>
                    <a:cubicBezTo>
                      <a:pt x="358" y="464"/>
                      <a:pt x="358" y="464"/>
                      <a:pt x="358" y="464"/>
                    </a:cubicBezTo>
                    <a:cubicBezTo>
                      <a:pt x="393" y="464"/>
                      <a:pt x="419" y="453"/>
                      <a:pt x="451" y="439"/>
                    </a:cubicBezTo>
                    <a:cubicBezTo>
                      <a:pt x="470" y="431"/>
                      <a:pt x="479" y="415"/>
                      <a:pt x="478" y="399"/>
                    </a:cubicBezTo>
                    <a:cubicBezTo>
                      <a:pt x="478" y="389"/>
                      <a:pt x="475" y="380"/>
                      <a:pt x="468" y="372"/>
                    </a:cubicBezTo>
                    <a:close/>
                    <a:moveTo>
                      <a:pt x="149" y="120"/>
                    </a:moveTo>
                    <a:cubicBezTo>
                      <a:pt x="149" y="119"/>
                      <a:pt x="150" y="118"/>
                      <a:pt x="151" y="118"/>
                    </a:cubicBezTo>
                    <a:cubicBezTo>
                      <a:pt x="217" y="118"/>
                      <a:pt x="217" y="118"/>
                      <a:pt x="217" y="118"/>
                    </a:cubicBezTo>
                    <a:cubicBezTo>
                      <a:pt x="218" y="118"/>
                      <a:pt x="219" y="119"/>
                      <a:pt x="219" y="120"/>
                    </a:cubicBezTo>
                    <a:cubicBezTo>
                      <a:pt x="219" y="126"/>
                      <a:pt x="219" y="126"/>
                      <a:pt x="219" y="126"/>
                    </a:cubicBezTo>
                    <a:cubicBezTo>
                      <a:pt x="149" y="126"/>
                      <a:pt x="149" y="126"/>
                      <a:pt x="149" y="126"/>
                    </a:cubicBezTo>
                    <a:lnTo>
                      <a:pt x="149" y="120"/>
                    </a:lnTo>
                    <a:close/>
                    <a:moveTo>
                      <a:pt x="50" y="432"/>
                    </a:moveTo>
                    <a:cubicBezTo>
                      <a:pt x="50" y="435"/>
                      <a:pt x="48" y="437"/>
                      <a:pt x="45" y="437"/>
                    </a:cubicBezTo>
                    <a:cubicBezTo>
                      <a:pt x="32" y="437"/>
                      <a:pt x="32" y="437"/>
                      <a:pt x="32" y="437"/>
                    </a:cubicBezTo>
                    <a:cubicBezTo>
                      <a:pt x="29" y="437"/>
                      <a:pt x="27" y="435"/>
                      <a:pt x="27" y="432"/>
                    </a:cubicBezTo>
                    <a:cubicBezTo>
                      <a:pt x="27" y="417"/>
                      <a:pt x="27" y="417"/>
                      <a:pt x="27" y="417"/>
                    </a:cubicBezTo>
                    <a:cubicBezTo>
                      <a:pt x="27" y="415"/>
                      <a:pt x="29" y="412"/>
                      <a:pt x="32" y="412"/>
                    </a:cubicBezTo>
                    <a:cubicBezTo>
                      <a:pt x="45" y="412"/>
                      <a:pt x="45" y="412"/>
                      <a:pt x="45" y="412"/>
                    </a:cubicBezTo>
                    <a:cubicBezTo>
                      <a:pt x="48" y="412"/>
                      <a:pt x="50" y="415"/>
                      <a:pt x="50" y="417"/>
                    </a:cubicBezTo>
                    <a:lnTo>
                      <a:pt x="50" y="432"/>
                    </a:lnTo>
                    <a:close/>
                    <a:moveTo>
                      <a:pt x="50" y="391"/>
                    </a:moveTo>
                    <a:cubicBezTo>
                      <a:pt x="50" y="394"/>
                      <a:pt x="48" y="396"/>
                      <a:pt x="45" y="396"/>
                    </a:cubicBezTo>
                    <a:cubicBezTo>
                      <a:pt x="32" y="396"/>
                      <a:pt x="32" y="396"/>
                      <a:pt x="32" y="396"/>
                    </a:cubicBezTo>
                    <a:cubicBezTo>
                      <a:pt x="29" y="396"/>
                      <a:pt x="27" y="394"/>
                      <a:pt x="27" y="391"/>
                    </a:cubicBezTo>
                    <a:cubicBezTo>
                      <a:pt x="27" y="376"/>
                      <a:pt x="27" y="376"/>
                      <a:pt x="27" y="376"/>
                    </a:cubicBezTo>
                    <a:cubicBezTo>
                      <a:pt x="27" y="374"/>
                      <a:pt x="29" y="372"/>
                      <a:pt x="32" y="372"/>
                    </a:cubicBezTo>
                    <a:cubicBezTo>
                      <a:pt x="45" y="372"/>
                      <a:pt x="45" y="372"/>
                      <a:pt x="45" y="372"/>
                    </a:cubicBezTo>
                    <a:cubicBezTo>
                      <a:pt x="48" y="372"/>
                      <a:pt x="50" y="374"/>
                      <a:pt x="50" y="376"/>
                    </a:cubicBezTo>
                    <a:lnTo>
                      <a:pt x="50" y="391"/>
                    </a:lnTo>
                    <a:close/>
                    <a:moveTo>
                      <a:pt x="206" y="401"/>
                    </a:moveTo>
                    <a:cubicBezTo>
                      <a:pt x="206" y="401"/>
                      <a:pt x="206" y="401"/>
                      <a:pt x="206" y="401"/>
                    </a:cubicBezTo>
                    <a:cubicBezTo>
                      <a:pt x="206" y="401"/>
                      <a:pt x="206" y="401"/>
                      <a:pt x="206" y="401"/>
                    </a:cubicBezTo>
                    <a:cubicBezTo>
                      <a:pt x="206" y="441"/>
                      <a:pt x="206" y="441"/>
                      <a:pt x="206" y="441"/>
                    </a:cubicBezTo>
                    <a:cubicBezTo>
                      <a:pt x="206" y="446"/>
                      <a:pt x="202" y="449"/>
                      <a:pt x="198" y="449"/>
                    </a:cubicBezTo>
                    <a:cubicBezTo>
                      <a:pt x="76" y="449"/>
                      <a:pt x="76" y="449"/>
                      <a:pt x="76" y="449"/>
                    </a:cubicBezTo>
                    <a:cubicBezTo>
                      <a:pt x="71" y="449"/>
                      <a:pt x="68" y="446"/>
                      <a:pt x="68" y="441"/>
                    </a:cubicBezTo>
                    <a:cubicBezTo>
                      <a:pt x="68" y="367"/>
                      <a:pt x="68" y="367"/>
                      <a:pt x="68" y="367"/>
                    </a:cubicBezTo>
                    <a:cubicBezTo>
                      <a:pt x="68" y="363"/>
                      <a:pt x="71" y="359"/>
                      <a:pt x="76" y="359"/>
                    </a:cubicBezTo>
                    <a:cubicBezTo>
                      <a:pt x="198" y="359"/>
                      <a:pt x="198" y="359"/>
                      <a:pt x="198" y="359"/>
                    </a:cubicBezTo>
                    <a:cubicBezTo>
                      <a:pt x="202" y="359"/>
                      <a:pt x="206" y="363"/>
                      <a:pt x="206" y="367"/>
                    </a:cubicBezTo>
                    <a:lnTo>
                      <a:pt x="206" y="4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28" name="Freeform 3"/>
              <p:cNvSpPr>
                <a:spLocks noChangeAspect="1" noEditPoints="1"/>
              </p:cNvSpPr>
              <p:nvPr/>
            </p:nvSpPr>
            <p:spPr bwMode="auto">
              <a:xfrm>
                <a:off x="6385696" y="4295675"/>
                <a:ext cx="149967" cy="146448"/>
              </a:xfrm>
              <a:custGeom>
                <a:avLst/>
                <a:gdLst>
                  <a:gd name="T0" fmla="*/ 2147483647 w 379"/>
                  <a:gd name="T1" fmla="*/ 2147483647 h 378"/>
                  <a:gd name="T2" fmla="*/ 2147483647 w 379"/>
                  <a:gd name="T3" fmla="*/ 0 h 378"/>
                  <a:gd name="T4" fmla="*/ 0 w 379"/>
                  <a:gd name="T5" fmla="*/ 2147483647 h 378"/>
                  <a:gd name="T6" fmla="*/ 2147483647 w 379"/>
                  <a:gd name="T7" fmla="*/ 2147483647 h 378"/>
                  <a:gd name="T8" fmla="*/ 2147483647 w 379"/>
                  <a:gd name="T9" fmla="*/ 2147483647 h 378"/>
                  <a:gd name="T10" fmla="*/ 2147483647 w 379"/>
                  <a:gd name="T11" fmla="*/ 2147483647 h 378"/>
                  <a:gd name="T12" fmla="*/ 2147483647 w 379"/>
                  <a:gd name="T13" fmla="*/ 2147483647 h 378"/>
                  <a:gd name="T14" fmla="*/ 2147483647 w 379"/>
                  <a:gd name="T15" fmla="*/ 2147483647 h 378"/>
                  <a:gd name="T16" fmla="*/ 2147483647 w 379"/>
                  <a:gd name="T17" fmla="*/ 2147483647 h 378"/>
                  <a:gd name="T18" fmla="*/ 2147483647 w 379"/>
                  <a:gd name="T19" fmla="*/ 2147483647 h 378"/>
                  <a:gd name="T20" fmla="*/ 2147483647 w 379"/>
                  <a:gd name="T21" fmla="*/ 2147483647 h 378"/>
                  <a:gd name="T22" fmla="*/ 2147483647 w 379"/>
                  <a:gd name="T23" fmla="*/ 2147483647 h 378"/>
                  <a:gd name="T24" fmla="*/ 2147483647 w 379"/>
                  <a:gd name="T25" fmla="*/ 2147483647 h 378"/>
                  <a:gd name="T26" fmla="*/ 2147483647 w 379"/>
                  <a:gd name="T27" fmla="*/ 2147483647 h 378"/>
                  <a:gd name="T28" fmla="*/ 2147483647 w 379"/>
                  <a:gd name="T29" fmla="*/ 2147483647 h 378"/>
                  <a:gd name="T30" fmla="*/ 2147483647 w 379"/>
                  <a:gd name="T31" fmla="*/ 2147483647 h 378"/>
                  <a:gd name="T32" fmla="*/ 2147483647 w 379"/>
                  <a:gd name="T33" fmla="*/ 2147483647 h 378"/>
                  <a:gd name="T34" fmla="*/ 2147483647 w 379"/>
                  <a:gd name="T35" fmla="*/ 2147483647 h 378"/>
                  <a:gd name="T36" fmla="*/ 2147483647 w 379"/>
                  <a:gd name="T37" fmla="*/ 2147483647 h 378"/>
                  <a:gd name="T38" fmla="*/ 2147483647 w 379"/>
                  <a:gd name="T39" fmla="*/ 2147483647 h 378"/>
                  <a:gd name="T40" fmla="*/ 2147483647 w 379"/>
                  <a:gd name="T41" fmla="*/ 2147483647 h 378"/>
                  <a:gd name="T42" fmla="*/ 2147483647 w 379"/>
                  <a:gd name="T43" fmla="*/ 2147483647 h 378"/>
                  <a:gd name="T44" fmla="*/ 2147483647 w 379"/>
                  <a:gd name="T45" fmla="*/ 2147483647 h 378"/>
                  <a:gd name="T46" fmla="*/ 2147483647 w 379"/>
                  <a:gd name="T47" fmla="*/ 2147483647 h 378"/>
                  <a:gd name="T48" fmla="*/ 2147483647 w 379"/>
                  <a:gd name="T49" fmla="*/ 2147483647 h 378"/>
                  <a:gd name="T50" fmla="*/ 2147483647 w 379"/>
                  <a:gd name="T51" fmla="*/ 2147483647 h 378"/>
                  <a:gd name="T52" fmla="*/ 2147483647 w 379"/>
                  <a:gd name="T53" fmla="*/ 2147483647 h 378"/>
                  <a:gd name="T54" fmla="*/ 2147483647 w 379"/>
                  <a:gd name="T55" fmla="*/ 2147483647 h 378"/>
                  <a:gd name="T56" fmla="*/ 2147483647 w 379"/>
                  <a:gd name="T57" fmla="*/ 2147483647 h 378"/>
                  <a:gd name="T58" fmla="*/ 2147483647 w 379"/>
                  <a:gd name="T59" fmla="*/ 2147483647 h 378"/>
                  <a:gd name="T60" fmla="*/ 2147483647 w 379"/>
                  <a:gd name="T61" fmla="*/ 2147483647 h 378"/>
                  <a:gd name="T62" fmla="*/ 2147483647 w 379"/>
                  <a:gd name="T63" fmla="*/ 2147483647 h 378"/>
                  <a:gd name="T64" fmla="*/ 2147483647 w 379"/>
                  <a:gd name="T65" fmla="*/ 2147483647 h 378"/>
                  <a:gd name="T66" fmla="*/ 2147483647 w 379"/>
                  <a:gd name="T67" fmla="*/ 2147483647 h 378"/>
                  <a:gd name="T68" fmla="*/ 2147483647 w 379"/>
                  <a:gd name="T69" fmla="*/ 2147483647 h 378"/>
                  <a:gd name="T70" fmla="*/ 2147483647 w 379"/>
                  <a:gd name="T71" fmla="*/ 2147483647 h 378"/>
                  <a:gd name="T72" fmla="*/ 2147483647 w 379"/>
                  <a:gd name="T73" fmla="*/ 2147483647 h 378"/>
                  <a:gd name="T74" fmla="*/ 2147483647 w 379"/>
                  <a:gd name="T75" fmla="*/ 2147483647 h 378"/>
                  <a:gd name="T76" fmla="*/ 2147483647 w 379"/>
                  <a:gd name="T77" fmla="*/ 2147483647 h 378"/>
                  <a:gd name="T78" fmla="*/ 2147483647 w 379"/>
                  <a:gd name="T79" fmla="*/ 2147483647 h 378"/>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379" h="378">
                    <a:moveTo>
                      <a:pt x="371" y="41"/>
                    </a:moveTo>
                    <a:cubicBezTo>
                      <a:pt x="375" y="41"/>
                      <a:pt x="379" y="37"/>
                      <a:pt x="379" y="32"/>
                    </a:cubicBezTo>
                    <a:cubicBezTo>
                      <a:pt x="379" y="25"/>
                      <a:pt x="379" y="25"/>
                      <a:pt x="379" y="25"/>
                    </a:cubicBezTo>
                    <a:cubicBezTo>
                      <a:pt x="379" y="11"/>
                      <a:pt x="368" y="0"/>
                      <a:pt x="354" y="0"/>
                    </a:cubicBezTo>
                    <a:cubicBezTo>
                      <a:pt x="24" y="0"/>
                      <a:pt x="24" y="0"/>
                      <a:pt x="24" y="0"/>
                    </a:cubicBezTo>
                    <a:cubicBezTo>
                      <a:pt x="11" y="0"/>
                      <a:pt x="0" y="11"/>
                      <a:pt x="0" y="25"/>
                    </a:cubicBezTo>
                    <a:cubicBezTo>
                      <a:pt x="0" y="236"/>
                      <a:pt x="0" y="236"/>
                      <a:pt x="0" y="236"/>
                    </a:cubicBezTo>
                    <a:cubicBezTo>
                      <a:pt x="0" y="250"/>
                      <a:pt x="11" y="261"/>
                      <a:pt x="24" y="261"/>
                    </a:cubicBezTo>
                    <a:cubicBezTo>
                      <a:pt x="94" y="261"/>
                      <a:pt x="94" y="261"/>
                      <a:pt x="94" y="261"/>
                    </a:cubicBezTo>
                    <a:cubicBezTo>
                      <a:pt x="92" y="268"/>
                      <a:pt x="90" y="276"/>
                      <a:pt x="90" y="285"/>
                    </a:cubicBezTo>
                    <a:cubicBezTo>
                      <a:pt x="90" y="358"/>
                      <a:pt x="90" y="358"/>
                      <a:pt x="90" y="358"/>
                    </a:cubicBezTo>
                    <a:cubicBezTo>
                      <a:pt x="90" y="366"/>
                      <a:pt x="96" y="378"/>
                      <a:pt x="111" y="378"/>
                    </a:cubicBezTo>
                    <a:cubicBezTo>
                      <a:pt x="268" y="378"/>
                      <a:pt x="268" y="378"/>
                      <a:pt x="268" y="378"/>
                    </a:cubicBezTo>
                    <a:cubicBezTo>
                      <a:pt x="276" y="378"/>
                      <a:pt x="288" y="372"/>
                      <a:pt x="288" y="358"/>
                    </a:cubicBezTo>
                    <a:cubicBezTo>
                      <a:pt x="288" y="285"/>
                      <a:pt x="288" y="285"/>
                      <a:pt x="288" y="285"/>
                    </a:cubicBezTo>
                    <a:cubicBezTo>
                      <a:pt x="288" y="276"/>
                      <a:pt x="287" y="268"/>
                      <a:pt x="284" y="261"/>
                    </a:cubicBezTo>
                    <a:cubicBezTo>
                      <a:pt x="354" y="261"/>
                      <a:pt x="354" y="261"/>
                      <a:pt x="354" y="261"/>
                    </a:cubicBezTo>
                    <a:cubicBezTo>
                      <a:pt x="368" y="261"/>
                      <a:pt x="379" y="250"/>
                      <a:pt x="379" y="236"/>
                    </a:cubicBezTo>
                    <a:cubicBezTo>
                      <a:pt x="379" y="65"/>
                      <a:pt x="379" y="65"/>
                      <a:pt x="379" y="65"/>
                    </a:cubicBezTo>
                    <a:cubicBezTo>
                      <a:pt x="379" y="60"/>
                      <a:pt x="375" y="56"/>
                      <a:pt x="371" y="56"/>
                    </a:cubicBezTo>
                    <a:cubicBezTo>
                      <a:pt x="366" y="56"/>
                      <a:pt x="362" y="60"/>
                      <a:pt x="362" y="65"/>
                    </a:cubicBezTo>
                    <a:cubicBezTo>
                      <a:pt x="362" y="236"/>
                      <a:pt x="362" y="236"/>
                      <a:pt x="362" y="236"/>
                    </a:cubicBezTo>
                    <a:cubicBezTo>
                      <a:pt x="362" y="241"/>
                      <a:pt x="359" y="244"/>
                      <a:pt x="354" y="244"/>
                    </a:cubicBezTo>
                    <a:cubicBezTo>
                      <a:pt x="276" y="244"/>
                      <a:pt x="276" y="244"/>
                      <a:pt x="276" y="244"/>
                    </a:cubicBezTo>
                    <a:cubicBezTo>
                      <a:pt x="268" y="231"/>
                      <a:pt x="256" y="222"/>
                      <a:pt x="245" y="215"/>
                    </a:cubicBezTo>
                    <a:cubicBezTo>
                      <a:pt x="260" y="200"/>
                      <a:pt x="270" y="180"/>
                      <a:pt x="270" y="157"/>
                    </a:cubicBezTo>
                    <a:cubicBezTo>
                      <a:pt x="270" y="112"/>
                      <a:pt x="234" y="76"/>
                      <a:pt x="189" y="76"/>
                    </a:cubicBezTo>
                    <a:cubicBezTo>
                      <a:pt x="145" y="76"/>
                      <a:pt x="108" y="112"/>
                      <a:pt x="108" y="157"/>
                    </a:cubicBezTo>
                    <a:cubicBezTo>
                      <a:pt x="108" y="180"/>
                      <a:pt x="118" y="200"/>
                      <a:pt x="133" y="215"/>
                    </a:cubicBezTo>
                    <a:cubicBezTo>
                      <a:pt x="123" y="222"/>
                      <a:pt x="111" y="231"/>
                      <a:pt x="102" y="244"/>
                    </a:cubicBezTo>
                    <a:cubicBezTo>
                      <a:pt x="24" y="244"/>
                      <a:pt x="24" y="244"/>
                      <a:pt x="24" y="244"/>
                    </a:cubicBezTo>
                    <a:cubicBezTo>
                      <a:pt x="20" y="244"/>
                      <a:pt x="16" y="241"/>
                      <a:pt x="16" y="236"/>
                    </a:cubicBezTo>
                    <a:cubicBezTo>
                      <a:pt x="16" y="25"/>
                      <a:pt x="16" y="25"/>
                      <a:pt x="16" y="25"/>
                    </a:cubicBezTo>
                    <a:cubicBezTo>
                      <a:pt x="16" y="20"/>
                      <a:pt x="20" y="16"/>
                      <a:pt x="24" y="16"/>
                    </a:cubicBezTo>
                    <a:cubicBezTo>
                      <a:pt x="354" y="16"/>
                      <a:pt x="354" y="16"/>
                      <a:pt x="354" y="16"/>
                    </a:cubicBezTo>
                    <a:cubicBezTo>
                      <a:pt x="359" y="16"/>
                      <a:pt x="362" y="20"/>
                      <a:pt x="362" y="25"/>
                    </a:cubicBezTo>
                    <a:cubicBezTo>
                      <a:pt x="362" y="32"/>
                      <a:pt x="362" y="32"/>
                      <a:pt x="362" y="32"/>
                    </a:cubicBezTo>
                    <a:cubicBezTo>
                      <a:pt x="362" y="37"/>
                      <a:pt x="366" y="41"/>
                      <a:pt x="371" y="41"/>
                    </a:cubicBezTo>
                    <a:close/>
                    <a:moveTo>
                      <a:pt x="124" y="157"/>
                    </a:moveTo>
                    <a:cubicBezTo>
                      <a:pt x="124" y="121"/>
                      <a:pt x="153" y="92"/>
                      <a:pt x="189" y="92"/>
                    </a:cubicBezTo>
                    <a:cubicBezTo>
                      <a:pt x="225" y="92"/>
                      <a:pt x="254" y="121"/>
                      <a:pt x="254" y="157"/>
                    </a:cubicBezTo>
                    <a:cubicBezTo>
                      <a:pt x="254" y="192"/>
                      <a:pt x="225" y="222"/>
                      <a:pt x="189" y="222"/>
                    </a:cubicBezTo>
                    <a:cubicBezTo>
                      <a:pt x="153" y="222"/>
                      <a:pt x="124" y="192"/>
                      <a:pt x="124" y="157"/>
                    </a:cubicBezTo>
                    <a:close/>
                    <a:moveTo>
                      <a:pt x="106" y="285"/>
                    </a:moveTo>
                    <a:cubicBezTo>
                      <a:pt x="106" y="253"/>
                      <a:pt x="130" y="234"/>
                      <a:pt x="147" y="226"/>
                    </a:cubicBezTo>
                    <a:cubicBezTo>
                      <a:pt x="160" y="233"/>
                      <a:pt x="174" y="238"/>
                      <a:pt x="189" y="238"/>
                    </a:cubicBezTo>
                    <a:cubicBezTo>
                      <a:pt x="205" y="238"/>
                      <a:pt x="219" y="233"/>
                      <a:pt x="231" y="226"/>
                    </a:cubicBezTo>
                    <a:cubicBezTo>
                      <a:pt x="248" y="234"/>
                      <a:pt x="272" y="252"/>
                      <a:pt x="272" y="285"/>
                    </a:cubicBezTo>
                    <a:cubicBezTo>
                      <a:pt x="272" y="358"/>
                      <a:pt x="272" y="358"/>
                      <a:pt x="272" y="358"/>
                    </a:cubicBezTo>
                    <a:cubicBezTo>
                      <a:pt x="272" y="359"/>
                      <a:pt x="272" y="362"/>
                      <a:pt x="268" y="362"/>
                    </a:cubicBezTo>
                    <a:cubicBezTo>
                      <a:pt x="255" y="362"/>
                      <a:pt x="255" y="362"/>
                      <a:pt x="255" y="362"/>
                    </a:cubicBezTo>
                    <a:cubicBezTo>
                      <a:pt x="255" y="277"/>
                      <a:pt x="255" y="277"/>
                      <a:pt x="255" y="277"/>
                    </a:cubicBezTo>
                    <a:cubicBezTo>
                      <a:pt x="255" y="273"/>
                      <a:pt x="252" y="269"/>
                      <a:pt x="247" y="269"/>
                    </a:cubicBezTo>
                    <a:cubicBezTo>
                      <a:pt x="243" y="269"/>
                      <a:pt x="239" y="273"/>
                      <a:pt x="239" y="277"/>
                    </a:cubicBezTo>
                    <a:cubicBezTo>
                      <a:pt x="239" y="362"/>
                      <a:pt x="239" y="362"/>
                      <a:pt x="239" y="362"/>
                    </a:cubicBezTo>
                    <a:cubicBezTo>
                      <a:pt x="139" y="362"/>
                      <a:pt x="139" y="362"/>
                      <a:pt x="139" y="362"/>
                    </a:cubicBezTo>
                    <a:cubicBezTo>
                      <a:pt x="139" y="277"/>
                      <a:pt x="139" y="277"/>
                      <a:pt x="139" y="277"/>
                    </a:cubicBezTo>
                    <a:cubicBezTo>
                      <a:pt x="139" y="273"/>
                      <a:pt x="136" y="269"/>
                      <a:pt x="131" y="269"/>
                    </a:cubicBezTo>
                    <a:cubicBezTo>
                      <a:pt x="127" y="269"/>
                      <a:pt x="123" y="273"/>
                      <a:pt x="123" y="277"/>
                    </a:cubicBezTo>
                    <a:cubicBezTo>
                      <a:pt x="123" y="362"/>
                      <a:pt x="123" y="362"/>
                      <a:pt x="123" y="362"/>
                    </a:cubicBezTo>
                    <a:cubicBezTo>
                      <a:pt x="111" y="362"/>
                      <a:pt x="111" y="362"/>
                      <a:pt x="111" y="362"/>
                    </a:cubicBezTo>
                    <a:cubicBezTo>
                      <a:pt x="109" y="362"/>
                      <a:pt x="107" y="362"/>
                      <a:pt x="106" y="358"/>
                    </a:cubicBezTo>
                    <a:lnTo>
                      <a:pt x="106" y="285"/>
                    </a:lnTo>
                    <a:close/>
                    <a:moveTo>
                      <a:pt x="287" y="176"/>
                    </a:moveTo>
                    <a:cubicBezTo>
                      <a:pt x="289" y="178"/>
                      <a:pt x="291" y="179"/>
                      <a:pt x="293" y="179"/>
                    </a:cubicBezTo>
                    <a:cubicBezTo>
                      <a:pt x="294" y="179"/>
                      <a:pt x="294" y="179"/>
                      <a:pt x="295" y="179"/>
                    </a:cubicBezTo>
                    <a:cubicBezTo>
                      <a:pt x="308" y="176"/>
                      <a:pt x="331" y="163"/>
                      <a:pt x="328" y="136"/>
                    </a:cubicBezTo>
                    <a:cubicBezTo>
                      <a:pt x="325" y="112"/>
                      <a:pt x="304" y="105"/>
                      <a:pt x="289" y="105"/>
                    </a:cubicBezTo>
                    <a:cubicBezTo>
                      <a:pt x="270" y="68"/>
                      <a:pt x="233" y="44"/>
                      <a:pt x="189" y="44"/>
                    </a:cubicBezTo>
                    <a:cubicBezTo>
                      <a:pt x="189" y="44"/>
                      <a:pt x="189" y="44"/>
                      <a:pt x="189" y="44"/>
                    </a:cubicBezTo>
                    <a:cubicBezTo>
                      <a:pt x="145" y="44"/>
                      <a:pt x="107" y="69"/>
                      <a:pt x="89" y="105"/>
                    </a:cubicBezTo>
                    <a:cubicBezTo>
                      <a:pt x="74" y="105"/>
                      <a:pt x="53" y="112"/>
                      <a:pt x="50" y="136"/>
                    </a:cubicBezTo>
                    <a:cubicBezTo>
                      <a:pt x="47" y="163"/>
                      <a:pt x="70" y="176"/>
                      <a:pt x="83" y="179"/>
                    </a:cubicBezTo>
                    <a:cubicBezTo>
                      <a:pt x="86" y="179"/>
                      <a:pt x="89" y="178"/>
                      <a:pt x="91" y="176"/>
                    </a:cubicBezTo>
                    <a:cubicBezTo>
                      <a:pt x="93" y="175"/>
                      <a:pt x="93" y="172"/>
                      <a:pt x="93" y="169"/>
                    </a:cubicBezTo>
                    <a:cubicBezTo>
                      <a:pt x="92" y="163"/>
                      <a:pt x="92" y="157"/>
                      <a:pt x="92" y="157"/>
                    </a:cubicBezTo>
                    <a:cubicBezTo>
                      <a:pt x="92" y="103"/>
                      <a:pt x="135" y="60"/>
                      <a:pt x="189" y="60"/>
                    </a:cubicBezTo>
                    <a:cubicBezTo>
                      <a:pt x="243" y="60"/>
                      <a:pt x="286" y="103"/>
                      <a:pt x="286" y="157"/>
                    </a:cubicBezTo>
                    <a:cubicBezTo>
                      <a:pt x="286" y="157"/>
                      <a:pt x="286" y="163"/>
                      <a:pt x="285" y="169"/>
                    </a:cubicBezTo>
                    <a:cubicBezTo>
                      <a:pt x="285" y="172"/>
                      <a:pt x="285" y="175"/>
                      <a:pt x="287" y="1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29" name="Freeform 6"/>
              <p:cNvSpPr>
                <a:spLocks noEditPoints="1"/>
              </p:cNvSpPr>
              <p:nvPr/>
            </p:nvSpPr>
            <p:spPr bwMode="auto">
              <a:xfrm>
                <a:off x="6146053" y="4517643"/>
                <a:ext cx="171919" cy="119060"/>
              </a:xfrm>
              <a:custGeom>
                <a:avLst/>
                <a:gdLst>
                  <a:gd name="T0" fmla="*/ 2147483647 w 434"/>
                  <a:gd name="T1" fmla="*/ 2147483647 h 307"/>
                  <a:gd name="T2" fmla="*/ 2147483647 w 434"/>
                  <a:gd name="T3" fmla="*/ 2147483647 h 307"/>
                  <a:gd name="T4" fmla="*/ 2147483647 w 434"/>
                  <a:gd name="T5" fmla="*/ 2147483647 h 307"/>
                  <a:gd name="T6" fmla="*/ 2147483647 w 434"/>
                  <a:gd name="T7" fmla="*/ 2147483647 h 307"/>
                  <a:gd name="T8" fmla="*/ 2147483647 w 434"/>
                  <a:gd name="T9" fmla="*/ 2147483647 h 307"/>
                  <a:gd name="T10" fmla="*/ 2147483647 w 434"/>
                  <a:gd name="T11" fmla="*/ 2147483647 h 307"/>
                  <a:gd name="T12" fmla="*/ 2147483647 w 434"/>
                  <a:gd name="T13" fmla="*/ 2147483647 h 307"/>
                  <a:gd name="T14" fmla="*/ 2147483647 w 434"/>
                  <a:gd name="T15" fmla="*/ 2147483647 h 307"/>
                  <a:gd name="T16" fmla="*/ 2147483647 w 434"/>
                  <a:gd name="T17" fmla="*/ 2147483647 h 307"/>
                  <a:gd name="T18" fmla="*/ 2147483647 w 434"/>
                  <a:gd name="T19" fmla="*/ 2147483647 h 307"/>
                  <a:gd name="T20" fmla="*/ 2147483647 w 434"/>
                  <a:gd name="T21" fmla="*/ 2147483647 h 307"/>
                  <a:gd name="T22" fmla="*/ 2147483647 w 434"/>
                  <a:gd name="T23" fmla="*/ 2147483647 h 307"/>
                  <a:gd name="T24" fmla="*/ 2147483647 w 434"/>
                  <a:gd name="T25" fmla="*/ 2147483647 h 307"/>
                  <a:gd name="T26" fmla="*/ 2147483647 w 434"/>
                  <a:gd name="T27" fmla="*/ 0 h 307"/>
                  <a:gd name="T28" fmla="*/ 2147483647 w 434"/>
                  <a:gd name="T29" fmla="*/ 2147483647 h 307"/>
                  <a:gd name="T30" fmla="*/ 2147483647 w 434"/>
                  <a:gd name="T31" fmla="*/ 2147483647 h 307"/>
                  <a:gd name="T32" fmla="*/ 2147483647 w 434"/>
                  <a:gd name="T33" fmla="*/ 2147483647 h 307"/>
                  <a:gd name="T34" fmla="*/ 2147483647 w 434"/>
                  <a:gd name="T35" fmla="*/ 2147483647 h 307"/>
                  <a:gd name="T36" fmla="*/ 0 w 434"/>
                  <a:gd name="T37" fmla="*/ 2147483647 h 307"/>
                  <a:gd name="T38" fmla="*/ 0 w 434"/>
                  <a:gd name="T39" fmla="*/ 2147483647 h 307"/>
                  <a:gd name="T40" fmla="*/ 2147483647 w 434"/>
                  <a:gd name="T41" fmla="*/ 2147483647 h 307"/>
                  <a:gd name="T42" fmla="*/ 2147483647 w 434"/>
                  <a:gd name="T43" fmla="*/ 2147483647 h 307"/>
                  <a:gd name="T44" fmla="*/ 2147483647 w 434"/>
                  <a:gd name="T45" fmla="*/ 2147483647 h 307"/>
                  <a:gd name="T46" fmla="*/ 2147483647 w 434"/>
                  <a:gd name="T47" fmla="*/ 2147483647 h 307"/>
                  <a:gd name="T48" fmla="*/ 2147483647 w 434"/>
                  <a:gd name="T49" fmla="*/ 2147483647 h 307"/>
                  <a:gd name="T50" fmla="*/ 2147483647 w 434"/>
                  <a:gd name="T51" fmla="*/ 2147483647 h 307"/>
                  <a:gd name="T52" fmla="*/ 2147483647 w 434"/>
                  <a:gd name="T53" fmla="*/ 2147483647 h 307"/>
                  <a:gd name="T54" fmla="*/ 2147483647 w 434"/>
                  <a:gd name="T55" fmla="*/ 2147483647 h 307"/>
                  <a:gd name="T56" fmla="*/ 2147483647 w 434"/>
                  <a:gd name="T57" fmla="*/ 2147483647 h 307"/>
                  <a:gd name="T58" fmla="*/ 2147483647 w 434"/>
                  <a:gd name="T59" fmla="*/ 2147483647 h 307"/>
                  <a:gd name="T60" fmla="*/ 2147483647 w 434"/>
                  <a:gd name="T61" fmla="*/ 2147483647 h 307"/>
                  <a:gd name="T62" fmla="*/ 2147483647 w 434"/>
                  <a:gd name="T63" fmla="*/ 2147483647 h 307"/>
                  <a:gd name="T64" fmla="*/ 2147483647 w 434"/>
                  <a:gd name="T65" fmla="*/ 2147483647 h 307"/>
                  <a:gd name="T66" fmla="*/ 2147483647 w 434"/>
                  <a:gd name="T67" fmla="*/ 2147483647 h 307"/>
                  <a:gd name="T68" fmla="*/ 2147483647 w 434"/>
                  <a:gd name="T69" fmla="*/ 2147483647 h 307"/>
                  <a:gd name="T70" fmla="*/ 2147483647 w 434"/>
                  <a:gd name="T71" fmla="*/ 2147483647 h 307"/>
                  <a:gd name="T72" fmla="*/ 2147483647 w 434"/>
                  <a:gd name="T73" fmla="*/ 2147483647 h 307"/>
                  <a:gd name="T74" fmla="*/ 2147483647 w 434"/>
                  <a:gd name="T75" fmla="*/ 2147483647 h 307"/>
                  <a:gd name="T76" fmla="*/ 2147483647 w 434"/>
                  <a:gd name="T77" fmla="*/ 2147483647 h 307"/>
                  <a:gd name="T78" fmla="*/ 2147483647 w 434"/>
                  <a:gd name="T79" fmla="*/ 2147483647 h 307"/>
                  <a:gd name="T80" fmla="*/ 2147483647 w 434"/>
                  <a:gd name="T81" fmla="*/ 2147483647 h 307"/>
                  <a:gd name="T82" fmla="*/ 2147483647 w 434"/>
                  <a:gd name="T83" fmla="*/ 2147483647 h 307"/>
                  <a:gd name="T84" fmla="*/ 2147483647 w 434"/>
                  <a:gd name="T85" fmla="*/ 2147483647 h 307"/>
                  <a:gd name="T86" fmla="*/ 2147483647 w 434"/>
                  <a:gd name="T87" fmla="*/ 2147483647 h 307"/>
                  <a:gd name="T88" fmla="*/ 2147483647 w 434"/>
                  <a:gd name="T89" fmla="*/ 2147483647 h 307"/>
                  <a:gd name="T90" fmla="*/ 2147483647 w 434"/>
                  <a:gd name="T91" fmla="*/ 2147483647 h 307"/>
                  <a:gd name="T92" fmla="*/ 2147483647 w 434"/>
                  <a:gd name="T93" fmla="*/ 2147483647 h 307"/>
                  <a:gd name="T94" fmla="*/ 2147483647 w 434"/>
                  <a:gd name="T95" fmla="*/ 2147483647 h 307"/>
                  <a:gd name="T96" fmla="*/ 2147483647 w 434"/>
                  <a:gd name="T97" fmla="*/ 2147483647 h 307"/>
                  <a:gd name="T98" fmla="*/ 2147483647 w 434"/>
                  <a:gd name="T99" fmla="*/ 2147483647 h 307"/>
                  <a:gd name="T100" fmla="*/ 2147483647 w 434"/>
                  <a:gd name="T101" fmla="*/ 2147483647 h 307"/>
                  <a:gd name="T102" fmla="*/ 2147483647 w 434"/>
                  <a:gd name="T103" fmla="*/ 2147483647 h 307"/>
                  <a:gd name="T104" fmla="*/ 2147483647 w 434"/>
                  <a:gd name="T105" fmla="*/ 2147483647 h 307"/>
                  <a:gd name="T106" fmla="*/ 2147483647 w 434"/>
                  <a:gd name="T107" fmla="*/ 2147483647 h 307"/>
                  <a:gd name="T108" fmla="*/ 2147483647 w 434"/>
                  <a:gd name="T109" fmla="*/ 2147483647 h 307"/>
                  <a:gd name="T110" fmla="*/ 2147483647 w 434"/>
                  <a:gd name="T111" fmla="*/ 2147483647 h 307"/>
                  <a:gd name="T112" fmla="*/ 2147483647 w 434"/>
                  <a:gd name="T113" fmla="*/ 2147483647 h 307"/>
                  <a:gd name="T114" fmla="*/ 2147483647 w 434"/>
                  <a:gd name="T115" fmla="*/ 2147483647 h 307"/>
                  <a:gd name="T116" fmla="*/ 2147483647 w 434"/>
                  <a:gd name="T117" fmla="*/ 2147483647 h 307"/>
                  <a:gd name="T118" fmla="*/ 2147483647 w 434"/>
                  <a:gd name="T119" fmla="*/ 2147483647 h 307"/>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434" h="307">
                    <a:moveTo>
                      <a:pt x="97" y="107"/>
                    </a:moveTo>
                    <a:cubicBezTo>
                      <a:pt x="113" y="123"/>
                      <a:pt x="113" y="123"/>
                      <a:pt x="113" y="123"/>
                    </a:cubicBezTo>
                    <a:cubicBezTo>
                      <a:pt x="132" y="123"/>
                      <a:pt x="132" y="123"/>
                      <a:pt x="132" y="123"/>
                    </a:cubicBezTo>
                    <a:cubicBezTo>
                      <a:pt x="133" y="123"/>
                      <a:pt x="134" y="123"/>
                      <a:pt x="134" y="122"/>
                    </a:cubicBezTo>
                    <a:cubicBezTo>
                      <a:pt x="134" y="92"/>
                      <a:pt x="134" y="92"/>
                      <a:pt x="134" y="92"/>
                    </a:cubicBezTo>
                    <a:cubicBezTo>
                      <a:pt x="134" y="91"/>
                      <a:pt x="133" y="91"/>
                      <a:pt x="132" y="91"/>
                    </a:cubicBezTo>
                    <a:cubicBezTo>
                      <a:pt x="113" y="91"/>
                      <a:pt x="113" y="91"/>
                      <a:pt x="113" y="91"/>
                    </a:cubicBezTo>
                    <a:lnTo>
                      <a:pt x="97" y="107"/>
                    </a:lnTo>
                    <a:close/>
                    <a:moveTo>
                      <a:pt x="317" y="91"/>
                    </a:moveTo>
                    <a:cubicBezTo>
                      <a:pt x="308" y="91"/>
                      <a:pt x="301" y="98"/>
                      <a:pt x="301" y="107"/>
                    </a:cubicBezTo>
                    <a:cubicBezTo>
                      <a:pt x="301" y="116"/>
                      <a:pt x="308" y="123"/>
                      <a:pt x="317" y="123"/>
                    </a:cubicBezTo>
                    <a:cubicBezTo>
                      <a:pt x="326" y="123"/>
                      <a:pt x="333" y="116"/>
                      <a:pt x="333" y="107"/>
                    </a:cubicBezTo>
                    <a:cubicBezTo>
                      <a:pt x="333" y="98"/>
                      <a:pt x="326" y="91"/>
                      <a:pt x="317" y="91"/>
                    </a:cubicBezTo>
                    <a:close/>
                    <a:moveTo>
                      <a:pt x="67" y="137"/>
                    </a:moveTo>
                    <a:cubicBezTo>
                      <a:pt x="67" y="156"/>
                      <a:pt x="67" y="156"/>
                      <a:pt x="67" y="156"/>
                    </a:cubicBezTo>
                    <a:cubicBezTo>
                      <a:pt x="67" y="157"/>
                      <a:pt x="68" y="157"/>
                      <a:pt x="68" y="157"/>
                    </a:cubicBezTo>
                    <a:cubicBezTo>
                      <a:pt x="98" y="157"/>
                      <a:pt x="98" y="157"/>
                      <a:pt x="98" y="157"/>
                    </a:cubicBezTo>
                    <a:cubicBezTo>
                      <a:pt x="99" y="157"/>
                      <a:pt x="99" y="157"/>
                      <a:pt x="99" y="156"/>
                    </a:cubicBezTo>
                    <a:cubicBezTo>
                      <a:pt x="99" y="137"/>
                      <a:pt x="99" y="137"/>
                      <a:pt x="99" y="137"/>
                    </a:cubicBezTo>
                    <a:cubicBezTo>
                      <a:pt x="83" y="121"/>
                      <a:pt x="83" y="121"/>
                      <a:pt x="83" y="121"/>
                    </a:cubicBezTo>
                    <a:lnTo>
                      <a:pt x="67" y="137"/>
                    </a:lnTo>
                    <a:close/>
                    <a:moveTo>
                      <a:pt x="99" y="77"/>
                    </a:moveTo>
                    <a:cubicBezTo>
                      <a:pt x="99" y="58"/>
                      <a:pt x="99" y="58"/>
                      <a:pt x="99" y="58"/>
                    </a:cubicBezTo>
                    <a:cubicBezTo>
                      <a:pt x="99" y="57"/>
                      <a:pt x="99" y="57"/>
                      <a:pt x="98" y="57"/>
                    </a:cubicBezTo>
                    <a:cubicBezTo>
                      <a:pt x="68" y="57"/>
                      <a:pt x="68" y="57"/>
                      <a:pt x="68" y="57"/>
                    </a:cubicBezTo>
                    <a:cubicBezTo>
                      <a:pt x="68" y="57"/>
                      <a:pt x="67" y="57"/>
                      <a:pt x="67" y="58"/>
                    </a:cubicBezTo>
                    <a:cubicBezTo>
                      <a:pt x="67" y="77"/>
                      <a:pt x="67" y="77"/>
                      <a:pt x="67" y="77"/>
                    </a:cubicBezTo>
                    <a:cubicBezTo>
                      <a:pt x="83" y="93"/>
                      <a:pt x="83" y="93"/>
                      <a:pt x="83" y="93"/>
                    </a:cubicBezTo>
                    <a:lnTo>
                      <a:pt x="99" y="77"/>
                    </a:lnTo>
                    <a:close/>
                    <a:moveTo>
                      <a:pt x="53" y="91"/>
                    </a:moveTo>
                    <a:cubicBezTo>
                      <a:pt x="34" y="91"/>
                      <a:pt x="34" y="91"/>
                      <a:pt x="34" y="91"/>
                    </a:cubicBezTo>
                    <a:cubicBezTo>
                      <a:pt x="33" y="91"/>
                      <a:pt x="33" y="91"/>
                      <a:pt x="33" y="92"/>
                    </a:cubicBezTo>
                    <a:cubicBezTo>
                      <a:pt x="33" y="122"/>
                      <a:pt x="33" y="122"/>
                      <a:pt x="33" y="122"/>
                    </a:cubicBezTo>
                    <a:cubicBezTo>
                      <a:pt x="33" y="123"/>
                      <a:pt x="33" y="123"/>
                      <a:pt x="34" y="123"/>
                    </a:cubicBezTo>
                    <a:cubicBezTo>
                      <a:pt x="53" y="123"/>
                      <a:pt x="53" y="123"/>
                      <a:pt x="53" y="123"/>
                    </a:cubicBezTo>
                    <a:cubicBezTo>
                      <a:pt x="69" y="107"/>
                      <a:pt x="69" y="107"/>
                      <a:pt x="69" y="107"/>
                    </a:cubicBezTo>
                    <a:lnTo>
                      <a:pt x="53" y="91"/>
                    </a:lnTo>
                    <a:close/>
                    <a:moveTo>
                      <a:pt x="434" y="107"/>
                    </a:moveTo>
                    <a:cubicBezTo>
                      <a:pt x="434" y="77"/>
                      <a:pt x="418" y="50"/>
                      <a:pt x="394" y="36"/>
                    </a:cubicBezTo>
                    <a:cubicBezTo>
                      <a:pt x="394" y="31"/>
                      <a:pt x="394" y="24"/>
                      <a:pt x="392" y="17"/>
                    </a:cubicBezTo>
                    <a:cubicBezTo>
                      <a:pt x="391" y="13"/>
                      <a:pt x="389" y="9"/>
                      <a:pt x="386" y="6"/>
                    </a:cubicBezTo>
                    <a:cubicBezTo>
                      <a:pt x="384" y="3"/>
                      <a:pt x="379" y="0"/>
                      <a:pt x="373" y="0"/>
                    </a:cubicBezTo>
                    <a:cubicBezTo>
                      <a:pt x="330" y="0"/>
                      <a:pt x="330" y="0"/>
                      <a:pt x="330" y="0"/>
                    </a:cubicBezTo>
                    <a:cubicBezTo>
                      <a:pt x="324" y="0"/>
                      <a:pt x="318" y="4"/>
                      <a:pt x="316" y="8"/>
                    </a:cubicBezTo>
                    <a:cubicBezTo>
                      <a:pt x="312" y="14"/>
                      <a:pt x="310" y="21"/>
                      <a:pt x="309" y="27"/>
                    </a:cubicBezTo>
                    <a:cubicBezTo>
                      <a:pt x="309" y="30"/>
                      <a:pt x="309" y="33"/>
                      <a:pt x="309" y="35"/>
                    </a:cubicBezTo>
                    <a:cubicBezTo>
                      <a:pt x="305" y="38"/>
                      <a:pt x="301" y="40"/>
                      <a:pt x="298" y="43"/>
                    </a:cubicBezTo>
                    <a:cubicBezTo>
                      <a:pt x="137" y="43"/>
                      <a:pt x="137" y="43"/>
                      <a:pt x="137" y="43"/>
                    </a:cubicBezTo>
                    <a:cubicBezTo>
                      <a:pt x="133" y="40"/>
                      <a:pt x="130" y="38"/>
                      <a:pt x="126" y="36"/>
                    </a:cubicBezTo>
                    <a:cubicBezTo>
                      <a:pt x="126" y="31"/>
                      <a:pt x="126" y="24"/>
                      <a:pt x="124" y="17"/>
                    </a:cubicBezTo>
                    <a:cubicBezTo>
                      <a:pt x="123" y="13"/>
                      <a:pt x="121" y="9"/>
                      <a:pt x="118" y="6"/>
                    </a:cubicBezTo>
                    <a:cubicBezTo>
                      <a:pt x="116" y="3"/>
                      <a:pt x="111" y="0"/>
                      <a:pt x="105" y="0"/>
                    </a:cubicBezTo>
                    <a:cubicBezTo>
                      <a:pt x="62" y="0"/>
                      <a:pt x="62" y="0"/>
                      <a:pt x="62" y="0"/>
                    </a:cubicBezTo>
                    <a:cubicBezTo>
                      <a:pt x="55" y="0"/>
                      <a:pt x="50" y="4"/>
                      <a:pt x="48" y="8"/>
                    </a:cubicBezTo>
                    <a:cubicBezTo>
                      <a:pt x="44" y="14"/>
                      <a:pt x="42" y="21"/>
                      <a:pt x="41" y="27"/>
                    </a:cubicBezTo>
                    <a:cubicBezTo>
                      <a:pt x="41" y="30"/>
                      <a:pt x="41" y="33"/>
                      <a:pt x="41" y="35"/>
                    </a:cubicBezTo>
                    <a:cubicBezTo>
                      <a:pt x="16" y="50"/>
                      <a:pt x="0" y="76"/>
                      <a:pt x="0" y="107"/>
                    </a:cubicBezTo>
                    <a:cubicBezTo>
                      <a:pt x="0" y="107"/>
                      <a:pt x="0" y="107"/>
                      <a:pt x="0" y="107"/>
                    </a:cubicBezTo>
                    <a:cubicBezTo>
                      <a:pt x="0" y="107"/>
                      <a:pt x="0" y="107"/>
                      <a:pt x="0" y="107"/>
                    </a:cubicBezTo>
                    <a:cubicBezTo>
                      <a:pt x="0" y="107"/>
                      <a:pt x="0" y="108"/>
                      <a:pt x="0" y="108"/>
                    </a:cubicBezTo>
                    <a:cubicBezTo>
                      <a:pt x="0" y="111"/>
                      <a:pt x="0" y="114"/>
                      <a:pt x="1" y="117"/>
                    </a:cubicBezTo>
                    <a:cubicBezTo>
                      <a:pt x="3" y="148"/>
                      <a:pt x="9" y="253"/>
                      <a:pt x="11" y="264"/>
                    </a:cubicBezTo>
                    <a:cubicBezTo>
                      <a:pt x="11" y="270"/>
                      <a:pt x="13" y="281"/>
                      <a:pt x="20" y="290"/>
                    </a:cubicBezTo>
                    <a:cubicBezTo>
                      <a:pt x="27" y="300"/>
                      <a:pt x="39" y="307"/>
                      <a:pt x="58" y="307"/>
                    </a:cubicBezTo>
                    <a:cubicBezTo>
                      <a:pt x="76" y="307"/>
                      <a:pt x="90" y="299"/>
                      <a:pt x="99" y="289"/>
                    </a:cubicBezTo>
                    <a:cubicBezTo>
                      <a:pt x="108" y="280"/>
                      <a:pt x="113" y="270"/>
                      <a:pt x="115" y="266"/>
                    </a:cubicBezTo>
                    <a:cubicBezTo>
                      <a:pt x="117" y="262"/>
                      <a:pt x="122" y="252"/>
                      <a:pt x="127" y="240"/>
                    </a:cubicBezTo>
                    <a:cubicBezTo>
                      <a:pt x="132" y="229"/>
                      <a:pt x="137" y="217"/>
                      <a:pt x="141" y="208"/>
                    </a:cubicBezTo>
                    <a:cubicBezTo>
                      <a:pt x="145" y="200"/>
                      <a:pt x="148" y="197"/>
                      <a:pt x="150" y="196"/>
                    </a:cubicBezTo>
                    <a:cubicBezTo>
                      <a:pt x="152" y="195"/>
                      <a:pt x="156" y="194"/>
                      <a:pt x="164" y="194"/>
                    </a:cubicBezTo>
                    <a:cubicBezTo>
                      <a:pt x="270" y="194"/>
                      <a:pt x="270" y="194"/>
                      <a:pt x="270" y="194"/>
                    </a:cubicBezTo>
                    <a:cubicBezTo>
                      <a:pt x="278" y="194"/>
                      <a:pt x="282" y="195"/>
                      <a:pt x="284" y="196"/>
                    </a:cubicBezTo>
                    <a:cubicBezTo>
                      <a:pt x="286" y="197"/>
                      <a:pt x="289" y="200"/>
                      <a:pt x="293" y="208"/>
                    </a:cubicBezTo>
                    <a:cubicBezTo>
                      <a:pt x="297" y="217"/>
                      <a:pt x="303" y="229"/>
                      <a:pt x="308" y="240"/>
                    </a:cubicBezTo>
                    <a:cubicBezTo>
                      <a:pt x="313" y="252"/>
                      <a:pt x="317" y="262"/>
                      <a:pt x="319" y="266"/>
                    </a:cubicBezTo>
                    <a:cubicBezTo>
                      <a:pt x="321" y="270"/>
                      <a:pt x="326" y="280"/>
                      <a:pt x="335" y="289"/>
                    </a:cubicBezTo>
                    <a:cubicBezTo>
                      <a:pt x="344" y="299"/>
                      <a:pt x="358" y="307"/>
                      <a:pt x="377" y="307"/>
                    </a:cubicBezTo>
                    <a:cubicBezTo>
                      <a:pt x="377" y="307"/>
                      <a:pt x="377" y="307"/>
                      <a:pt x="377" y="307"/>
                    </a:cubicBezTo>
                    <a:cubicBezTo>
                      <a:pt x="395" y="307"/>
                      <a:pt x="408" y="300"/>
                      <a:pt x="414" y="290"/>
                    </a:cubicBezTo>
                    <a:cubicBezTo>
                      <a:pt x="421" y="281"/>
                      <a:pt x="423" y="270"/>
                      <a:pt x="424" y="264"/>
                    </a:cubicBezTo>
                    <a:cubicBezTo>
                      <a:pt x="424" y="263"/>
                      <a:pt x="425" y="256"/>
                      <a:pt x="425" y="252"/>
                    </a:cubicBezTo>
                    <a:cubicBezTo>
                      <a:pt x="425" y="248"/>
                      <a:pt x="422" y="244"/>
                      <a:pt x="418" y="243"/>
                    </a:cubicBezTo>
                    <a:cubicBezTo>
                      <a:pt x="413" y="243"/>
                      <a:pt x="410" y="246"/>
                      <a:pt x="409" y="251"/>
                    </a:cubicBezTo>
                    <a:cubicBezTo>
                      <a:pt x="409" y="254"/>
                      <a:pt x="408" y="260"/>
                      <a:pt x="408" y="262"/>
                    </a:cubicBezTo>
                    <a:cubicBezTo>
                      <a:pt x="407" y="267"/>
                      <a:pt x="406" y="275"/>
                      <a:pt x="401" y="281"/>
                    </a:cubicBezTo>
                    <a:cubicBezTo>
                      <a:pt x="397" y="286"/>
                      <a:pt x="391" y="291"/>
                      <a:pt x="377" y="291"/>
                    </a:cubicBezTo>
                    <a:cubicBezTo>
                      <a:pt x="363" y="291"/>
                      <a:pt x="354" y="285"/>
                      <a:pt x="347" y="278"/>
                    </a:cubicBezTo>
                    <a:cubicBezTo>
                      <a:pt x="340" y="271"/>
                      <a:pt x="336" y="263"/>
                      <a:pt x="334" y="259"/>
                    </a:cubicBezTo>
                    <a:cubicBezTo>
                      <a:pt x="332" y="256"/>
                      <a:pt x="327" y="245"/>
                      <a:pt x="322" y="234"/>
                    </a:cubicBezTo>
                    <a:cubicBezTo>
                      <a:pt x="317" y="222"/>
                      <a:pt x="312" y="210"/>
                      <a:pt x="307" y="201"/>
                    </a:cubicBezTo>
                    <a:cubicBezTo>
                      <a:pt x="303" y="193"/>
                      <a:pt x="299" y="186"/>
                      <a:pt x="292" y="182"/>
                    </a:cubicBezTo>
                    <a:cubicBezTo>
                      <a:pt x="286" y="178"/>
                      <a:pt x="279" y="178"/>
                      <a:pt x="270" y="178"/>
                    </a:cubicBezTo>
                    <a:cubicBezTo>
                      <a:pt x="164" y="178"/>
                      <a:pt x="164" y="178"/>
                      <a:pt x="164" y="178"/>
                    </a:cubicBezTo>
                    <a:cubicBezTo>
                      <a:pt x="156" y="178"/>
                      <a:pt x="149" y="178"/>
                      <a:pt x="142" y="182"/>
                    </a:cubicBezTo>
                    <a:cubicBezTo>
                      <a:pt x="135" y="186"/>
                      <a:pt x="132" y="193"/>
                      <a:pt x="127" y="201"/>
                    </a:cubicBezTo>
                    <a:cubicBezTo>
                      <a:pt x="123" y="210"/>
                      <a:pt x="117" y="222"/>
                      <a:pt x="112" y="234"/>
                    </a:cubicBezTo>
                    <a:cubicBezTo>
                      <a:pt x="107" y="245"/>
                      <a:pt x="103" y="256"/>
                      <a:pt x="101" y="259"/>
                    </a:cubicBezTo>
                    <a:cubicBezTo>
                      <a:pt x="99" y="263"/>
                      <a:pt x="95" y="271"/>
                      <a:pt x="88" y="278"/>
                    </a:cubicBezTo>
                    <a:cubicBezTo>
                      <a:pt x="81" y="285"/>
                      <a:pt x="71" y="291"/>
                      <a:pt x="58" y="291"/>
                    </a:cubicBezTo>
                    <a:cubicBezTo>
                      <a:pt x="43" y="291"/>
                      <a:pt x="37" y="286"/>
                      <a:pt x="33" y="281"/>
                    </a:cubicBezTo>
                    <a:cubicBezTo>
                      <a:pt x="29" y="275"/>
                      <a:pt x="27" y="267"/>
                      <a:pt x="27" y="262"/>
                    </a:cubicBezTo>
                    <a:cubicBezTo>
                      <a:pt x="26" y="256"/>
                      <a:pt x="23" y="217"/>
                      <a:pt x="21" y="180"/>
                    </a:cubicBezTo>
                    <a:cubicBezTo>
                      <a:pt x="20" y="173"/>
                      <a:pt x="20" y="167"/>
                      <a:pt x="19" y="160"/>
                    </a:cubicBezTo>
                    <a:cubicBezTo>
                      <a:pt x="35" y="179"/>
                      <a:pt x="58" y="190"/>
                      <a:pt x="83" y="190"/>
                    </a:cubicBezTo>
                    <a:cubicBezTo>
                      <a:pt x="129" y="190"/>
                      <a:pt x="166" y="153"/>
                      <a:pt x="166" y="107"/>
                    </a:cubicBezTo>
                    <a:cubicBezTo>
                      <a:pt x="166" y="89"/>
                      <a:pt x="161" y="73"/>
                      <a:pt x="151" y="59"/>
                    </a:cubicBezTo>
                    <a:cubicBezTo>
                      <a:pt x="283" y="59"/>
                      <a:pt x="283" y="59"/>
                      <a:pt x="283" y="59"/>
                    </a:cubicBezTo>
                    <a:cubicBezTo>
                      <a:pt x="283" y="59"/>
                      <a:pt x="283" y="59"/>
                      <a:pt x="283" y="59"/>
                    </a:cubicBezTo>
                    <a:cubicBezTo>
                      <a:pt x="274" y="73"/>
                      <a:pt x="268" y="89"/>
                      <a:pt x="268" y="107"/>
                    </a:cubicBezTo>
                    <a:cubicBezTo>
                      <a:pt x="268" y="153"/>
                      <a:pt x="305" y="190"/>
                      <a:pt x="351" y="190"/>
                    </a:cubicBezTo>
                    <a:cubicBezTo>
                      <a:pt x="377" y="190"/>
                      <a:pt x="399" y="179"/>
                      <a:pt x="415" y="161"/>
                    </a:cubicBezTo>
                    <a:cubicBezTo>
                      <a:pt x="413" y="178"/>
                      <a:pt x="413" y="190"/>
                      <a:pt x="411" y="219"/>
                    </a:cubicBezTo>
                    <a:cubicBezTo>
                      <a:pt x="410" y="223"/>
                      <a:pt x="414" y="227"/>
                      <a:pt x="418" y="227"/>
                    </a:cubicBezTo>
                    <a:cubicBezTo>
                      <a:pt x="422" y="227"/>
                      <a:pt x="426" y="224"/>
                      <a:pt x="427" y="220"/>
                    </a:cubicBezTo>
                    <a:cubicBezTo>
                      <a:pt x="430" y="174"/>
                      <a:pt x="430" y="171"/>
                      <a:pt x="434" y="117"/>
                    </a:cubicBezTo>
                    <a:cubicBezTo>
                      <a:pt x="434" y="117"/>
                      <a:pt x="434" y="117"/>
                      <a:pt x="434" y="117"/>
                    </a:cubicBezTo>
                    <a:cubicBezTo>
                      <a:pt x="434" y="114"/>
                      <a:pt x="434" y="111"/>
                      <a:pt x="434" y="107"/>
                    </a:cubicBezTo>
                    <a:cubicBezTo>
                      <a:pt x="434" y="107"/>
                      <a:pt x="434" y="107"/>
                      <a:pt x="434" y="107"/>
                    </a:cubicBezTo>
                    <a:cubicBezTo>
                      <a:pt x="434" y="107"/>
                      <a:pt x="434" y="107"/>
                      <a:pt x="434" y="107"/>
                    </a:cubicBezTo>
                    <a:cubicBezTo>
                      <a:pt x="434" y="107"/>
                      <a:pt x="434" y="107"/>
                      <a:pt x="434" y="107"/>
                    </a:cubicBezTo>
                    <a:close/>
                    <a:moveTo>
                      <a:pt x="83" y="174"/>
                    </a:moveTo>
                    <a:cubicBezTo>
                      <a:pt x="46" y="174"/>
                      <a:pt x="16" y="144"/>
                      <a:pt x="16" y="107"/>
                    </a:cubicBezTo>
                    <a:cubicBezTo>
                      <a:pt x="16" y="81"/>
                      <a:pt x="31" y="58"/>
                      <a:pt x="52" y="47"/>
                    </a:cubicBezTo>
                    <a:cubicBezTo>
                      <a:pt x="55" y="46"/>
                      <a:pt x="56" y="44"/>
                      <a:pt x="56" y="41"/>
                    </a:cubicBezTo>
                    <a:cubicBezTo>
                      <a:pt x="57" y="41"/>
                      <a:pt x="57" y="40"/>
                      <a:pt x="57" y="40"/>
                    </a:cubicBezTo>
                    <a:cubicBezTo>
                      <a:pt x="57" y="38"/>
                      <a:pt x="57" y="31"/>
                      <a:pt x="58" y="24"/>
                    </a:cubicBezTo>
                    <a:cubicBezTo>
                      <a:pt x="59" y="21"/>
                      <a:pt x="60" y="18"/>
                      <a:pt x="61" y="17"/>
                    </a:cubicBezTo>
                    <a:cubicBezTo>
                      <a:pt x="61" y="16"/>
                      <a:pt x="62" y="16"/>
                      <a:pt x="62" y="16"/>
                    </a:cubicBezTo>
                    <a:cubicBezTo>
                      <a:pt x="62" y="16"/>
                      <a:pt x="62" y="16"/>
                      <a:pt x="62" y="16"/>
                    </a:cubicBezTo>
                    <a:cubicBezTo>
                      <a:pt x="105" y="16"/>
                      <a:pt x="105" y="16"/>
                      <a:pt x="105" y="16"/>
                    </a:cubicBezTo>
                    <a:cubicBezTo>
                      <a:pt x="106" y="16"/>
                      <a:pt x="106" y="16"/>
                      <a:pt x="106" y="16"/>
                    </a:cubicBezTo>
                    <a:cubicBezTo>
                      <a:pt x="106" y="16"/>
                      <a:pt x="106" y="16"/>
                      <a:pt x="106" y="16"/>
                    </a:cubicBezTo>
                    <a:cubicBezTo>
                      <a:pt x="107" y="17"/>
                      <a:pt x="109" y="21"/>
                      <a:pt x="109" y="25"/>
                    </a:cubicBezTo>
                    <a:cubicBezTo>
                      <a:pt x="110" y="29"/>
                      <a:pt x="110" y="34"/>
                      <a:pt x="110" y="37"/>
                    </a:cubicBezTo>
                    <a:cubicBezTo>
                      <a:pt x="110" y="38"/>
                      <a:pt x="110" y="39"/>
                      <a:pt x="110" y="39"/>
                    </a:cubicBezTo>
                    <a:cubicBezTo>
                      <a:pt x="110" y="43"/>
                      <a:pt x="111" y="46"/>
                      <a:pt x="114" y="47"/>
                    </a:cubicBezTo>
                    <a:cubicBezTo>
                      <a:pt x="136" y="59"/>
                      <a:pt x="150" y="81"/>
                      <a:pt x="150" y="107"/>
                    </a:cubicBezTo>
                    <a:cubicBezTo>
                      <a:pt x="150" y="144"/>
                      <a:pt x="120" y="174"/>
                      <a:pt x="83" y="174"/>
                    </a:cubicBezTo>
                    <a:close/>
                    <a:moveTo>
                      <a:pt x="351" y="174"/>
                    </a:moveTo>
                    <a:cubicBezTo>
                      <a:pt x="314" y="174"/>
                      <a:pt x="284" y="144"/>
                      <a:pt x="284" y="107"/>
                    </a:cubicBezTo>
                    <a:cubicBezTo>
                      <a:pt x="284" y="81"/>
                      <a:pt x="299" y="58"/>
                      <a:pt x="320" y="47"/>
                    </a:cubicBezTo>
                    <a:cubicBezTo>
                      <a:pt x="322" y="46"/>
                      <a:pt x="324" y="44"/>
                      <a:pt x="324" y="42"/>
                    </a:cubicBezTo>
                    <a:cubicBezTo>
                      <a:pt x="325" y="41"/>
                      <a:pt x="325" y="40"/>
                      <a:pt x="325" y="40"/>
                    </a:cubicBezTo>
                    <a:cubicBezTo>
                      <a:pt x="325" y="38"/>
                      <a:pt x="325" y="31"/>
                      <a:pt x="326" y="24"/>
                    </a:cubicBezTo>
                    <a:cubicBezTo>
                      <a:pt x="327" y="21"/>
                      <a:pt x="328" y="18"/>
                      <a:pt x="329" y="17"/>
                    </a:cubicBezTo>
                    <a:cubicBezTo>
                      <a:pt x="329" y="16"/>
                      <a:pt x="330" y="16"/>
                      <a:pt x="330" y="16"/>
                    </a:cubicBezTo>
                    <a:cubicBezTo>
                      <a:pt x="373" y="16"/>
                      <a:pt x="373" y="16"/>
                      <a:pt x="373" y="16"/>
                    </a:cubicBezTo>
                    <a:cubicBezTo>
                      <a:pt x="374" y="16"/>
                      <a:pt x="374" y="16"/>
                      <a:pt x="374" y="16"/>
                    </a:cubicBezTo>
                    <a:cubicBezTo>
                      <a:pt x="374" y="16"/>
                      <a:pt x="374" y="16"/>
                      <a:pt x="374" y="16"/>
                    </a:cubicBezTo>
                    <a:cubicBezTo>
                      <a:pt x="375" y="17"/>
                      <a:pt x="377" y="21"/>
                      <a:pt x="377" y="25"/>
                    </a:cubicBezTo>
                    <a:cubicBezTo>
                      <a:pt x="378" y="29"/>
                      <a:pt x="378" y="34"/>
                      <a:pt x="378" y="37"/>
                    </a:cubicBezTo>
                    <a:cubicBezTo>
                      <a:pt x="378" y="38"/>
                      <a:pt x="378" y="39"/>
                      <a:pt x="378" y="39"/>
                    </a:cubicBezTo>
                    <a:cubicBezTo>
                      <a:pt x="378" y="40"/>
                      <a:pt x="378" y="41"/>
                      <a:pt x="378" y="42"/>
                    </a:cubicBezTo>
                    <a:cubicBezTo>
                      <a:pt x="379" y="44"/>
                      <a:pt x="380" y="46"/>
                      <a:pt x="382" y="47"/>
                    </a:cubicBezTo>
                    <a:cubicBezTo>
                      <a:pt x="404" y="59"/>
                      <a:pt x="418" y="81"/>
                      <a:pt x="418" y="107"/>
                    </a:cubicBezTo>
                    <a:cubicBezTo>
                      <a:pt x="418" y="144"/>
                      <a:pt x="388" y="174"/>
                      <a:pt x="351" y="174"/>
                    </a:cubicBezTo>
                    <a:close/>
                    <a:moveTo>
                      <a:pt x="225" y="147"/>
                    </a:moveTo>
                    <a:cubicBezTo>
                      <a:pt x="225" y="154"/>
                      <a:pt x="231" y="160"/>
                      <a:pt x="238" y="160"/>
                    </a:cubicBezTo>
                    <a:cubicBezTo>
                      <a:pt x="245" y="160"/>
                      <a:pt x="250" y="154"/>
                      <a:pt x="250" y="147"/>
                    </a:cubicBezTo>
                    <a:cubicBezTo>
                      <a:pt x="250" y="141"/>
                      <a:pt x="245" y="135"/>
                      <a:pt x="238" y="135"/>
                    </a:cubicBezTo>
                    <a:cubicBezTo>
                      <a:pt x="231" y="135"/>
                      <a:pt x="225" y="141"/>
                      <a:pt x="225" y="147"/>
                    </a:cubicBezTo>
                    <a:close/>
                    <a:moveTo>
                      <a:pt x="351" y="125"/>
                    </a:moveTo>
                    <a:cubicBezTo>
                      <a:pt x="342" y="125"/>
                      <a:pt x="335" y="132"/>
                      <a:pt x="335" y="141"/>
                    </a:cubicBezTo>
                    <a:cubicBezTo>
                      <a:pt x="335" y="150"/>
                      <a:pt x="342" y="157"/>
                      <a:pt x="351" y="157"/>
                    </a:cubicBezTo>
                    <a:cubicBezTo>
                      <a:pt x="360" y="157"/>
                      <a:pt x="367" y="150"/>
                      <a:pt x="367" y="141"/>
                    </a:cubicBezTo>
                    <a:cubicBezTo>
                      <a:pt x="367" y="132"/>
                      <a:pt x="360" y="125"/>
                      <a:pt x="351" y="125"/>
                    </a:cubicBezTo>
                    <a:close/>
                    <a:moveTo>
                      <a:pt x="182" y="147"/>
                    </a:moveTo>
                    <a:cubicBezTo>
                      <a:pt x="182" y="154"/>
                      <a:pt x="187" y="160"/>
                      <a:pt x="194" y="160"/>
                    </a:cubicBezTo>
                    <a:cubicBezTo>
                      <a:pt x="201" y="160"/>
                      <a:pt x="207" y="154"/>
                      <a:pt x="207" y="147"/>
                    </a:cubicBezTo>
                    <a:cubicBezTo>
                      <a:pt x="207" y="141"/>
                      <a:pt x="201" y="135"/>
                      <a:pt x="194" y="135"/>
                    </a:cubicBezTo>
                    <a:cubicBezTo>
                      <a:pt x="187" y="135"/>
                      <a:pt x="182" y="141"/>
                      <a:pt x="182" y="147"/>
                    </a:cubicBezTo>
                    <a:close/>
                    <a:moveTo>
                      <a:pt x="351" y="57"/>
                    </a:moveTo>
                    <a:cubicBezTo>
                      <a:pt x="342" y="57"/>
                      <a:pt x="335" y="64"/>
                      <a:pt x="335" y="73"/>
                    </a:cubicBezTo>
                    <a:cubicBezTo>
                      <a:pt x="335" y="82"/>
                      <a:pt x="342" y="89"/>
                      <a:pt x="351" y="89"/>
                    </a:cubicBezTo>
                    <a:cubicBezTo>
                      <a:pt x="360" y="89"/>
                      <a:pt x="367" y="82"/>
                      <a:pt x="367" y="73"/>
                    </a:cubicBezTo>
                    <a:cubicBezTo>
                      <a:pt x="367" y="64"/>
                      <a:pt x="360" y="57"/>
                      <a:pt x="351" y="57"/>
                    </a:cubicBezTo>
                    <a:close/>
                    <a:moveTo>
                      <a:pt x="385" y="91"/>
                    </a:moveTo>
                    <a:cubicBezTo>
                      <a:pt x="377" y="91"/>
                      <a:pt x="369" y="98"/>
                      <a:pt x="369" y="107"/>
                    </a:cubicBezTo>
                    <a:cubicBezTo>
                      <a:pt x="369" y="116"/>
                      <a:pt x="377" y="123"/>
                      <a:pt x="385" y="123"/>
                    </a:cubicBezTo>
                    <a:cubicBezTo>
                      <a:pt x="394" y="123"/>
                      <a:pt x="402" y="116"/>
                      <a:pt x="402" y="107"/>
                    </a:cubicBezTo>
                    <a:cubicBezTo>
                      <a:pt x="402" y="98"/>
                      <a:pt x="394" y="91"/>
                      <a:pt x="385" y="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30" name="Freeform 3"/>
              <p:cNvSpPr>
                <a:spLocks noChangeAspect="1" noEditPoints="1"/>
              </p:cNvSpPr>
              <p:nvPr/>
            </p:nvSpPr>
            <p:spPr bwMode="auto">
              <a:xfrm>
                <a:off x="6385696" y="3588851"/>
                <a:ext cx="95345" cy="148743"/>
              </a:xfrm>
              <a:custGeom>
                <a:avLst/>
                <a:gdLst>
                  <a:gd name="T0" fmla="*/ 2147483647 w 241"/>
                  <a:gd name="T1" fmla="*/ 2147483647 h 384"/>
                  <a:gd name="T2" fmla="*/ 2147483647 w 241"/>
                  <a:gd name="T3" fmla="*/ 2147483647 h 384"/>
                  <a:gd name="T4" fmla="*/ 2147483647 w 241"/>
                  <a:gd name="T5" fmla="*/ 2147483647 h 384"/>
                  <a:gd name="T6" fmla="*/ 2147483647 w 241"/>
                  <a:gd name="T7" fmla="*/ 2147483647 h 384"/>
                  <a:gd name="T8" fmla="*/ 2147483647 w 241"/>
                  <a:gd name="T9" fmla="*/ 2147483647 h 384"/>
                  <a:gd name="T10" fmla="*/ 2147483647 w 241"/>
                  <a:gd name="T11" fmla="*/ 2147483647 h 384"/>
                  <a:gd name="T12" fmla="*/ 2147483647 w 241"/>
                  <a:gd name="T13" fmla="*/ 2147483647 h 384"/>
                  <a:gd name="T14" fmla="*/ 2147483647 w 241"/>
                  <a:gd name="T15" fmla="*/ 0 h 384"/>
                  <a:gd name="T16" fmla="*/ 0 w 241"/>
                  <a:gd name="T17" fmla="*/ 2147483647 h 384"/>
                  <a:gd name="T18" fmla="*/ 2147483647 w 241"/>
                  <a:gd name="T19" fmla="*/ 2147483647 h 384"/>
                  <a:gd name="T20" fmla="*/ 2147483647 w 241"/>
                  <a:gd name="T21" fmla="*/ 2147483647 h 384"/>
                  <a:gd name="T22" fmla="*/ 2147483647 w 241"/>
                  <a:gd name="T23" fmla="*/ 2147483647 h 384"/>
                  <a:gd name="T24" fmla="*/ 2147483647 w 241"/>
                  <a:gd name="T25" fmla="*/ 2147483647 h 384"/>
                  <a:gd name="T26" fmla="*/ 2147483647 w 241"/>
                  <a:gd name="T27" fmla="*/ 2147483647 h 384"/>
                  <a:gd name="T28" fmla="*/ 2147483647 w 241"/>
                  <a:gd name="T29" fmla="*/ 2147483647 h 384"/>
                  <a:gd name="T30" fmla="*/ 2147483647 w 241"/>
                  <a:gd name="T31" fmla="*/ 2147483647 h 384"/>
                  <a:gd name="T32" fmla="*/ 2147483647 w 241"/>
                  <a:gd name="T33" fmla="*/ 2147483647 h 384"/>
                  <a:gd name="T34" fmla="*/ 2147483647 w 241"/>
                  <a:gd name="T35" fmla="*/ 2147483647 h 384"/>
                  <a:gd name="T36" fmla="*/ 2147483647 w 241"/>
                  <a:gd name="T37" fmla="*/ 2147483647 h 384"/>
                  <a:gd name="T38" fmla="*/ 2147483647 w 241"/>
                  <a:gd name="T39" fmla="*/ 2147483647 h 384"/>
                  <a:gd name="T40" fmla="*/ 2147483647 w 241"/>
                  <a:gd name="T41" fmla="*/ 2147483647 h 384"/>
                  <a:gd name="T42" fmla="*/ 2147483647 w 241"/>
                  <a:gd name="T43" fmla="*/ 2147483647 h 384"/>
                  <a:gd name="T44" fmla="*/ 2147483647 w 241"/>
                  <a:gd name="T45" fmla="*/ 2147483647 h 384"/>
                  <a:gd name="T46" fmla="*/ 2147483647 w 241"/>
                  <a:gd name="T47" fmla="*/ 2147483647 h 384"/>
                  <a:gd name="T48" fmla="*/ 2147483647 w 241"/>
                  <a:gd name="T49" fmla="*/ 2147483647 h 384"/>
                  <a:gd name="T50" fmla="*/ 2147483647 w 241"/>
                  <a:gd name="T51" fmla="*/ 2147483647 h 384"/>
                  <a:gd name="T52" fmla="*/ 2147483647 w 241"/>
                  <a:gd name="T53" fmla="*/ 2147483647 h 384"/>
                  <a:gd name="T54" fmla="*/ 2147483647 w 241"/>
                  <a:gd name="T55" fmla="*/ 2147483647 h 384"/>
                  <a:gd name="T56" fmla="*/ 2147483647 w 241"/>
                  <a:gd name="T57" fmla="*/ 2147483647 h 384"/>
                  <a:gd name="T58" fmla="*/ 2147483647 w 241"/>
                  <a:gd name="T59" fmla="*/ 2147483647 h 384"/>
                  <a:gd name="T60" fmla="*/ 2147483647 w 241"/>
                  <a:gd name="T61" fmla="*/ 2147483647 h 384"/>
                  <a:gd name="T62" fmla="*/ 2147483647 w 241"/>
                  <a:gd name="T63" fmla="*/ 2147483647 h 384"/>
                  <a:gd name="T64" fmla="*/ 2147483647 w 241"/>
                  <a:gd name="T65" fmla="*/ 2147483647 h 384"/>
                  <a:gd name="T66" fmla="*/ 2147483647 w 241"/>
                  <a:gd name="T67" fmla="*/ 2147483647 h 384"/>
                  <a:gd name="T68" fmla="*/ 2147483647 w 241"/>
                  <a:gd name="T69" fmla="*/ 2147483647 h 384"/>
                  <a:gd name="T70" fmla="*/ 2147483647 w 241"/>
                  <a:gd name="T71" fmla="*/ 2147483647 h 384"/>
                  <a:gd name="T72" fmla="*/ 2147483647 w 241"/>
                  <a:gd name="T73" fmla="*/ 2147483647 h 384"/>
                  <a:gd name="T74" fmla="*/ 2147483647 w 241"/>
                  <a:gd name="T75" fmla="*/ 2147483647 h 384"/>
                  <a:gd name="T76" fmla="*/ 2147483647 w 241"/>
                  <a:gd name="T77" fmla="*/ 2147483647 h 384"/>
                  <a:gd name="T78" fmla="*/ 2147483647 w 241"/>
                  <a:gd name="T79" fmla="*/ 2147483647 h 384"/>
                  <a:gd name="T80" fmla="*/ 2147483647 w 241"/>
                  <a:gd name="T81" fmla="*/ 2147483647 h 384"/>
                  <a:gd name="T82" fmla="*/ 2147483647 w 241"/>
                  <a:gd name="T83" fmla="*/ 2147483647 h 384"/>
                  <a:gd name="T84" fmla="*/ 2147483647 w 241"/>
                  <a:gd name="T85" fmla="*/ 2147483647 h 384"/>
                  <a:gd name="T86" fmla="*/ 2147483647 w 241"/>
                  <a:gd name="T87" fmla="*/ 2147483647 h 384"/>
                  <a:gd name="T88" fmla="*/ 2147483647 w 241"/>
                  <a:gd name="T89" fmla="*/ 2147483647 h 384"/>
                  <a:gd name="T90" fmla="*/ 2147483647 w 241"/>
                  <a:gd name="T91" fmla="*/ 2147483647 h 384"/>
                  <a:gd name="T92" fmla="*/ 2147483647 w 241"/>
                  <a:gd name="T93" fmla="*/ 2147483647 h 384"/>
                  <a:gd name="T94" fmla="*/ 2147483647 w 241"/>
                  <a:gd name="T95" fmla="*/ 2147483647 h 384"/>
                  <a:gd name="T96" fmla="*/ 2147483647 w 241"/>
                  <a:gd name="T97" fmla="*/ 2147483647 h 384"/>
                  <a:gd name="T98" fmla="*/ 2147483647 w 241"/>
                  <a:gd name="T99" fmla="*/ 2147483647 h 384"/>
                  <a:gd name="T100" fmla="*/ 2147483647 w 241"/>
                  <a:gd name="T101" fmla="*/ 2147483647 h 384"/>
                  <a:gd name="T102" fmla="*/ 2147483647 w 241"/>
                  <a:gd name="T103" fmla="*/ 2147483647 h 38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241" h="384">
                    <a:moveTo>
                      <a:pt x="117" y="356"/>
                    </a:moveTo>
                    <a:cubicBezTo>
                      <a:pt x="127" y="356"/>
                      <a:pt x="135" y="348"/>
                      <a:pt x="135" y="339"/>
                    </a:cubicBezTo>
                    <a:cubicBezTo>
                      <a:pt x="135" y="329"/>
                      <a:pt x="127" y="321"/>
                      <a:pt x="117" y="321"/>
                    </a:cubicBezTo>
                    <a:cubicBezTo>
                      <a:pt x="107" y="321"/>
                      <a:pt x="99" y="329"/>
                      <a:pt x="99" y="339"/>
                    </a:cubicBezTo>
                    <a:cubicBezTo>
                      <a:pt x="99" y="348"/>
                      <a:pt x="107" y="356"/>
                      <a:pt x="117" y="356"/>
                    </a:cubicBezTo>
                    <a:close/>
                    <a:moveTo>
                      <a:pt x="135" y="26"/>
                    </a:moveTo>
                    <a:cubicBezTo>
                      <a:pt x="99" y="26"/>
                      <a:pt x="99" y="26"/>
                      <a:pt x="99" y="26"/>
                    </a:cubicBezTo>
                    <a:cubicBezTo>
                      <a:pt x="95" y="26"/>
                      <a:pt x="91" y="30"/>
                      <a:pt x="91" y="34"/>
                    </a:cubicBezTo>
                    <a:cubicBezTo>
                      <a:pt x="91" y="39"/>
                      <a:pt x="95" y="42"/>
                      <a:pt x="99" y="42"/>
                    </a:cubicBezTo>
                    <a:cubicBezTo>
                      <a:pt x="135" y="42"/>
                      <a:pt x="135" y="42"/>
                      <a:pt x="135" y="42"/>
                    </a:cubicBezTo>
                    <a:cubicBezTo>
                      <a:pt x="139" y="42"/>
                      <a:pt x="143" y="39"/>
                      <a:pt x="143" y="34"/>
                    </a:cubicBezTo>
                    <a:cubicBezTo>
                      <a:pt x="143" y="30"/>
                      <a:pt x="139" y="26"/>
                      <a:pt x="135" y="26"/>
                    </a:cubicBezTo>
                    <a:close/>
                    <a:moveTo>
                      <a:pt x="233" y="91"/>
                    </a:moveTo>
                    <a:cubicBezTo>
                      <a:pt x="237" y="91"/>
                      <a:pt x="241" y="87"/>
                      <a:pt x="241" y="83"/>
                    </a:cubicBezTo>
                    <a:cubicBezTo>
                      <a:pt x="241" y="19"/>
                      <a:pt x="241" y="19"/>
                      <a:pt x="241" y="19"/>
                    </a:cubicBezTo>
                    <a:cubicBezTo>
                      <a:pt x="241" y="9"/>
                      <a:pt x="232" y="0"/>
                      <a:pt x="221" y="0"/>
                    </a:cubicBezTo>
                    <a:cubicBezTo>
                      <a:pt x="19" y="0"/>
                      <a:pt x="19" y="0"/>
                      <a:pt x="19" y="0"/>
                    </a:cubicBezTo>
                    <a:cubicBezTo>
                      <a:pt x="8" y="0"/>
                      <a:pt x="0" y="9"/>
                      <a:pt x="0" y="19"/>
                    </a:cubicBezTo>
                    <a:cubicBezTo>
                      <a:pt x="0" y="364"/>
                      <a:pt x="0" y="364"/>
                      <a:pt x="0" y="364"/>
                    </a:cubicBezTo>
                    <a:cubicBezTo>
                      <a:pt x="0" y="375"/>
                      <a:pt x="8" y="384"/>
                      <a:pt x="19" y="384"/>
                    </a:cubicBezTo>
                    <a:cubicBezTo>
                      <a:pt x="221" y="384"/>
                      <a:pt x="221" y="384"/>
                      <a:pt x="221" y="384"/>
                    </a:cubicBezTo>
                    <a:cubicBezTo>
                      <a:pt x="232" y="384"/>
                      <a:pt x="241" y="375"/>
                      <a:pt x="241" y="364"/>
                    </a:cubicBezTo>
                    <a:cubicBezTo>
                      <a:pt x="241" y="114"/>
                      <a:pt x="241" y="114"/>
                      <a:pt x="241" y="114"/>
                    </a:cubicBezTo>
                    <a:cubicBezTo>
                      <a:pt x="241" y="110"/>
                      <a:pt x="237" y="106"/>
                      <a:pt x="233" y="106"/>
                    </a:cubicBezTo>
                    <a:cubicBezTo>
                      <a:pt x="228" y="106"/>
                      <a:pt x="225" y="110"/>
                      <a:pt x="225" y="114"/>
                    </a:cubicBezTo>
                    <a:cubicBezTo>
                      <a:pt x="225" y="296"/>
                      <a:pt x="225" y="296"/>
                      <a:pt x="225" y="296"/>
                    </a:cubicBezTo>
                    <a:cubicBezTo>
                      <a:pt x="16" y="296"/>
                      <a:pt x="16" y="296"/>
                      <a:pt x="16" y="296"/>
                    </a:cubicBezTo>
                    <a:cubicBezTo>
                      <a:pt x="16" y="69"/>
                      <a:pt x="16" y="69"/>
                      <a:pt x="16" y="69"/>
                    </a:cubicBezTo>
                    <a:cubicBezTo>
                      <a:pt x="225" y="69"/>
                      <a:pt x="225" y="69"/>
                      <a:pt x="225" y="69"/>
                    </a:cubicBezTo>
                    <a:cubicBezTo>
                      <a:pt x="225" y="83"/>
                      <a:pt x="225" y="83"/>
                      <a:pt x="225" y="83"/>
                    </a:cubicBezTo>
                    <a:cubicBezTo>
                      <a:pt x="225" y="87"/>
                      <a:pt x="228" y="91"/>
                      <a:pt x="233" y="91"/>
                    </a:cubicBezTo>
                    <a:close/>
                    <a:moveTo>
                      <a:pt x="225" y="312"/>
                    </a:moveTo>
                    <a:cubicBezTo>
                      <a:pt x="225" y="364"/>
                      <a:pt x="225" y="364"/>
                      <a:pt x="225" y="364"/>
                    </a:cubicBezTo>
                    <a:cubicBezTo>
                      <a:pt x="225" y="366"/>
                      <a:pt x="223" y="368"/>
                      <a:pt x="221" y="368"/>
                    </a:cubicBezTo>
                    <a:cubicBezTo>
                      <a:pt x="19" y="368"/>
                      <a:pt x="19" y="368"/>
                      <a:pt x="19" y="368"/>
                    </a:cubicBezTo>
                    <a:cubicBezTo>
                      <a:pt x="17" y="368"/>
                      <a:pt x="16" y="366"/>
                      <a:pt x="16" y="364"/>
                    </a:cubicBezTo>
                    <a:cubicBezTo>
                      <a:pt x="16" y="312"/>
                      <a:pt x="16" y="312"/>
                      <a:pt x="16" y="312"/>
                    </a:cubicBezTo>
                    <a:lnTo>
                      <a:pt x="225" y="312"/>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14" y="137"/>
                    </a:moveTo>
                    <a:cubicBezTo>
                      <a:pt x="114" y="142"/>
                      <a:pt x="114" y="142"/>
                      <a:pt x="114" y="142"/>
                    </a:cubicBezTo>
                    <a:cubicBezTo>
                      <a:pt x="111" y="143"/>
                      <a:pt x="109" y="143"/>
                      <a:pt x="106" y="144"/>
                    </a:cubicBezTo>
                    <a:cubicBezTo>
                      <a:pt x="103" y="146"/>
                      <a:pt x="99" y="148"/>
                      <a:pt x="96" y="151"/>
                    </a:cubicBezTo>
                    <a:cubicBezTo>
                      <a:pt x="93" y="154"/>
                      <a:pt x="91" y="159"/>
                      <a:pt x="91" y="165"/>
                    </a:cubicBezTo>
                    <a:cubicBezTo>
                      <a:pt x="91" y="170"/>
                      <a:pt x="92" y="174"/>
                      <a:pt x="94" y="178"/>
                    </a:cubicBezTo>
                    <a:cubicBezTo>
                      <a:pt x="98" y="183"/>
                      <a:pt x="103" y="186"/>
                      <a:pt x="108" y="188"/>
                    </a:cubicBezTo>
                    <a:cubicBezTo>
                      <a:pt x="113" y="189"/>
                      <a:pt x="117" y="190"/>
                      <a:pt x="120" y="190"/>
                    </a:cubicBezTo>
                    <a:cubicBezTo>
                      <a:pt x="123" y="191"/>
                      <a:pt x="127" y="192"/>
                      <a:pt x="131" y="194"/>
                    </a:cubicBezTo>
                    <a:cubicBezTo>
                      <a:pt x="134" y="195"/>
                      <a:pt x="137" y="197"/>
                      <a:pt x="138" y="200"/>
                    </a:cubicBezTo>
                    <a:cubicBezTo>
                      <a:pt x="138" y="201"/>
                      <a:pt x="138" y="202"/>
                      <a:pt x="138" y="204"/>
                    </a:cubicBezTo>
                    <a:cubicBezTo>
                      <a:pt x="138" y="206"/>
                      <a:pt x="138" y="207"/>
                      <a:pt x="137" y="209"/>
                    </a:cubicBezTo>
                    <a:cubicBezTo>
                      <a:pt x="135" y="210"/>
                      <a:pt x="132" y="212"/>
                      <a:pt x="128" y="213"/>
                    </a:cubicBezTo>
                    <a:cubicBezTo>
                      <a:pt x="125" y="214"/>
                      <a:pt x="121" y="214"/>
                      <a:pt x="121" y="214"/>
                    </a:cubicBezTo>
                    <a:cubicBezTo>
                      <a:pt x="121" y="214"/>
                      <a:pt x="121" y="214"/>
                      <a:pt x="121" y="214"/>
                    </a:cubicBezTo>
                    <a:cubicBezTo>
                      <a:pt x="116" y="214"/>
                      <a:pt x="111" y="212"/>
                      <a:pt x="107" y="210"/>
                    </a:cubicBezTo>
                    <a:cubicBezTo>
                      <a:pt x="105" y="209"/>
                      <a:pt x="103" y="208"/>
                      <a:pt x="102" y="207"/>
                    </a:cubicBezTo>
                    <a:cubicBezTo>
                      <a:pt x="102" y="207"/>
                      <a:pt x="101" y="206"/>
                      <a:pt x="101" y="206"/>
                    </a:cubicBezTo>
                    <a:cubicBezTo>
                      <a:pt x="101" y="206"/>
                      <a:pt x="101" y="206"/>
                      <a:pt x="101" y="206"/>
                    </a:cubicBezTo>
                    <a:cubicBezTo>
                      <a:pt x="98" y="203"/>
                      <a:pt x="93" y="204"/>
                      <a:pt x="91" y="207"/>
                    </a:cubicBezTo>
                    <a:cubicBezTo>
                      <a:pt x="89" y="210"/>
                      <a:pt x="89" y="214"/>
                      <a:pt x="92" y="217"/>
                    </a:cubicBezTo>
                    <a:cubicBezTo>
                      <a:pt x="92" y="217"/>
                      <a:pt x="101" y="224"/>
                      <a:pt x="114" y="227"/>
                    </a:cubicBezTo>
                    <a:cubicBezTo>
                      <a:pt x="114" y="233"/>
                      <a:pt x="114" y="233"/>
                      <a:pt x="114" y="233"/>
                    </a:cubicBezTo>
                    <a:cubicBezTo>
                      <a:pt x="114" y="236"/>
                      <a:pt x="117" y="240"/>
                      <a:pt x="121" y="240"/>
                    </a:cubicBezTo>
                    <a:cubicBezTo>
                      <a:pt x="125" y="240"/>
                      <a:pt x="128" y="236"/>
                      <a:pt x="128" y="233"/>
                    </a:cubicBezTo>
                    <a:cubicBezTo>
                      <a:pt x="128" y="227"/>
                      <a:pt x="128" y="227"/>
                      <a:pt x="128" y="227"/>
                    </a:cubicBezTo>
                    <a:cubicBezTo>
                      <a:pt x="130" y="227"/>
                      <a:pt x="133" y="226"/>
                      <a:pt x="136" y="225"/>
                    </a:cubicBezTo>
                    <a:cubicBezTo>
                      <a:pt x="140" y="223"/>
                      <a:pt x="144" y="221"/>
                      <a:pt x="147" y="218"/>
                    </a:cubicBezTo>
                    <a:cubicBezTo>
                      <a:pt x="150" y="214"/>
                      <a:pt x="152" y="209"/>
                      <a:pt x="152" y="203"/>
                    </a:cubicBezTo>
                    <a:cubicBezTo>
                      <a:pt x="152" y="200"/>
                      <a:pt x="152" y="197"/>
                      <a:pt x="150" y="194"/>
                    </a:cubicBezTo>
                    <a:cubicBezTo>
                      <a:pt x="148" y="187"/>
                      <a:pt x="142" y="183"/>
                      <a:pt x="136" y="181"/>
                    </a:cubicBezTo>
                    <a:cubicBezTo>
                      <a:pt x="131" y="179"/>
                      <a:pt x="126" y="178"/>
                      <a:pt x="123" y="177"/>
                    </a:cubicBezTo>
                    <a:cubicBezTo>
                      <a:pt x="118" y="176"/>
                      <a:pt x="113" y="175"/>
                      <a:pt x="110" y="173"/>
                    </a:cubicBezTo>
                    <a:cubicBezTo>
                      <a:pt x="108" y="172"/>
                      <a:pt x="107" y="172"/>
                      <a:pt x="106" y="170"/>
                    </a:cubicBezTo>
                    <a:cubicBezTo>
                      <a:pt x="105" y="169"/>
                      <a:pt x="105" y="168"/>
                      <a:pt x="105" y="165"/>
                    </a:cubicBezTo>
                    <a:cubicBezTo>
                      <a:pt x="105" y="163"/>
                      <a:pt x="105" y="162"/>
                      <a:pt x="106" y="160"/>
                    </a:cubicBezTo>
                    <a:cubicBezTo>
                      <a:pt x="108" y="159"/>
                      <a:pt x="111" y="157"/>
                      <a:pt x="114" y="156"/>
                    </a:cubicBezTo>
                    <a:cubicBezTo>
                      <a:pt x="116" y="156"/>
                      <a:pt x="118" y="156"/>
                      <a:pt x="119" y="156"/>
                    </a:cubicBezTo>
                    <a:cubicBezTo>
                      <a:pt x="119" y="156"/>
                      <a:pt x="120" y="156"/>
                      <a:pt x="120" y="156"/>
                    </a:cubicBezTo>
                    <a:cubicBezTo>
                      <a:pt x="120" y="156"/>
                      <a:pt x="120" y="156"/>
                      <a:pt x="120" y="156"/>
                    </a:cubicBezTo>
                    <a:cubicBezTo>
                      <a:pt x="126" y="156"/>
                      <a:pt x="130" y="157"/>
                      <a:pt x="132" y="158"/>
                    </a:cubicBezTo>
                    <a:cubicBezTo>
                      <a:pt x="133" y="158"/>
                      <a:pt x="134" y="159"/>
                      <a:pt x="134" y="159"/>
                    </a:cubicBezTo>
                    <a:cubicBezTo>
                      <a:pt x="135" y="159"/>
                      <a:pt x="135" y="159"/>
                      <a:pt x="135" y="159"/>
                    </a:cubicBezTo>
                    <a:cubicBezTo>
                      <a:pt x="135" y="159"/>
                      <a:pt x="135" y="159"/>
                      <a:pt x="135" y="159"/>
                    </a:cubicBezTo>
                    <a:cubicBezTo>
                      <a:pt x="138" y="162"/>
                      <a:pt x="142" y="162"/>
                      <a:pt x="145" y="159"/>
                    </a:cubicBezTo>
                    <a:cubicBezTo>
                      <a:pt x="147" y="156"/>
                      <a:pt x="147" y="152"/>
                      <a:pt x="144" y="149"/>
                    </a:cubicBezTo>
                    <a:cubicBezTo>
                      <a:pt x="143" y="148"/>
                      <a:pt x="138" y="144"/>
                      <a:pt x="127" y="142"/>
                    </a:cubicBezTo>
                    <a:cubicBezTo>
                      <a:pt x="127" y="137"/>
                      <a:pt x="127" y="137"/>
                      <a:pt x="127" y="137"/>
                    </a:cubicBezTo>
                    <a:cubicBezTo>
                      <a:pt x="127" y="133"/>
                      <a:pt x="124" y="130"/>
                      <a:pt x="121" y="130"/>
                    </a:cubicBezTo>
                    <a:cubicBezTo>
                      <a:pt x="117" y="130"/>
                      <a:pt x="114" y="133"/>
                      <a:pt x="114" y="137"/>
                    </a:cubicBezTo>
                    <a:close/>
                    <a:moveTo>
                      <a:pt x="34" y="185"/>
                    </a:moveTo>
                    <a:cubicBezTo>
                      <a:pt x="34" y="233"/>
                      <a:pt x="73" y="272"/>
                      <a:pt x="121" y="272"/>
                    </a:cubicBezTo>
                    <a:cubicBezTo>
                      <a:pt x="169" y="272"/>
                      <a:pt x="208" y="233"/>
                      <a:pt x="208" y="185"/>
                    </a:cubicBezTo>
                    <a:cubicBezTo>
                      <a:pt x="208" y="137"/>
                      <a:pt x="169" y="98"/>
                      <a:pt x="121" y="98"/>
                    </a:cubicBezTo>
                    <a:cubicBezTo>
                      <a:pt x="73" y="98"/>
                      <a:pt x="34" y="137"/>
                      <a:pt x="34" y="185"/>
                    </a:cubicBezTo>
                    <a:close/>
                    <a:moveTo>
                      <a:pt x="192" y="185"/>
                    </a:moveTo>
                    <a:cubicBezTo>
                      <a:pt x="192" y="224"/>
                      <a:pt x="160" y="256"/>
                      <a:pt x="121" y="256"/>
                    </a:cubicBezTo>
                    <a:cubicBezTo>
                      <a:pt x="82" y="256"/>
                      <a:pt x="50" y="224"/>
                      <a:pt x="50" y="185"/>
                    </a:cubicBezTo>
                    <a:cubicBezTo>
                      <a:pt x="50" y="146"/>
                      <a:pt x="82" y="114"/>
                      <a:pt x="121" y="114"/>
                    </a:cubicBezTo>
                    <a:cubicBezTo>
                      <a:pt x="160" y="114"/>
                      <a:pt x="192" y="146"/>
                      <a:pt x="192" y="1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31" name="Freeform 3"/>
              <p:cNvSpPr>
                <a:spLocks noChangeAspect="1" noEditPoints="1"/>
              </p:cNvSpPr>
              <p:nvPr/>
            </p:nvSpPr>
            <p:spPr bwMode="auto">
              <a:xfrm>
                <a:off x="6385696" y="4116058"/>
                <a:ext cx="95345" cy="148743"/>
              </a:xfrm>
              <a:custGeom>
                <a:avLst/>
                <a:gdLst>
                  <a:gd name="T0" fmla="*/ 2147483647 w 241"/>
                  <a:gd name="T1" fmla="*/ 2147483647 h 384"/>
                  <a:gd name="T2" fmla="*/ 2147483647 w 241"/>
                  <a:gd name="T3" fmla="*/ 2147483647 h 384"/>
                  <a:gd name="T4" fmla="*/ 2147483647 w 241"/>
                  <a:gd name="T5" fmla="*/ 2147483647 h 384"/>
                  <a:gd name="T6" fmla="*/ 2147483647 w 241"/>
                  <a:gd name="T7" fmla="*/ 2147483647 h 384"/>
                  <a:gd name="T8" fmla="*/ 2147483647 w 241"/>
                  <a:gd name="T9" fmla="*/ 2147483647 h 384"/>
                  <a:gd name="T10" fmla="*/ 2147483647 w 241"/>
                  <a:gd name="T11" fmla="*/ 2147483647 h 384"/>
                  <a:gd name="T12" fmla="*/ 2147483647 w 241"/>
                  <a:gd name="T13" fmla="*/ 2147483647 h 384"/>
                  <a:gd name="T14" fmla="*/ 2147483647 w 241"/>
                  <a:gd name="T15" fmla="*/ 0 h 384"/>
                  <a:gd name="T16" fmla="*/ 0 w 241"/>
                  <a:gd name="T17" fmla="*/ 2147483647 h 384"/>
                  <a:gd name="T18" fmla="*/ 2147483647 w 241"/>
                  <a:gd name="T19" fmla="*/ 2147483647 h 384"/>
                  <a:gd name="T20" fmla="*/ 2147483647 w 241"/>
                  <a:gd name="T21" fmla="*/ 2147483647 h 384"/>
                  <a:gd name="T22" fmla="*/ 2147483647 w 241"/>
                  <a:gd name="T23" fmla="*/ 2147483647 h 384"/>
                  <a:gd name="T24" fmla="*/ 2147483647 w 241"/>
                  <a:gd name="T25" fmla="*/ 2147483647 h 384"/>
                  <a:gd name="T26" fmla="*/ 2147483647 w 241"/>
                  <a:gd name="T27" fmla="*/ 2147483647 h 384"/>
                  <a:gd name="T28" fmla="*/ 2147483647 w 241"/>
                  <a:gd name="T29" fmla="*/ 2147483647 h 384"/>
                  <a:gd name="T30" fmla="*/ 2147483647 w 241"/>
                  <a:gd name="T31" fmla="*/ 2147483647 h 384"/>
                  <a:gd name="T32" fmla="*/ 2147483647 w 241"/>
                  <a:gd name="T33" fmla="*/ 2147483647 h 384"/>
                  <a:gd name="T34" fmla="*/ 2147483647 w 241"/>
                  <a:gd name="T35" fmla="*/ 2147483647 h 384"/>
                  <a:gd name="T36" fmla="*/ 2147483647 w 241"/>
                  <a:gd name="T37" fmla="*/ 2147483647 h 384"/>
                  <a:gd name="T38" fmla="*/ 2147483647 w 241"/>
                  <a:gd name="T39" fmla="*/ 2147483647 h 384"/>
                  <a:gd name="T40" fmla="*/ 2147483647 w 241"/>
                  <a:gd name="T41" fmla="*/ 2147483647 h 384"/>
                  <a:gd name="T42" fmla="*/ 2147483647 w 241"/>
                  <a:gd name="T43" fmla="*/ 2147483647 h 384"/>
                  <a:gd name="T44" fmla="*/ 2147483647 w 241"/>
                  <a:gd name="T45" fmla="*/ 2147483647 h 384"/>
                  <a:gd name="T46" fmla="*/ 2147483647 w 241"/>
                  <a:gd name="T47" fmla="*/ 2147483647 h 384"/>
                  <a:gd name="T48" fmla="*/ 2147483647 w 241"/>
                  <a:gd name="T49" fmla="*/ 2147483647 h 384"/>
                  <a:gd name="T50" fmla="*/ 2147483647 w 241"/>
                  <a:gd name="T51" fmla="*/ 2147483647 h 384"/>
                  <a:gd name="T52" fmla="*/ 2147483647 w 241"/>
                  <a:gd name="T53" fmla="*/ 2147483647 h 384"/>
                  <a:gd name="T54" fmla="*/ 2147483647 w 241"/>
                  <a:gd name="T55" fmla="*/ 2147483647 h 384"/>
                  <a:gd name="T56" fmla="*/ 2147483647 w 241"/>
                  <a:gd name="T57" fmla="*/ 2147483647 h 384"/>
                  <a:gd name="T58" fmla="*/ 2147483647 w 241"/>
                  <a:gd name="T59" fmla="*/ 2147483647 h 384"/>
                  <a:gd name="T60" fmla="*/ 2147483647 w 241"/>
                  <a:gd name="T61" fmla="*/ 2147483647 h 384"/>
                  <a:gd name="T62" fmla="*/ 2147483647 w 241"/>
                  <a:gd name="T63" fmla="*/ 2147483647 h 384"/>
                  <a:gd name="T64" fmla="*/ 2147483647 w 241"/>
                  <a:gd name="T65" fmla="*/ 2147483647 h 384"/>
                  <a:gd name="T66" fmla="*/ 2147483647 w 241"/>
                  <a:gd name="T67" fmla="*/ 2147483647 h 384"/>
                  <a:gd name="T68" fmla="*/ 2147483647 w 241"/>
                  <a:gd name="T69" fmla="*/ 2147483647 h 384"/>
                  <a:gd name="T70" fmla="*/ 2147483647 w 241"/>
                  <a:gd name="T71" fmla="*/ 2147483647 h 384"/>
                  <a:gd name="T72" fmla="*/ 2147483647 w 241"/>
                  <a:gd name="T73" fmla="*/ 2147483647 h 384"/>
                  <a:gd name="T74" fmla="*/ 2147483647 w 241"/>
                  <a:gd name="T75" fmla="*/ 2147483647 h 384"/>
                  <a:gd name="T76" fmla="*/ 2147483647 w 241"/>
                  <a:gd name="T77" fmla="*/ 2147483647 h 384"/>
                  <a:gd name="T78" fmla="*/ 2147483647 w 241"/>
                  <a:gd name="T79" fmla="*/ 2147483647 h 384"/>
                  <a:gd name="T80" fmla="*/ 2147483647 w 241"/>
                  <a:gd name="T81" fmla="*/ 2147483647 h 384"/>
                  <a:gd name="T82" fmla="*/ 2147483647 w 241"/>
                  <a:gd name="T83" fmla="*/ 2147483647 h 384"/>
                  <a:gd name="T84" fmla="*/ 2147483647 w 241"/>
                  <a:gd name="T85" fmla="*/ 2147483647 h 384"/>
                  <a:gd name="T86" fmla="*/ 2147483647 w 241"/>
                  <a:gd name="T87" fmla="*/ 2147483647 h 384"/>
                  <a:gd name="T88" fmla="*/ 2147483647 w 241"/>
                  <a:gd name="T89" fmla="*/ 2147483647 h 384"/>
                  <a:gd name="T90" fmla="*/ 2147483647 w 241"/>
                  <a:gd name="T91" fmla="*/ 2147483647 h 384"/>
                  <a:gd name="T92" fmla="*/ 2147483647 w 241"/>
                  <a:gd name="T93" fmla="*/ 2147483647 h 384"/>
                  <a:gd name="T94" fmla="*/ 2147483647 w 241"/>
                  <a:gd name="T95" fmla="*/ 2147483647 h 384"/>
                  <a:gd name="T96" fmla="*/ 2147483647 w 241"/>
                  <a:gd name="T97" fmla="*/ 2147483647 h 384"/>
                  <a:gd name="T98" fmla="*/ 2147483647 w 241"/>
                  <a:gd name="T99" fmla="*/ 2147483647 h 384"/>
                  <a:gd name="T100" fmla="*/ 2147483647 w 241"/>
                  <a:gd name="T101" fmla="*/ 2147483647 h 384"/>
                  <a:gd name="T102" fmla="*/ 2147483647 w 241"/>
                  <a:gd name="T103" fmla="*/ 2147483647 h 38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241" h="384">
                    <a:moveTo>
                      <a:pt x="117" y="356"/>
                    </a:moveTo>
                    <a:cubicBezTo>
                      <a:pt x="127" y="356"/>
                      <a:pt x="135" y="348"/>
                      <a:pt x="135" y="339"/>
                    </a:cubicBezTo>
                    <a:cubicBezTo>
                      <a:pt x="135" y="329"/>
                      <a:pt x="127" y="321"/>
                      <a:pt x="117" y="321"/>
                    </a:cubicBezTo>
                    <a:cubicBezTo>
                      <a:pt x="107" y="321"/>
                      <a:pt x="99" y="329"/>
                      <a:pt x="99" y="339"/>
                    </a:cubicBezTo>
                    <a:cubicBezTo>
                      <a:pt x="99" y="348"/>
                      <a:pt x="107" y="356"/>
                      <a:pt x="117" y="356"/>
                    </a:cubicBezTo>
                    <a:close/>
                    <a:moveTo>
                      <a:pt x="135" y="26"/>
                    </a:moveTo>
                    <a:cubicBezTo>
                      <a:pt x="99" y="26"/>
                      <a:pt x="99" y="26"/>
                      <a:pt x="99" y="26"/>
                    </a:cubicBezTo>
                    <a:cubicBezTo>
                      <a:pt x="95" y="26"/>
                      <a:pt x="91" y="30"/>
                      <a:pt x="91" y="34"/>
                    </a:cubicBezTo>
                    <a:cubicBezTo>
                      <a:pt x="91" y="39"/>
                      <a:pt x="95" y="42"/>
                      <a:pt x="99" y="42"/>
                    </a:cubicBezTo>
                    <a:cubicBezTo>
                      <a:pt x="135" y="42"/>
                      <a:pt x="135" y="42"/>
                      <a:pt x="135" y="42"/>
                    </a:cubicBezTo>
                    <a:cubicBezTo>
                      <a:pt x="139" y="42"/>
                      <a:pt x="143" y="39"/>
                      <a:pt x="143" y="34"/>
                    </a:cubicBezTo>
                    <a:cubicBezTo>
                      <a:pt x="143" y="30"/>
                      <a:pt x="139" y="26"/>
                      <a:pt x="135" y="26"/>
                    </a:cubicBezTo>
                    <a:close/>
                    <a:moveTo>
                      <a:pt x="233" y="91"/>
                    </a:moveTo>
                    <a:cubicBezTo>
                      <a:pt x="237" y="91"/>
                      <a:pt x="241" y="87"/>
                      <a:pt x="241" y="83"/>
                    </a:cubicBezTo>
                    <a:cubicBezTo>
                      <a:pt x="241" y="19"/>
                      <a:pt x="241" y="19"/>
                      <a:pt x="241" y="19"/>
                    </a:cubicBezTo>
                    <a:cubicBezTo>
                      <a:pt x="241" y="9"/>
                      <a:pt x="232" y="0"/>
                      <a:pt x="221" y="0"/>
                    </a:cubicBezTo>
                    <a:cubicBezTo>
                      <a:pt x="19" y="0"/>
                      <a:pt x="19" y="0"/>
                      <a:pt x="19" y="0"/>
                    </a:cubicBezTo>
                    <a:cubicBezTo>
                      <a:pt x="8" y="0"/>
                      <a:pt x="0" y="9"/>
                      <a:pt x="0" y="19"/>
                    </a:cubicBezTo>
                    <a:cubicBezTo>
                      <a:pt x="0" y="364"/>
                      <a:pt x="0" y="364"/>
                      <a:pt x="0" y="364"/>
                    </a:cubicBezTo>
                    <a:cubicBezTo>
                      <a:pt x="0" y="375"/>
                      <a:pt x="8" y="384"/>
                      <a:pt x="19" y="384"/>
                    </a:cubicBezTo>
                    <a:cubicBezTo>
                      <a:pt x="221" y="384"/>
                      <a:pt x="221" y="384"/>
                      <a:pt x="221" y="384"/>
                    </a:cubicBezTo>
                    <a:cubicBezTo>
                      <a:pt x="232" y="384"/>
                      <a:pt x="241" y="375"/>
                      <a:pt x="241" y="364"/>
                    </a:cubicBezTo>
                    <a:cubicBezTo>
                      <a:pt x="241" y="114"/>
                      <a:pt x="241" y="114"/>
                      <a:pt x="241" y="114"/>
                    </a:cubicBezTo>
                    <a:cubicBezTo>
                      <a:pt x="241" y="110"/>
                      <a:pt x="237" y="106"/>
                      <a:pt x="233" y="106"/>
                    </a:cubicBezTo>
                    <a:cubicBezTo>
                      <a:pt x="228" y="106"/>
                      <a:pt x="225" y="110"/>
                      <a:pt x="225" y="114"/>
                    </a:cubicBezTo>
                    <a:cubicBezTo>
                      <a:pt x="225" y="296"/>
                      <a:pt x="225" y="296"/>
                      <a:pt x="225" y="296"/>
                    </a:cubicBezTo>
                    <a:cubicBezTo>
                      <a:pt x="16" y="296"/>
                      <a:pt x="16" y="296"/>
                      <a:pt x="16" y="296"/>
                    </a:cubicBezTo>
                    <a:cubicBezTo>
                      <a:pt x="16" y="69"/>
                      <a:pt x="16" y="69"/>
                      <a:pt x="16" y="69"/>
                    </a:cubicBezTo>
                    <a:cubicBezTo>
                      <a:pt x="225" y="69"/>
                      <a:pt x="225" y="69"/>
                      <a:pt x="225" y="69"/>
                    </a:cubicBezTo>
                    <a:cubicBezTo>
                      <a:pt x="225" y="83"/>
                      <a:pt x="225" y="83"/>
                      <a:pt x="225" y="83"/>
                    </a:cubicBezTo>
                    <a:cubicBezTo>
                      <a:pt x="225" y="87"/>
                      <a:pt x="228" y="91"/>
                      <a:pt x="233" y="91"/>
                    </a:cubicBezTo>
                    <a:close/>
                    <a:moveTo>
                      <a:pt x="225" y="312"/>
                    </a:moveTo>
                    <a:cubicBezTo>
                      <a:pt x="225" y="364"/>
                      <a:pt x="225" y="364"/>
                      <a:pt x="225" y="364"/>
                    </a:cubicBezTo>
                    <a:cubicBezTo>
                      <a:pt x="225" y="366"/>
                      <a:pt x="223" y="368"/>
                      <a:pt x="221" y="368"/>
                    </a:cubicBezTo>
                    <a:cubicBezTo>
                      <a:pt x="19" y="368"/>
                      <a:pt x="19" y="368"/>
                      <a:pt x="19" y="368"/>
                    </a:cubicBezTo>
                    <a:cubicBezTo>
                      <a:pt x="17" y="368"/>
                      <a:pt x="16" y="366"/>
                      <a:pt x="16" y="364"/>
                    </a:cubicBezTo>
                    <a:cubicBezTo>
                      <a:pt x="16" y="312"/>
                      <a:pt x="16" y="312"/>
                      <a:pt x="16" y="312"/>
                    </a:cubicBezTo>
                    <a:lnTo>
                      <a:pt x="225" y="312"/>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14" y="137"/>
                    </a:moveTo>
                    <a:cubicBezTo>
                      <a:pt x="114" y="142"/>
                      <a:pt x="114" y="142"/>
                      <a:pt x="114" y="142"/>
                    </a:cubicBezTo>
                    <a:cubicBezTo>
                      <a:pt x="111" y="143"/>
                      <a:pt x="109" y="143"/>
                      <a:pt x="106" y="144"/>
                    </a:cubicBezTo>
                    <a:cubicBezTo>
                      <a:pt x="103" y="146"/>
                      <a:pt x="99" y="148"/>
                      <a:pt x="96" y="151"/>
                    </a:cubicBezTo>
                    <a:cubicBezTo>
                      <a:pt x="93" y="154"/>
                      <a:pt x="91" y="159"/>
                      <a:pt x="91" y="165"/>
                    </a:cubicBezTo>
                    <a:cubicBezTo>
                      <a:pt x="91" y="170"/>
                      <a:pt x="92" y="174"/>
                      <a:pt x="94" y="178"/>
                    </a:cubicBezTo>
                    <a:cubicBezTo>
                      <a:pt x="98" y="183"/>
                      <a:pt x="103" y="186"/>
                      <a:pt x="108" y="188"/>
                    </a:cubicBezTo>
                    <a:cubicBezTo>
                      <a:pt x="113" y="189"/>
                      <a:pt x="117" y="190"/>
                      <a:pt x="120" y="190"/>
                    </a:cubicBezTo>
                    <a:cubicBezTo>
                      <a:pt x="123" y="191"/>
                      <a:pt x="127" y="192"/>
                      <a:pt x="131" y="194"/>
                    </a:cubicBezTo>
                    <a:cubicBezTo>
                      <a:pt x="134" y="195"/>
                      <a:pt x="137" y="197"/>
                      <a:pt x="138" y="200"/>
                    </a:cubicBezTo>
                    <a:cubicBezTo>
                      <a:pt x="138" y="201"/>
                      <a:pt x="138" y="202"/>
                      <a:pt x="138" y="204"/>
                    </a:cubicBezTo>
                    <a:cubicBezTo>
                      <a:pt x="138" y="206"/>
                      <a:pt x="138" y="207"/>
                      <a:pt x="137" y="209"/>
                    </a:cubicBezTo>
                    <a:cubicBezTo>
                      <a:pt x="135" y="210"/>
                      <a:pt x="132" y="212"/>
                      <a:pt x="128" y="213"/>
                    </a:cubicBezTo>
                    <a:cubicBezTo>
                      <a:pt x="125" y="214"/>
                      <a:pt x="121" y="214"/>
                      <a:pt x="121" y="214"/>
                    </a:cubicBezTo>
                    <a:cubicBezTo>
                      <a:pt x="121" y="214"/>
                      <a:pt x="121" y="214"/>
                      <a:pt x="121" y="214"/>
                    </a:cubicBezTo>
                    <a:cubicBezTo>
                      <a:pt x="116" y="214"/>
                      <a:pt x="111" y="212"/>
                      <a:pt x="107" y="210"/>
                    </a:cubicBezTo>
                    <a:cubicBezTo>
                      <a:pt x="105" y="209"/>
                      <a:pt x="103" y="208"/>
                      <a:pt x="102" y="207"/>
                    </a:cubicBezTo>
                    <a:cubicBezTo>
                      <a:pt x="102" y="207"/>
                      <a:pt x="101" y="206"/>
                      <a:pt x="101" y="206"/>
                    </a:cubicBezTo>
                    <a:cubicBezTo>
                      <a:pt x="101" y="206"/>
                      <a:pt x="101" y="206"/>
                      <a:pt x="101" y="206"/>
                    </a:cubicBezTo>
                    <a:cubicBezTo>
                      <a:pt x="98" y="203"/>
                      <a:pt x="93" y="204"/>
                      <a:pt x="91" y="207"/>
                    </a:cubicBezTo>
                    <a:cubicBezTo>
                      <a:pt x="89" y="210"/>
                      <a:pt x="89" y="214"/>
                      <a:pt x="92" y="217"/>
                    </a:cubicBezTo>
                    <a:cubicBezTo>
                      <a:pt x="92" y="217"/>
                      <a:pt x="101" y="224"/>
                      <a:pt x="114" y="227"/>
                    </a:cubicBezTo>
                    <a:cubicBezTo>
                      <a:pt x="114" y="233"/>
                      <a:pt x="114" y="233"/>
                      <a:pt x="114" y="233"/>
                    </a:cubicBezTo>
                    <a:cubicBezTo>
                      <a:pt x="114" y="236"/>
                      <a:pt x="117" y="240"/>
                      <a:pt x="121" y="240"/>
                    </a:cubicBezTo>
                    <a:cubicBezTo>
                      <a:pt x="125" y="240"/>
                      <a:pt x="128" y="236"/>
                      <a:pt x="128" y="233"/>
                    </a:cubicBezTo>
                    <a:cubicBezTo>
                      <a:pt x="128" y="227"/>
                      <a:pt x="128" y="227"/>
                      <a:pt x="128" y="227"/>
                    </a:cubicBezTo>
                    <a:cubicBezTo>
                      <a:pt x="130" y="227"/>
                      <a:pt x="133" y="226"/>
                      <a:pt x="136" y="225"/>
                    </a:cubicBezTo>
                    <a:cubicBezTo>
                      <a:pt x="140" y="223"/>
                      <a:pt x="144" y="221"/>
                      <a:pt x="147" y="218"/>
                    </a:cubicBezTo>
                    <a:cubicBezTo>
                      <a:pt x="150" y="214"/>
                      <a:pt x="152" y="209"/>
                      <a:pt x="152" y="203"/>
                    </a:cubicBezTo>
                    <a:cubicBezTo>
                      <a:pt x="152" y="200"/>
                      <a:pt x="152" y="197"/>
                      <a:pt x="150" y="194"/>
                    </a:cubicBezTo>
                    <a:cubicBezTo>
                      <a:pt x="148" y="187"/>
                      <a:pt x="142" y="183"/>
                      <a:pt x="136" y="181"/>
                    </a:cubicBezTo>
                    <a:cubicBezTo>
                      <a:pt x="131" y="179"/>
                      <a:pt x="126" y="178"/>
                      <a:pt x="123" y="177"/>
                    </a:cubicBezTo>
                    <a:cubicBezTo>
                      <a:pt x="118" y="176"/>
                      <a:pt x="113" y="175"/>
                      <a:pt x="110" y="173"/>
                    </a:cubicBezTo>
                    <a:cubicBezTo>
                      <a:pt x="108" y="172"/>
                      <a:pt x="107" y="172"/>
                      <a:pt x="106" y="170"/>
                    </a:cubicBezTo>
                    <a:cubicBezTo>
                      <a:pt x="105" y="169"/>
                      <a:pt x="105" y="168"/>
                      <a:pt x="105" y="165"/>
                    </a:cubicBezTo>
                    <a:cubicBezTo>
                      <a:pt x="105" y="163"/>
                      <a:pt x="105" y="162"/>
                      <a:pt x="106" y="160"/>
                    </a:cubicBezTo>
                    <a:cubicBezTo>
                      <a:pt x="108" y="159"/>
                      <a:pt x="111" y="157"/>
                      <a:pt x="114" y="156"/>
                    </a:cubicBezTo>
                    <a:cubicBezTo>
                      <a:pt x="116" y="156"/>
                      <a:pt x="118" y="156"/>
                      <a:pt x="119" y="156"/>
                    </a:cubicBezTo>
                    <a:cubicBezTo>
                      <a:pt x="119" y="156"/>
                      <a:pt x="120" y="156"/>
                      <a:pt x="120" y="156"/>
                    </a:cubicBezTo>
                    <a:cubicBezTo>
                      <a:pt x="120" y="156"/>
                      <a:pt x="120" y="156"/>
                      <a:pt x="120" y="156"/>
                    </a:cubicBezTo>
                    <a:cubicBezTo>
                      <a:pt x="126" y="156"/>
                      <a:pt x="130" y="157"/>
                      <a:pt x="132" y="158"/>
                    </a:cubicBezTo>
                    <a:cubicBezTo>
                      <a:pt x="133" y="158"/>
                      <a:pt x="134" y="159"/>
                      <a:pt x="134" y="159"/>
                    </a:cubicBezTo>
                    <a:cubicBezTo>
                      <a:pt x="135" y="159"/>
                      <a:pt x="135" y="159"/>
                      <a:pt x="135" y="159"/>
                    </a:cubicBezTo>
                    <a:cubicBezTo>
                      <a:pt x="135" y="159"/>
                      <a:pt x="135" y="159"/>
                      <a:pt x="135" y="159"/>
                    </a:cubicBezTo>
                    <a:cubicBezTo>
                      <a:pt x="138" y="162"/>
                      <a:pt x="142" y="162"/>
                      <a:pt x="145" y="159"/>
                    </a:cubicBezTo>
                    <a:cubicBezTo>
                      <a:pt x="147" y="156"/>
                      <a:pt x="147" y="152"/>
                      <a:pt x="144" y="149"/>
                    </a:cubicBezTo>
                    <a:cubicBezTo>
                      <a:pt x="143" y="148"/>
                      <a:pt x="138" y="144"/>
                      <a:pt x="127" y="142"/>
                    </a:cubicBezTo>
                    <a:cubicBezTo>
                      <a:pt x="127" y="137"/>
                      <a:pt x="127" y="137"/>
                      <a:pt x="127" y="137"/>
                    </a:cubicBezTo>
                    <a:cubicBezTo>
                      <a:pt x="127" y="133"/>
                      <a:pt x="124" y="130"/>
                      <a:pt x="121" y="130"/>
                    </a:cubicBezTo>
                    <a:cubicBezTo>
                      <a:pt x="117" y="130"/>
                      <a:pt x="114" y="133"/>
                      <a:pt x="114" y="137"/>
                    </a:cubicBezTo>
                    <a:close/>
                    <a:moveTo>
                      <a:pt x="34" y="185"/>
                    </a:moveTo>
                    <a:cubicBezTo>
                      <a:pt x="34" y="233"/>
                      <a:pt x="73" y="272"/>
                      <a:pt x="121" y="272"/>
                    </a:cubicBezTo>
                    <a:cubicBezTo>
                      <a:pt x="169" y="272"/>
                      <a:pt x="208" y="233"/>
                      <a:pt x="208" y="185"/>
                    </a:cubicBezTo>
                    <a:cubicBezTo>
                      <a:pt x="208" y="137"/>
                      <a:pt x="169" y="98"/>
                      <a:pt x="121" y="98"/>
                    </a:cubicBezTo>
                    <a:cubicBezTo>
                      <a:pt x="73" y="98"/>
                      <a:pt x="34" y="137"/>
                      <a:pt x="34" y="185"/>
                    </a:cubicBezTo>
                    <a:close/>
                    <a:moveTo>
                      <a:pt x="192" y="185"/>
                    </a:moveTo>
                    <a:cubicBezTo>
                      <a:pt x="192" y="224"/>
                      <a:pt x="160" y="256"/>
                      <a:pt x="121" y="256"/>
                    </a:cubicBezTo>
                    <a:cubicBezTo>
                      <a:pt x="82" y="256"/>
                      <a:pt x="50" y="224"/>
                      <a:pt x="50" y="185"/>
                    </a:cubicBezTo>
                    <a:cubicBezTo>
                      <a:pt x="50" y="146"/>
                      <a:pt x="82" y="114"/>
                      <a:pt x="121" y="114"/>
                    </a:cubicBezTo>
                    <a:cubicBezTo>
                      <a:pt x="160" y="114"/>
                      <a:pt x="192" y="146"/>
                      <a:pt x="192" y="1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32" name="Freeform 3"/>
              <p:cNvSpPr>
                <a:spLocks noChangeAspect="1" noEditPoints="1"/>
              </p:cNvSpPr>
              <p:nvPr/>
            </p:nvSpPr>
            <p:spPr bwMode="auto">
              <a:xfrm>
                <a:off x="6163564" y="3132400"/>
                <a:ext cx="149967" cy="146448"/>
              </a:xfrm>
              <a:custGeom>
                <a:avLst/>
                <a:gdLst>
                  <a:gd name="T0" fmla="*/ 2147483647 w 379"/>
                  <a:gd name="T1" fmla="*/ 2147483647 h 378"/>
                  <a:gd name="T2" fmla="*/ 2147483647 w 379"/>
                  <a:gd name="T3" fmla="*/ 0 h 378"/>
                  <a:gd name="T4" fmla="*/ 0 w 379"/>
                  <a:gd name="T5" fmla="*/ 2147483647 h 378"/>
                  <a:gd name="T6" fmla="*/ 2147483647 w 379"/>
                  <a:gd name="T7" fmla="*/ 2147483647 h 378"/>
                  <a:gd name="T8" fmla="*/ 2147483647 w 379"/>
                  <a:gd name="T9" fmla="*/ 2147483647 h 378"/>
                  <a:gd name="T10" fmla="*/ 2147483647 w 379"/>
                  <a:gd name="T11" fmla="*/ 2147483647 h 378"/>
                  <a:gd name="T12" fmla="*/ 2147483647 w 379"/>
                  <a:gd name="T13" fmla="*/ 2147483647 h 378"/>
                  <a:gd name="T14" fmla="*/ 2147483647 w 379"/>
                  <a:gd name="T15" fmla="*/ 2147483647 h 378"/>
                  <a:gd name="T16" fmla="*/ 2147483647 w 379"/>
                  <a:gd name="T17" fmla="*/ 2147483647 h 378"/>
                  <a:gd name="T18" fmla="*/ 2147483647 w 379"/>
                  <a:gd name="T19" fmla="*/ 2147483647 h 378"/>
                  <a:gd name="T20" fmla="*/ 2147483647 w 379"/>
                  <a:gd name="T21" fmla="*/ 2147483647 h 378"/>
                  <a:gd name="T22" fmla="*/ 2147483647 w 379"/>
                  <a:gd name="T23" fmla="*/ 2147483647 h 378"/>
                  <a:gd name="T24" fmla="*/ 2147483647 w 379"/>
                  <a:gd name="T25" fmla="*/ 2147483647 h 378"/>
                  <a:gd name="T26" fmla="*/ 2147483647 w 379"/>
                  <a:gd name="T27" fmla="*/ 2147483647 h 378"/>
                  <a:gd name="T28" fmla="*/ 2147483647 w 379"/>
                  <a:gd name="T29" fmla="*/ 2147483647 h 378"/>
                  <a:gd name="T30" fmla="*/ 2147483647 w 379"/>
                  <a:gd name="T31" fmla="*/ 2147483647 h 378"/>
                  <a:gd name="T32" fmla="*/ 2147483647 w 379"/>
                  <a:gd name="T33" fmla="*/ 2147483647 h 378"/>
                  <a:gd name="T34" fmla="*/ 2147483647 w 379"/>
                  <a:gd name="T35" fmla="*/ 2147483647 h 378"/>
                  <a:gd name="T36" fmla="*/ 2147483647 w 379"/>
                  <a:gd name="T37" fmla="*/ 2147483647 h 378"/>
                  <a:gd name="T38" fmla="*/ 2147483647 w 379"/>
                  <a:gd name="T39" fmla="*/ 2147483647 h 378"/>
                  <a:gd name="T40" fmla="*/ 2147483647 w 379"/>
                  <a:gd name="T41" fmla="*/ 2147483647 h 378"/>
                  <a:gd name="T42" fmla="*/ 2147483647 w 379"/>
                  <a:gd name="T43" fmla="*/ 2147483647 h 378"/>
                  <a:gd name="T44" fmla="*/ 2147483647 w 379"/>
                  <a:gd name="T45" fmla="*/ 2147483647 h 378"/>
                  <a:gd name="T46" fmla="*/ 2147483647 w 379"/>
                  <a:gd name="T47" fmla="*/ 2147483647 h 378"/>
                  <a:gd name="T48" fmla="*/ 2147483647 w 379"/>
                  <a:gd name="T49" fmla="*/ 2147483647 h 378"/>
                  <a:gd name="T50" fmla="*/ 2147483647 w 379"/>
                  <a:gd name="T51" fmla="*/ 2147483647 h 378"/>
                  <a:gd name="T52" fmla="*/ 2147483647 w 379"/>
                  <a:gd name="T53" fmla="*/ 2147483647 h 378"/>
                  <a:gd name="T54" fmla="*/ 2147483647 w 379"/>
                  <a:gd name="T55" fmla="*/ 2147483647 h 378"/>
                  <a:gd name="T56" fmla="*/ 2147483647 w 379"/>
                  <a:gd name="T57" fmla="*/ 2147483647 h 378"/>
                  <a:gd name="T58" fmla="*/ 2147483647 w 379"/>
                  <a:gd name="T59" fmla="*/ 2147483647 h 378"/>
                  <a:gd name="T60" fmla="*/ 2147483647 w 379"/>
                  <a:gd name="T61" fmla="*/ 2147483647 h 378"/>
                  <a:gd name="T62" fmla="*/ 2147483647 w 379"/>
                  <a:gd name="T63" fmla="*/ 2147483647 h 378"/>
                  <a:gd name="T64" fmla="*/ 2147483647 w 379"/>
                  <a:gd name="T65" fmla="*/ 2147483647 h 378"/>
                  <a:gd name="T66" fmla="*/ 2147483647 w 379"/>
                  <a:gd name="T67" fmla="*/ 2147483647 h 378"/>
                  <a:gd name="T68" fmla="*/ 2147483647 w 379"/>
                  <a:gd name="T69" fmla="*/ 2147483647 h 378"/>
                  <a:gd name="T70" fmla="*/ 2147483647 w 379"/>
                  <a:gd name="T71" fmla="*/ 2147483647 h 378"/>
                  <a:gd name="T72" fmla="*/ 2147483647 w 379"/>
                  <a:gd name="T73" fmla="*/ 2147483647 h 378"/>
                  <a:gd name="T74" fmla="*/ 2147483647 w 379"/>
                  <a:gd name="T75" fmla="*/ 2147483647 h 378"/>
                  <a:gd name="T76" fmla="*/ 2147483647 w 379"/>
                  <a:gd name="T77" fmla="*/ 2147483647 h 378"/>
                  <a:gd name="T78" fmla="*/ 2147483647 w 379"/>
                  <a:gd name="T79" fmla="*/ 2147483647 h 378"/>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379" h="378">
                    <a:moveTo>
                      <a:pt x="371" y="41"/>
                    </a:moveTo>
                    <a:cubicBezTo>
                      <a:pt x="375" y="41"/>
                      <a:pt x="379" y="37"/>
                      <a:pt x="379" y="32"/>
                    </a:cubicBezTo>
                    <a:cubicBezTo>
                      <a:pt x="379" y="25"/>
                      <a:pt x="379" y="25"/>
                      <a:pt x="379" y="25"/>
                    </a:cubicBezTo>
                    <a:cubicBezTo>
                      <a:pt x="379" y="11"/>
                      <a:pt x="368" y="0"/>
                      <a:pt x="354" y="0"/>
                    </a:cubicBezTo>
                    <a:cubicBezTo>
                      <a:pt x="24" y="0"/>
                      <a:pt x="24" y="0"/>
                      <a:pt x="24" y="0"/>
                    </a:cubicBezTo>
                    <a:cubicBezTo>
                      <a:pt x="11" y="0"/>
                      <a:pt x="0" y="11"/>
                      <a:pt x="0" y="25"/>
                    </a:cubicBezTo>
                    <a:cubicBezTo>
                      <a:pt x="0" y="236"/>
                      <a:pt x="0" y="236"/>
                      <a:pt x="0" y="236"/>
                    </a:cubicBezTo>
                    <a:cubicBezTo>
                      <a:pt x="0" y="250"/>
                      <a:pt x="11" y="261"/>
                      <a:pt x="24" y="261"/>
                    </a:cubicBezTo>
                    <a:cubicBezTo>
                      <a:pt x="94" y="261"/>
                      <a:pt x="94" y="261"/>
                      <a:pt x="94" y="261"/>
                    </a:cubicBezTo>
                    <a:cubicBezTo>
                      <a:pt x="92" y="268"/>
                      <a:pt x="90" y="276"/>
                      <a:pt x="90" y="285"/>
                    </a:cubicBezTo>
                    <a:cubicBezTo>
                      <a:pt x="90" y="358"/>
                      <a:pt x="90" y="358"/>
                      <a:pt x="90" y="358"/>
                    </a:cubicBezTo>
                    <a:cubicBezTo>
                      <a:pt x="90" y="366"/>
                      <a:pt x="96" y="378"/>
                      <a:pt x="111" y="378"/>
                    </a:cubicBezTo>
                    <a:cubicBezTo>
                      <a:pt x="268" y="378"/>
                      <a:pt x="268" y="378"/>
                      <a:pt x="268" y="378"/>
                    </a:cubicBezTo>
                    <a:cubicBezTo>
                      <a:pt x="276" y="378"/>
                      <a:pt x="288" y="372"/>
                      <a:pt x="288" y="358"/>
                    </a:cubicBezTo>
                    <a:cubicBezTo>
                      <a:pt x="288" y="285"/>
                      <a:pt x="288" y="285"/>
                      <a:pt x="288" y="285"/>
                    </a:cubicBezTo>
                    <a:cubicBezTo>
                      <a:pt x="288" y="276"/>
                      <a:pt x="287" y="268"/>
                      <a:pt x="284" y="261"/>
                    </a:cubicBezTo>
                    <a:cubicBezTo>
                      <a:pt x="354" y="261"/>
                      <a:pt x="354" y="261"/>
                      <a:pt x="354" y="261"/>
                    </a:cubicBezTo>
                    <a:cubicBezTo>
                      <a:pt x="368" y="261"/>
                      <a:pt x="379" y="250"/>
                      <a:pt x="379" y="236"/>
                    </a:cubicBezTo>
                    <a:cubicBezTo>
                      <a:pt x="379" y="65"/>
                      <a:pt x="379" y="65"/>
                      <a:pt x="379" y="65"/>
                    </a:cubicBezTo>
                    <a:cubicBezTo>
                      <a:pt x="379" y="60"/>
                      <a:pt x="375" y="56"/>
                      <a:pt x="371" y="56"/>
                    </a:cubicBezTo>
                    <a:cubicBezTo>
                      <a:pt x="366" y="56"/>
                      <a:pt x="362" y="60"/>
                      <a:pt x="362" y="65"/>
                    </a:cubicBezTo>
                    <a:cubicBezTo>
                      <a:pt x="362" y="236"/>
                      <a:pt x="362" y="236"/>
                      <a:pt x="362" y="236"/>
                    </a:cubicBezTo>
                    <a:cubicBezTo>
                      <a:pt x="362" y="241"/>
                      <a:pt x="359" y="244"/>
                      <a:pt x="354" y="244"/>
                    </a:cubicBezTo>
                    <a:cubicBezTo>
                      <a:pt x="276" y="244"/>
                      <a:pt x="276" y="244"/>
                      <a:pt x="276" y="244"/>
                    </a:cubicBezTo>
                    <a:cubicBezTo>
                      <a:pt x="268" y="231"/>
                      <a:pt x="256" y="222"/>
                      <a:pt x="245" y="215"/>
                    </a:cubicBezTo>
                    <a:cubicBezTo>
                      <a:pt x="260" y="200"/>
                      <a:pt x="270" y="180"/>
                      <a:pt x="270" y="157"/>
                    </a:cubicBezTo>
                    <a:cubicBezTo>
                      <a:pt x="270" y="112"/>
                      <a:pt x="234" y="76"/>
                      <a:pt x="189" y="76"/>
                    </a:cubicBezTo>
                    <a:cubicBezTo>
                      <a:pt x="145" y="76"/>
                      <a:pt x="108" y="112"/>
                      <a:pt x="108" y="157"/>
                    </a:cubicBezTo>
                    <a:cubicBezTo>
                      <a:pt x="108" y="180"/>
                      <a:pt x="118" y="200"/>
                      <a:pt x="133" y="215"/>
                    </a:cubicBezTo>
                    <a:cubicBezTo>
                      <a:pt x="123" y="222"/>
                      <a:pt x="111" y="231"/>
                      <a:pt x="102" y="244"/>
                    </a:cubicBezTo>
                    <a:cubicBezTo>
                      <a:pt x="24" y="244"/>
                      <a:pt x="24" y="244"/>
                      <a:pt x="24" y="244"/>
                    </a:cubicBezTo>
                    <a:cubicBezTo>
                      <a:pt x="20" y="244"/>
                      <a:pt x="16" y="241"/>
                      <a:pt x="16" y="236"/>
                    </a:cubicBezTo>
                    <a:cubicBezTo>
                      <a:pt x="16" y="25"/>
                      <a:pt x="16" y="25"/>
                      <a:pt x="16" y="25"/>
                    </a:cubicBezTo>
                    <a:cubicBezTo>
                      <a:pt x="16" y="20"/>
                      <a:pt x="20" y="16"/>
                      <a:pt x="24" y="16"/>
                    </a:cubicBezTo>
                    <a:cubicBezTo>
                      <a:pt x="354" y="16"/>
                      <a:pt x="354" y="16"/>
                      <a:pt x="354" y="16"/>
                    </a:cubicBezTo>
                    <a:cubicBezTo>
                      <a:pt x="359" y="16"/>
                      <a:pt x="362" y="20"/>
                      <a:pt x="362" y="25"/>
                    </a:cubicBezTo>
                    <a:cubicBezTo>
                      <a:pt x="362" y="32"/>
                      <a:pt x="362" y="32"/>
                      <a:pt x="362" y="32"/>
                    </a:cubicBezTo>
                    <a:cubicBezTo>
                      <a:pt x="362" y="37"/>
                      <a:pt x="366" y="41"/>
                      <a:pt x="371" y="41"/>
                    </a:cubicBezTo>
                    <a:close/>
                    <a:moveTo>
                      <a:pt x="124" y="157"/>
                    </a:moveTo>
                    <a:cubicBezTo>
                      <a:pt x="124" y="121"/>
                      <a:pt x="153" y="92"/>
                      <a:pt x="189" y="92"/>
                    </a:cubicBezTo>
                    <a:cubicBezTo>
                      <a:pt x="225" y="92"/>
                      <a:pt x="254" y="121"/>
                      <a:pt x="254" y="157"/>
                    </a:cubicBezTo>
                    <a:cubicBezTo>
                      <a:pt x="254" y="192"/>
                      <a:pt x="225" y="222"/>
                      <a:pt x="189" y="222"/>
                    </a:cubicBezTo>
                    <a:cubicBezTo>
                      <a:pt x="153" y="222"/>
                      <a:pt x="124" y="192"/>
                      <a:pt x="124" y="157"/>
                    </a:cubicBezTo>
                    <a:close/>
                    <a:moveTo>
                      <a:pt x="106" y="285"/>
                    </a:moveTo>
                    <a:cubicBezTo>
                      <a:pt x="106" y="253"/>
                      <a:pt x="130" y="234"/>
                      <a:pt x="147" y="226"/>
                    </a:cubicBezTo>
                    <a:cubicBezTo>
                      <a:pt x="160" y="233"/>
                      <a:pt x="174" y="238"/>
                      <a:pt x="189" y="238"/>
                    </a:cubicBezTo>
                    <a:cubicBezTo>
                      <a:pt x="205" y="238"/>
                      <a:pt x="219" y="233"/>
                      <a:pt x="231" y="226"/>
                    </a:cubicBezTo>
                    <a:cubicBezTo>
                      <a:pt x="248" y="234"/>
                      <a:pt x="272" y="252"/>
                      <a:pt x="272" y="285"/>
                    </a:cubicBezTo>
                    <a:cubicBezTo>
                      <a:pt x="272" y="358"/>
                      <a:pt x="272" y="358"/>
                      <a:pt x="272" y="358"/>
                    </a:cubicBezTo>
                    <a:cubicBezTo>
                      <a:pt x="272" y="359"/>
                      <a:pt x="272" y="362"/>
                      <a:pt x="268" y="362"/>
                    </a:cubicBezTo>
                    <a:cubicBezTo>
                      <a:pt x="255" y="362"/>
                      <a:pt x="255" y="362"/>
                      <a:pt x="255" y="362"/>
                    </a:cubicBezTo>
                    <a:cubicBezTo>
                      <a:pt x="255" y="277"/>
                      <a:pt x="255" y="277"/>
                      <a:pt x="255" y="277"/>
                    </a:cubicBezTo>
                    <a:cubicBezTo>
                      <a:pt x="255" y="273"/>
                      <a:pt x="252" y="269"/>
                      <a:pt x="247" y="269"/>
                    </a:cubicBezTo>
                    <a:cubicBezTo>
                      <a:pt x="243" y="269"/>
                      <a:pt x="239" y="273"/>
                      <a:pt x="239" y="277"/>
                    </a:cubicBezTo>
                    <a:cubicBezTo>
                      <a:pt x="239" y="362"/>
                      <a:pt x="239" y="362"/>
                      <a:pt x="239" y="362"/>
                    </a:cubicBezTo>
                    <a:cubicBezTo>
                      <a:pt x="139" y="362"/>
                      <a:pt x="139" y="362"/>
                      <a:pt x="139" y="362"/>
                    </a:cubicBezTo>
                    <a:cubicBezTo>
                      <a:pt x="139" y="277"/>
                      <a:pt x="139" y="277"/>
                      <a:pt x="139" y="277"/>
                    </a:cubicBezTo>
                    <a:cubicBezTo>
                      <a:pt x="139" y="273"/>
                      <a:pt x="136" y="269"/>
                      <a:pt x="131" y="269"/>
                    </a:cubicBezTo>
                    <a:cubicBezTo>
                      <a:pt x="127" y="269"/>
                      <a:pt x="123" y="273"/>
                      <a:pt x="123" y="277"/>
                    </a:cubicBezTo>
                    <a:cubicBezTo>
                      <a:pt x="123" y="362"/>
                      <a:pt x="123" y="362"/>
                      <a:pt x="123" y="362"/>
                    </a:cubicBezTo>
                    <a:cubicBezTo>
                      <a:pt x="111" y="362"/>
                      <a:pt x="111" y="362"/>
                      <a:pt x="111" y="362"/>
                    </a:cubicBezTo>
                    <a:cubicBezTo>
                      <a:pt x="109" y="362"/>
                      <a:pt x="107" y="362"/>
                      <a:pt x="106" y="358"/>
                    </a:cubicBezTo>
                    <a:lnTo>
                      <a:pt x="106" y="285"/>
                    </a:lnTo>
                    <a:close/>
                    <a:moveTo>
                      <a:pt x="287" y="176"/>
                    </a:moveTo>
                    <a:cubicBezTo>
                      <a:pt x="289" y="178"/>
                      <a:pt x="291" y="179"/>
                      <a:pt x="293" y="179"/>
                    </a:cubicBezTo>
                    <a:cubicBezTo>
                      <a:pt x="294" y="179"/>
                      <a:pt x="294" y="179"/>
                      <a:pt x="295" y="179"/>
                    </a:cubicBezTo>
                    <a:cubicBezTo>
                      <a:pt x="308" y="176"/>
                      <a:pt x="331" y="163"/>
                      <a:pt x="328" y="136"/>
                    </a:cubicBezTo>
                    <a:cubicBezTo>
                      <a:pt x="325" y="112"/>
                      <a:pt x="304" y="105"/>
                      <a:pt x="289" y="105"/>
                    </a:cubicBezTo>
                    <a:cubicBezTo>
                      <a:pt x="270" y="68"/>
                      <a:pt x="233" y="44"/>
                      <a:pt x="189" y="44"/>
                    </a:cubicBezTo>
                    <a:cubicBezTo>
                      <a:pt x="189" y="44"/>
                      <a:pt x="189" y="44"/>
                      <a:pt x="189" y="44"/>
                    </a:cubicBezTo>
                    <a:cubicBezTo>
                      <a:pt x="145" y="44"/>
                      <a:pt x="107" y="69"/>
                      <a:pt x="89" y="105"/>
                    </a:cubicBezTo>
                    <a:cubicBezTo>
                      <a:pt x="74" y="105"/>
                      <a:pt x="53" y="112"/>
                      <a:pt x="50" y="136"/>
                    </a:cubicBezTo>
                    <a:cubicBezTo>
                      <a:pt x="47" y="163"/>
                      <a:pt x="70" y="176"/>
                      <a:pt x="83" y="179"/>
                    </a:cubicBezTo>
                    <a:cubicBezTo>
                      <a:pt x="86" y="179"/>
                      <a:pt x="89" y="178"/>
                      <a:pt x="91" y="176"/>
                    </a:cubicBezTo>
                    <a:cubicBezTo>
                      <a:pt x="93" y="175"/>
                      <a:pt x="93" y="172"/>
                      <a:pt x="93" y="169"/>
                    </a:cubicBezTo>
                    <a:cubicBezTo>
                      <a:pt x="92" y="163"/>
                      <a:pt x="92" y="157"/>
                      <a:pt x="92" y="157"/>
                    </a:cubicBezTo>
                    <a:cubicBezTo>
                      <a:pt x="92" y="103"/>
                      <a:pt x="135" y="60"/>
                      <a:pt x="189" y="60"/>
                    </a:cubicBezTo>
                    <a:cubicBezTo>
                      <a:pt x="243" y="60"/>
                      <a:pt x="286" y="103"/>
                      <a:pt x="286" y="157"/>
                    </a:cubicBezTo>
                    <a:cubicBezTo>
                      <a:pt x="286" y="157"/>
                      <a:pt x="286" y="163"/>
                      <a:pt x="285" y="169"/>
                    </a:cubicBezTo>
                    <a:cubicBezTo>
                      <a:pt x="285" y="172"/>
                      <a:pt x="285" y="175"/>
                      <a:pt x="287" y="1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33" name="Freeform 3"/>
              <p:cNvSpPr>
                <a:spLocks noChangeAspect="1" noEditPoints="1"/>
              </p:cNvSpPr>
              <p:nvPr/>
            </p:nvSpPr>
            <p:spPr bwMode="auto">
              <a:xfrm>
                <a:off x="6157027" y="4078218"/>
                <a:ext cx="149967" cy="146448"/>
              </a:xfrm>
              <a:custGeom>
                <a:avLst/>
                <a:gdLst>
                  <a:gd name="T0" fmla="*/ 2147483647 w 379"/>
                  <a:gd name="T1" fmla="*/ 2147483647 h 378"/>
                  <a:gd name="T2" fmla="*/ 2147483647 w 379"/>
                  <a:gd name="T3" fmla="*/ 0 h 378"/>
                  <a:gd name="T4" fmla="*/ 0 w 379"/>
                  <a:gd name="T5" fmla="*/ 2147483647 h 378"/>
                  <a:gd name="T6" fmla="*/ 2147483647 w 379"/>
                  <a:gd name="T7" fmla="*/ 2147483647 h 378"/>
                  <a:gd name="T8" fmla="*/ 2147483647 w 379"/>
                  <a:gd name="T9" fmla="*/ 2147483647 h 378"/>
                  <a:gd name="T10" fmla="*/ 2147483647 w 379"/>
                  <a:gd name="T11" fmla="*/ 2147483647 h 378"/>
                  <a:gd name="T12" fmla="*/ 2147483647 w 379"/>
                  <a:gd name="T13" fmla="*/ 2147483647 h 378"/>
                  <a:gd name="T14" fmla="*/ 2147483647 w 379"/>
                  <a:gd name="T15" fmla="*/ 2147483647 h 378"/>
                  <a:gd name="T16" fmla="*/ 2147483647 w 379"/>
                  <a:gd name="T17" fmla="*/ 2147483647 h 378"/>
                  <a:gd name="T18" fmla="*/ 2147483647 w 379"/>
                  <a:gd name="T19" fmla="*/ 2147483647 h 378"/>
                  <a:gd name="T20" fmla="*/ 2147483647 w 379"/>
                  <a:gd name="T21" fmla="*/ 2147483647 h 378"/>
                  <a:gd name="T22" fmla="*/ 2147483647 w 379"/>
                  <a:gd name="T23" fmla="*/ 2147483647 h 378"/>
                  <a:gd name="T24" fmla="*/ 2147483647 w 379"/>
                  <a:gd name="T25" fmla="*/ 2147483647 h 378"/>
                  <a:gd name="T26" fmla="*/ 2147483647 w 379"/>
                  <a:gd name="T27" fmla="*/ 2147483647 h 378"/>
                  <a:gd name="T28" fmla="*/ 2147483647 w 379"/>
                  <a:gd name="T29" fmla="*/ 2147483647 h 378"/>
                  <a:gd name="T30" fmla="*/ 2147483647 w 379"/>
                  <a:gd name="T31" fmla="*/ 2147483647 h 378"/>
                  <a:gd name="T32" fmla="*/ 2147483647 w 379"/>
                  <a:gd name="T33" fmla="*/ 2147483647 h 378"/>
                  <a:gd name="T34" fmla="*/ 2147483647 w 379"/>
                  <a:gd name="T35" fmla="*/ 2147483647 h 378"/>
                  <a:gd name="T36" fmla="*/ 2147483647 w 379"/>
                  <a:gd name="T37" fmla="*/ 2147483647 h 378"/>
                  <a:gd name="T38" fmla="*/ 2147483647 w 379"/>
                  <a:gd name="T39" fmla="*/ 2147483647 h 378"/>
                  <a:gd name="T40" fmla="*/ 2147483647 w 379"/>
                  <a:gd name="T41" fmla="*/ 2147483647 h 378"/>
                  <a:gd name="T42" fmla="*/ 2147483647 w 379"/>
                  <a:gd name="T43" fmla="*/ 2147483647 h 378"/>
                  <a:gd name="T44" fmla="*/ 2147483647 w 379"/>
                  <a:gd name="T45" fmla="*/ 2147483647 h 378"/>
                  <a:gd name="T46" fmla="*/ 2147483647 w 379"/>
                  <a:gd name="T47" fmla="*/ 2147483647 h 378"/>
                  <a:gd name="T48" fmla="*/ 2147483647 w 379"/>
                  <a:gd name="T49" fmla="*/ 2147483647 h 378"/>
                  <a:gd name="T50" fmla="*/ 2147483647 w 379"/>
                  <a:gd name="T51" fmla="*/ 2147483647 h 378"/>
                  <a:gd name="T52" fmla="*/ 2147483647 w 379"/>
                  <a:gd name="T53" fmla="*/ 2147483647 h 378"/>
                  <a:gd name="T54" fmla="*/ 2147483647 w 379"/>
                  <a:gd name="T55" fmla="*/ 2147483647 h 378"/>
                  <a:gd name="T56" fmla="*/ 2147483647 w 379"/>
                  <a:gd name="T57" fmla="*/ 2147483647 h 378"/>
                  <a:gd name="T58" fmla="*/ 2147483647 w 379"/>
                  <a:gd name="T59" fmla="*/ 2147483647 h 378"/>
                  <a:gd name="T60" fmla="*/ 2147483647 w 379"/>
                  <a:gd name="T61" fmla="*/ 2147483647 h 378"/>
                  <a:gd name="T62" fmla="*/ 2147483647 w 379"/>
                  <a:gd name="T63" fmla="*/ 2147483647 h 378"/>
                  <a:gd name="T64" fmla="*/ 2147483647 w 379"/>
                  <a:gd name="T65" fmla="*/ 2147483647 h 378"/>
                  <a:gd name="T66" fmla="*/ 2147483647 w 379"/>
                  <a:gd name="T67" fmla="*/ 2147483647 h 378"/>
                  <a:gd name="T68" fmla="*/ 2147483647 w 379"/>
                  <a:gd name="T69" fmla="*/ 2147483647 h 378"/>
                  <a:gd name="T70" fmla="*/ 2147483647 w 379"/>
                  <a:gd name="T71" fmla="*/ 2147483647 h 378"/>
                  <a:gd name="T72" fmla="*/ 2147483647 w 379"/>
                  <a:gd name="T73" fmla="*/ 2147483647 h 378"/>
                  <a:gd name="T74" fmla="*/ 2147483647 w 379"/>
                  <a:gd name="T75" fmla="*/ 2147483647 h 378"/>
                  <a:gd name="T76" fmla="*/ 2147483647 w 379"/>
                  <a:gd name="T77" fmla="*/ 2147483647 h 378"/>
                  <a:gd name="T78" fmla="*/ 2147483647 w 379"/>
                  <a:gd name="T79" fmla="*/ 2147483647 h 378"/>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379" h="378">
                    <a:moveTo>
                      <a:pt x="371" y="41"/>
                    </a:moveTo>
                    <a:cubicBezTo>
                      <a:pt x="375" y="41"/>
                      <a:pt x="379" y="37"/>
                      <a:pt x="379" y="32"/>
                    </a:cubicBezTo>
                    <a:cubicBezTo>
                      <a:pt x="379" y="25"/>
                      <a:pt x="379" y="25"/>
                      <a:pt x="379" y="25"/>
                    </a:cubicBezTo>
                    <a:cubicBezTo>
                      <a:pt x="379" y="11"/>
                      <a:pt x="368" y="0"/>
                      <a:pt x="354" y="0"/>
                    </a:cubicBezTo>
                    <a:cubicBezTo>
                      <a:pt x="24" y="0"/>
                      <a:pt x="24" y="0"/>
                      <a:pt x="24" y="0"/>
                    </a:cubicBezTo>
                    <a:cubicBezTo>
                      <a:pt x="11" y="0"/>
                      <a:pt x="0" y="11"/>
                      <a:pt x="0" y="25"/>
                    </a:cubicBezTo>
                    <a:cubicBezTo>
                      <a:pt x="0" y="236"/>
                      <a:pt x="0" y="236"/>
                      <a:pt x="0" y="236"/>
                    </a:cubicBezTo>
                    <a:cubicBezTo>
                      <a:pt x="0" y="250"/>
                      <a:pt x="11" y="261"/>
                      <a:pt x="24" y="261"/>
                    </a:cubicBezTo>
                    <a:cubicBezTo>
                      <a:pt x="94" y="261"/>
                      <a:pt x="94" y="261"/>
                      <a:pt x="94" y="261"/>
                    </a:cubicBezTo>
                    <a:cubicBezTo>
                      <a:pt x="92" y="268"/>
                      <a:pt x="90" y="276"/>
                      <a:pt x="90" y="285"/>
                    </a:cubicBezTo>
                    <a:cubicBezTo>
                      <a:pt x="90" y="358"/>
                      <a:pt x="90" y="358"/>
                      <a:pt x="90" y="358"/>
                    </a:cubicBezTo>
                    <a:cubicBezTo>
                      <a:pt x="90" y="366"/>
                      <a:pt x="96" y="378"/>
                      <a:pt x="111" y="378"/>
                    </a:cubicBezTo>
                    <a:cubicBezTo>
                      <a:pt x="268" y="378"/>
                      <a:pt x="268" y="378"/>
                      <a:pt x="268" y="378"/>
                    </a:cubicBezTo>
                    <a:cubicBezTo>
                      <a:pt x="276" y="378"/>
                      <a:pt x="288" y="372"/>
                      <a:pt x="288" y="358"/>
                    </a:cubicBezTo>
                    <a:cubicBezTo>
                      <a:pt x="288" y="285"/>
                      <a:pt x="288" y="285"/>
                      <a:pt x="288" y="285"/>
                    </a:cubicBezTo>
                    <a:cubicBezTo>
                      <a:pt x="288" y="276"/>
                      <a:pt x="287" y="268"/>
                      <a:pt x="284" y="261"/>
                    </a:cubicBezTo>
                    <a:cubicBezTo>
                      <a:pt x="354" y="261"/>
                      <a:pt x="354" y="261"/>
                      <a:pt x="354" y="261"/>
                    </a:cubicBezTo>
                    <a:cubicBezTo>
                      <a:pt x="368" y="261"/>
                      <a:pt x="379" y="250"/>
                      <a:pt x="379" y="236"/>
                    </a:cubicBezTo>
                    <a:cubicBezTo>
                      <a:pt x="379" y="65"/>
                      <a:pt x="379" y="65"/>
                      <a:pt x="379" y="65"/>
                    </a:cubicBezTo>
                    <a:cubicBezTo>
                      <a:pt x="379" y="60"/>
                      <a:pt x="375" y="56"/>
                      <a:pt x="371" y="56"/>
                    </a:cubicBezTo>
                    <a:cubicBezTo>
                      <a:pt x="366" y="56"/>
                      <a:pt x="362" y="60"/>
                      <a:pt x="362" y="65"/>
                    </a:cubicBezTo>
                    <a:cubicBezTo>
                      <a:pt x="362" y="236"/>
                      <a:pt x="362" y="236"/>
                      <a:pt x="362" y="236"/>
                    </a:cubicBezTo>
                    <a:cubicBezTo>
                      <a:pt x="362" y="241"/>
                      <a:pt x="359" y="244"/>
                      <a:pt x="354" y="244"/>
                    </a:cubicBezTo>
                    <a:cubicBezTo>
                      <a:pt x="276" y="244"/>
                      <a:pt x="276" y="244"/>
                      <a:pt x="276" y="244"/>
                    </a:cubicBezTo>
                    <a:cubicBezTo>
                      <a:pt x="268" y="231"/>
                      <a:pt x="256" y="222"/>
                      <a:pt x="245" y="215"/>
                    </a:cubicBezTo>
                    <a:cubicBezTo>
                      <a:pt x="260" y="200"/>
                      <a:pt x="270" y="180"/>
                      <a:pt x="270" y="157"/>
                    </a:cubicBezTo>
                    <a:cubicBezTo>
                      <a:pt x="270" y="112"/>
                      <a:pt x="234" y="76"/>
                      <a:pt x="189" y="76"/>
                    </a:cubicBezTo>
                    <a:cubicBezTo>
                      <a:pt x="145" y="76"/>
                      <a:pt x="108" y="112"/>
                      <a:pt x="108" y="157"/>
                    </a:cubicBezTo>
                    <a:cubicBezTo>
                      <a:pt x="108" y="180"/>
                      <a:pt x="118" y="200"/>
                      <a:pt x="133" y="215"/>
                    </a:cubicBezTo>
                    <a:cubicBezTo>
                      <a:pt x="123" y="222"/>
                      <a:pt x="111" y="231"/>
                      <a:pt x="102" y="244"/>
                    </a:cubicBezTo>
                    <a:cubicBezTo>
                      <a:pt x="24" y="244"/>
                      <a:pt x="24" y="244"/>
                      <a:pt x="24" y="244"/>
                    </a:cubicBezTo>
                    <a:cubicBezTo>
                      <a:pt x="20" y="244"/>
                      <a:pt x="16" y="241"/>
                      <a:pt x="16" y="236"/>
                    </a:cubicBezTo>
                    <a:cubicBezTo>
                      <a:pt x="16" y="25"/>
                      <a:pt x="16" y="25"/>
                      <a:pt x="16" y="25"/>
                    </a:cubicBezTo>
                    <a:cubicBezTo>
                      <a:pt x="16" y="20"/>
                      <a:pt x="20" y="16"/>
                      <a:pt x="24" y="16"/>
                    </a:cubicBezTo>
                    <a:cubicBezTo>
                      <a:pt x="354" y="16"/>
                      <a:pt x="354" y="16"/>
                      <a:pt x="354" y="16"/>
                    </a:cubicBezTo>
                    <a:cubicBezTo>
                      <a:pt x="359" y="16"/>
                      <a:pt x="362" y="20"/>
                      <a:pt x="362" y="25"/>
                    </a:cubicBezTo>
                    <a:cubicBezTo>
                      <a:pt x="362" y="32"/>
                      <a:pt x="362" y="32"/>
                      <a:pt x="362" y="32"/>
                    </a:cubicBezTo>
                    <a:cubicBezTo>
                      <a:pt x="362" y="37"/>
                      <a:pt x="366" y="41"/>
                      <a:pt x="371" y="41"/>
                    </a:cubicBezTo>
                    <a:close/>
                    <a:moveTo>
                      <a:pt x="124" y="157"/>
                    </a:moveTo>
                    <a:cubicBezTo>
                      <a:pt x="124" y="121"/>
                      <a:pt x="153" y="92"/>
                      <a:pt x="189" y="92"/>
                    </a:cubicBezTo>
                    <a:cubicBezTo>
                      <a:pt x="225" y="92"/>
                      <a:pt x="254" y="121"/>
                      <a:pt x="254" y="157"/>
                    </a:cubicBezTo>
                    <a:cubicBezTo>
                      <a:pt x="254" y="192"/>
                      <a:pt x="225" y="222"/>
                      <a:pt x="189" y="222"/>
                    </a:cubicBezTo>
                    <a:cubicBezTo>
                      <a:pt x="153" y="222"/>
                      <a:pt x="124" y="192"/>
                      <a:pt x="124" y="157"/>
                    </a:cubicBezTo>
                    <a:close/>
                    <a:moveTo>
                      <a:pt x="106" y="285"/>
                    </a:moveTo>
                    <a:cubicBezTo>
                      <a:pt x="106" y="253"/>
                      <a:pt x="130" y="234"/>
                      <a:pt x="147" y="226"/>
                    </a:cubicBezTo>
                    <a:cubicBezTo>
                      <a:pt x="160" y="233"/>
                      <a:pt x="174" y="238"/>
                      <a:pt x="189" y="238"/>
                    </a:cubicBezTo>
                    <a:cubicBezTo>
                      <a:pt x="205" y="238"/>
                      <a:pt x="219" y="233"/>
                      <a:pt x="231" y="226"/>
                    </a:cubicBezTo>
                    <a:cubicBezTo>
                      <a:pt x="248" y="234"/>
                      <a:pt x="272" y="252"/>
                      <a:pt x="272" y="285"/>
                    </a:cubicBezTo>
                    <a:cubicBezTo>
                      <a:pt x="272" y="358"/>
                      <a:pt x="272" y="358"/>
                      <a:pt x="272" y="358"/>
                    </a:cubicBezTo>
                    <a:cubicBezTo>
                      <a:pt x="272" y="359"/>
                      <a:pt x="272" y="362"/>
                      <a:pt x="268" y="362"/>
                    </a:cubicBezTo>
                    <a:cubicBezTo>
                      <a:pt x="255" y="362"/>
                      <a:pt x="255" y="362"/>
                      <a:pt x="255" y="362"/>
                    </a:cubicBezTo>
                    <a:cubicBezTo>
                      <a:pt x="255" y="277"/>
                      <a:pt x="255" y="277"/>
                      <a:pt x="255" y="277"/>
                    </a:cubicBezTo>
                    <a:cubicBezTo>
                      <a:pt x="255" y="273"/>
                      <a:pt x="252" y="269"/>
                      <a:pt x="247" y="269"/>
                    </a:cubicBezTo>
                    <a:cubicBezTo>
                      <a:pt x="243" y="269"/>
                      <a:pt x="239" y="273"/>
                      <a:pt x="239" y="277"/>
                    </a:cubicBezTo>
                    <a:cubicBezTo>
                      <a:pt x="239" y="362"/>
                      <a:pt x="239" y="362"/>
                      <a:pt x="239" y="362"/>
                    </a:cubicBezTo>
                    <a:cubicBezTo>
                      <a:pt x="139" y="362"/>
                      <a:pt x="139" y="362"/>
                      <a:pt x="139" y="362"/>
                    </a:cubicBezTo>
                    <a:cubicBezTo>
                      <a:pt x="139" y="277"/>
                      <a:pt x="139" y="277"/>
                      <a:pt x="139" y="277"/>
                    </a:cubicBezTo>
                    <a:cubicBezTo>
                      <a:pt x="139" y="273"/>
                      <a:pt x="136" y="269"/>
                      <a:pt x="131" y="269"/>
                    </a:cubicBezTo>
                    <a:cubicBezTo>
                      <a:pt x="127" y="269"/>
                      <a:pt x="123" y="273"/>
                      <a:pt x="123" y="277"/>
                    </a:cubicBezTo>
                    <a:cubicBezTo>
                      <a:pt x="123" y="362"/>
                      <a:pt x="123" y="362"/>
                      <a:pt x="123" y="362"/>
                    </a:cubicBezTo>
                    <a:cubicBezTo>
                      <a:pt x="111" y="362"/>
                      <a:pt x="111" y="362"/>
                      <a:pt x="111" y="362"/>
                    </a:cubicBezTo>
                    <a:cubicBezTo>
                      <a:pt x="109" y="362"/>
                      <a:pt x="107" y="362"/>
                      <a:pt x="106" y="358"/>
                    </a:cubicBezTo>
                    <a:lnTo>
                      <a:pt x="106" y="285"/>
                    </a:lnTo>
                    <a:close/>
                    <a:moveTo>
                      <a:pt x="287" y="176"/>
                    </a:moveTo>
                    <a:cubicBezTo>
                      <a:pt x="289" y="178"/>
                      <a:pt x="291" y="179"/>
                      <a:pt x="293" y="179"/>
                    </a:cubicBezTo>
                    <a:cubicBezTo>
                      <a:pt x="294" y="179"/>
                      <a:pt x="294" y="179"/>
                      <a:pt x="295" y="179"/>
                    </a:cubicBezTo>
                    <a:cubicBezTo>
                      <a:pt x="308" y="176"/>
                      <a:pt x="331" y="163"/>
                      <a:pt x="328" y="136"/>
                    </a:cubicBezTo>
                    <a:cubicBezTo>
                      <a:pt x="325" y="112"/>
                      <a:pt x="304" y="105"/>
                      <a:pt x="289" y="105"/>
                    </a:cubicBezTo>
                    <a:cubicBezTo>
                      <a:pt x="270" y="68"/>
                      <a:pt x="233" y="44"/>
                      <a:pt x="189" y="44"/>
                    </a:cubicBezTo>
                    <a:cubicBezTo>
                      <a:pt x="189" y="44"/>
                      <a:pt x="189" y="44"/>
                      <a:pt x="189" y="44"/>
                    </a:cubicBezTo>
                    <a:cubicBezTo>
                      <a:pt x="145" y="44"/>
                      <a:pt x="107" y="69"/>
                      <a:pt x="89" y="105"/>
                    </a:cubicBezTo>
                    <a:cubicBezTo>
                      <a:pt x="74" y="105"/>
                      <a:pt x="53" y="112"/>
                      <a:pt x="50" y="136"/>
                    </a:cubicBezTo>
                    <a:cubicBezTo>
                      <a:pt x="47" y="163"/>
                      <a:pt x="70" y="176"/>
                      <a:pt x="83" y="179"/>
                    </a:cubicBezTo>
                    <a:cubicBezTo>
                      <a:pt x="86" y="179"/>
                      <a:pt x="89" y="178"/>
                      <a:pt x="91" y="176"/>
                    </a:cubicBezTo>
                    <a:cubicBezTo>
                      <a:pt x="93" y="175"/>
                      <a:pt x="93" y="172"/>
                      <a:pt x="93" y="169"/>
                    </a:cubicBezTo>
                    <a:cubicBezTo>
                      <a:pt x="92" y="163"/>
                      <a:pt x="92" y="157"/>
                      <a:pt x="92" y="157"/>
                    </a:cubicBezTo>
                    <a:cubicBezTo>
                      <a:pt x="92" y="103"/>
                      <a:pt x="135" y="60"/>
                      <a:pt x="189" y="60"/>
                    </a:cubicBezTo>
                    <a:cubicBezTo>
                      <a:pt x="243" y="60"/>
                      <a:pt x="286" y="103"/>
                      <a:pt x="286" y="157"/>
                    </a:cubicBezTo>
                    <a:cubicBezTo>
                      <a:pt x="286" y="157"/>
                      <a:pt x="286" y="163"/>
                      <a:pt x="285" y="169"/>
                    </a:cubicBezTo>
                    <a:cubicBezTo>
                      <a:pt x="285" y="172"/>
                      <a:pt x="285" y="175"/>
                      <a:pt x="287" y="1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34" name="Freeform 3"/>
              <p:cNvSpPr>
                <a:spLocks noChangeAspect="1" noEditPoints="1"/>
              </p:cNvSpPr>
              <p:nvPr/>
            </p:nvSpPr>
            <p:spPr bwMode="auto">
              <a:xfrm>
                <a:off x="6385696" y="3443179"/>
                <a:ext cx="178956" cy="114795"/>
              </a:xfrm>
              <a:custGeom>
                <a:avLst/>
                <a:gdLst>
                  <a:gd name="T0" fmla="*/ 2147483647 w 452"/>
                  <a:gd name="T1" fmla="*/ 2147483647 h 296"/>
                  <a:gd name="T2" fmla="*/ 2147483647 w 452"/>
                  <a:gd name="T3" fmla="*/ 2147483647 h 296"/>
                  <a:gd name="T4" fmla="*/ 2147483647 w 452"/>
                  <a:gd name="T5" fmla="*/ 2147483647 h 296"/>
                  <a:gd name="T6" fmla="*/ 2147483647 w 452"/>
                  <a:gd name="T7" fmla="*/ 2147483647 h 296"/>
                  <a:gd name="T8" fmla="*/ 2147483647 w 452"/>
                  <a:gd name="T9" fmla="*/ 2147483647 h 296"/>
                  <a:gd name="T10" fmla="*/ 2147483647 w 452"/>
                  <a:gd name="T11" fmla="*/ 2147483647 h 296"/>
                  <a:gd name="T12" fmla="*/ 2147483647 w 452"/>
                  <a:gd name="T13" fmla="*/ 2147483647 h 296"/>
                  <a:gd name="T14" fmla="*/ 2147483647 w 452"/>
                  <a:gd name="T15" fmla="*/ 2147483647 h 296"/>
                  <a:gd name="T16" fmla="*/ 2147483647 w 452"/>
                  <a:gd name="T17" fmla="*/ 0 h 296"/>
                  <a:gd name="T18" fmla="*/ 2147483647 w 452"/>
                  <a:gd name="T19" fmla="*/ 2147483647 h 296"/>
                  <a:gd name="T20" fmla="*/ 2147483647 w 452"/>
                  <a:gd name="T21" fmla="*/ 2147483647 h 296"/>
                  <a:gd name="T22" fmla="*/ 2147483647 w 452"/>
                  <a:gd name="T23" fmla="*/ 2147483647 h 296"/>
                  <a:gd name="T24" fmla="*/ 0 w 452"/>
                  <a:gd name="T25" fmla="*/ 2147483647 h 296"/>
                  <a:gd name="T26" fmla="*/ 2147483647 w 452"/>
                  <a:gd name="T27" fmla="*/ 2147483647 h 296"/>
                  <a:gd name="T28" fmla="*/ 2147483647 w 452"/>
                  <a:gd name="T29" fmla="*/ 2147483647 h 296"/>
                  <a:gd name="T30" fmla="*/ 2147483647 w 452"/>
                  <a:gd name="T31" fmla="*/ 2147483647 h 296"/>
                  <a:gd name="T32" fmla="*/ 2147483647 w 452"/>
                  <a:gd name="T33" fmla="*/ 2147483647 h 296"/>
                  <a:gd name="T34" fmla="*/ 2147483647 w 452"/>
                  <a:gd name="T35" fmla="*/ 2147483647 h 296"/>
                  <a:gd name="T36" fmla="*/ 2147483647 w 452"/>
                  <a:gd name="T37" fmla="*/ 2147483647 h 296"/>
                  <a:gd name="T38" fmla="*/ 2147483647 w 452"/>
                  <a:gd name="T39" fmla="*/ 2147483647 h 296"/>
                  <a:gd name="T40" fmla="*/ 2147483647 w 452"/>
                  <a:gd name="T41" fmla="*/ 2147483647 h 296"/>
                  <a:gd name="T42" fmla="*/ 2147483647 w 452"/>
                  <a:gd name="T43" fmla="*/ 2147483647 h 296"/>
                  <a:gd name="T44" fmla="*/ 2147483647 w 452"/>
                  <a:gd name="T45" fmla="*/ 2147483647 h 296"/>
                  <a:gd name="T46" fmla="*/ 2147483647 w 452"/>
                  <a:gd name="T47" fmla="*/ 2147483647 h 296"/>
                  <a:gd name="T48" fmla="*/ 2147483647 w 452"/>
                  <a:gd name="T49" fmla="*/ 2147483647 h 296"/>
                  <a:gd name="T50" fmla="*/ 2147483647 w 452"/>
                  <a:gd name="T51" fmla="*/ 2147483647 h 296"/>
                  <a:gd name="T52" fmla="*/ 2147483647 w 452"/>
                  <a:gd name="T53" fmla="*/ 2147483647 h 296"/>
                  <a:gd name="T54" fmla="*/ 2147483647 w 452"/>
                  <a:gd name="T55" fmla="*/ 2147483647 h 296"/>
                  <a:gd name="T56" fmla="*/ 2147483647 w 452"/>
                  <a:gd name="T57" fmla="*/ 2147483647 h 296"/>
                  <a:gd name="T58" fmla="*/ 2147483647 w 452"/>
                  <a:gd name="T59" fmla="*/ 2147483647 h 296"/>
                  <a:gd name="T60" fmla="*/ 2147483647 w 452"/>
                  <a:gd name="T61" fmla="*/ 2147483647 h 296"/>
                  <a:gd name="T62" fmla="*/ 2147483647 w 452"/>
                  <a:gd name="T63" fmla="*/ 2147483647 h 29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452" h="296">
                    <a:moveTo>
                      <a:pt x="438" y="249"/>
                    </a:moveTo>
                    <a:cubicBezTo>
                      <a:pt x="421" y="249"/>
                      <a:pt x="421" y="249"/>
                      <a:pt x="421" y="249"/>
                    </a:cubicBezTo>
                    <a:cubicBezTo>
                      <a:pt x="421" y="249"/>
                      <a:pt x="421" y="248"/>
                      <a:pt x="421" y="248"/>
                    </a:cubicBezTo>
                    <a:cubicBezTo>
                      <a:pt x="421" y="70"/>
                      <a:pt x="421" y="70"/>
                      <a:pt x="421" y="70"/>
                    </a:cubicBezTo>
                    <a:cubicBezTo>
                      <a:pt x="421" y="65"/>
                      <a:pt x="418" y="62"/>
                      <a:pt x="413" y="62"/>
                    </a:cubicBezTo>
                    <a:cubicBezTo>
                      <a:pt x="409" y="62"/>
                      <a:pt x="405" y="65"/>
                      <a:pt x="405" y="70"/>
                    </a:cubicBezTo>
                    <a:cubicBezTo>
                      <a:pt x="405" y="248"/>
                      <a:pt x="405" y="248"/>
                      <a:pt x="405" y="248"/>
                    </a:cubicBezTo>
                    <a:cubicBezTo>
                      <a:pt x="405" y="248"/>
                      <a:pt x="406" y="249"/>
                      <a:pt x="406" y="249"/>
                    </a:cubicBezTo>
                    <a:cubicBezTo>
                      <a:pt x="47" y="249"/>
                      <a:pt x="47" y="249"/>
                      <a:pt x="47" y="249"/>
                    </a:cubicBezTo>
                    <a:cubicBezTo>
                      <a:pt x="47" y="228"/>
                      <a:pt x="47" y="228"/>
                      <a:pt x="47" y="228"/>
                    </a:cubicBezTo>
                    <a:cubicBezTo>
                      <a:pt x="47" y="211"/>
                      <a:pt x="47" y="211"/>
                      <a:pt x="47" y="211"/>
                    </a:cubicBezTo>
                    <a:cubicBezTo>
                      <a:pt x="47" y="16"/>
                      <a:pt x="47" y="16"/>
                      <a:pt x="47" y="16"/>
                    </a:cubicBezTo>
                    <a:cubicBezTo>
                      <a:pt x="405" y="16"/>
                      <a:pt x="405" y="16"/>
                      <a:pt x="405" y="16"/>
                    </a:cubicBezTo>
                    <a:cubicBezTo>
                      <a:pt x="405" y="37"/>
                      <a:pt x="405" y="37"/>
                      <a:pt x="405" y="37"/>
                    </a:cubicBezTo>
                    <a:cubicBezTo>
                      <a:pt x="405" y="42"/>
                      <a:pt x="409" y="45"/>
                      <a:pt x="413" y="45"/>
                    </a:cubicBezTo>
                    <a:cubicBezTo>
                      <a:pt x="418" y="45"/>
                      <a:pt x="421" y="42"/>
                      <a:pt x="421" y="37"/>
                    </a:cubicBezTo>
                    <a:cubicBezTo>
                      <a:pt x="421" y="14"/>
                      <a:pt x="421" y="14"/>
                      <a:pt x="421" y="14"/>
                    </a:cubicBezTo>
                    <a:cubicBezTo>
                      <a:pt x="421" y="6"/>
                      <a:pt x="415" y="0"/>
                      <a:pt x="408" y="0"/>
                    </a:cubicBezTo>
                    <a:cubicBezTo>
                      <a:pt x="45" y="0"/>
                      <a:pt x="45" y="0"/>
                      <a:pt x="45" y="0"/>
                    </a:cubicBezTo>
                    <a:cubicBezTo>
                      <a:pt x="37" y="0"/>
                      <a:pt x="31" y="6"/>
                      <a:pt x="31" y="14"/>
                    </a:cubicBezTo>
                    <a:cubicBezTo>
                      <a:pt x="31" y="211"/>
                      <a:pt x="31" y="211"/>
                      <a:pt x="31" y="211"/>
                    </a:cubicBezTo>
                    <a:cubicBezTo>
                      <a:pt x="31" y="228"/>
                      <a:pt x="31" y="228"/>
                      <a:pt x="31" y="228"/>
                    </a:cubicBezTo>
                    <a:cubicBezTo>
                      <a:pt x="31" y="249"/>
                      <a:pt x="31" y="249"/>
                      <a:pt x="31" y="249"/>
                    </a:cubicBezTo>
                    <a:cubicBezTo>
                      <a:pt x="14" y="249"/>
                      <a:pt x="14" y="249"/>
                      <a:pt x="14" y="249"/>
                    </a:cubicBezTo>
                    <a:cubicBezTo>
                      <a:pt x="7" y="249"/>
                      <a:pt x="0" y="255"/>
                      <a:pt x="0" y="263"/>
                    </a:cubicBezTo>
                    <a:cubicBezTo>
                      <a:pt x="0" y="282"/>
                      <a:pt x="0" y="282"/>
                      <a:pt x="0" y="282"/>
                    </a:cubicBezTo>
                    <a:cubicBezTo>
                      <a:pt x="0" y="289"/>
                      <a:pt x="7" y="296"/>
                      <a:pt x="14" y="296"/>
                    </a:cubicBezTo>
                    <a:cubicBezTo>
                      <a:pt x="438" y="296"/>
                      <a:pt x="438" y="296"/>
                      <a:pt x="438" y="296"/>
                    </a:cubicBezTo>
                    <a:cubicBezTo>
                      <a:pt x="446" y="296"/>
                      <a:pt x="452" y="289"/>
                      <a:pt x="452" y="282"/>
                    </a:cubicBezTo>
                    <a:cubicBezTo>
                      <a:pt x="452" y="263"/>
                      <a:pt x="452" y="263"/>
                      <a:pt x="452" y="263"/>
                    </a:cubicBezTo>
                    <a:cubicBezTo>
                      <a:pt x="452" y="255"/>
                      <a:pt x="446" y="249"/>
                      <a:pt x="438" y="249"/>
                    </a:cubicBezTo>
                    <a:close/>
                    <a:moveTo>
                      <a:pt x="436" y="280"/>
                    </a:moveTo>
                    <a:cubicBezTo>
                      <a:pt x="16" y="280"/>
                      <a:pt x="16" y="280"/>
                      <a:pt x="16" y="280"/>
                    </a:cubicBezTo>
                    <a:cubicBezTo>
                      <a:pt x="16" y="265"/>
                      <a:pt x="16" y="265"/>
                      <a:pt x="16" y="265"/>
                    </a:cubicBezTo>
                    <a:cubicBezTo>
                      <a:pt x="184" y="265"/>
                      <a:pt x="184" y="265"/>
                      <a:pt x="184" y="265"/>
                    </a:cubicBezTo>
                    <a:cubicBezTo>
                      <a:pt x="185" y="268"/>
                      <a:pt x="188" y="271"/>
                      <a:pt x="191" y="271"/>
                    </a:cubicBezTo>
                    <a:cubicBezTo>
                      <a:pt x="260" y="271"/>
                      <a:pt x="260" y="271"/>
                      <a:pt x="260" y="271"/>
                    </a:cubicBezTo>
                    <a:cubicBezTo>
                      <a:pt x="264" y="271"/>
                      <a:pt x="267" y="268"/>
                      <a:pt x="268" y="265"/>
                    </a:cubicBezTo>
                    <a:cubicBezTo>
                      <a:pt x="436" y="265"/>
                      <a:pt x="436" y="265"/>
                      <a:pt x="436" y="265"/>
                    </a:cubicBezTo>
                    <a:lnTo>
                      <a:pt x="436" y="280"/>
                    </a:lnTo>
                    <a:close/>
                    <a:moveTo>
                      <a:pt x="261" y="78"/>
                    </a:moveTo>
                    <a:cubicBezTo>
                      <a:pt x="261" y="65"/>
                      <a:pt x="250" y="55"/>
                      <a:pt x="237" y="55"/>
                    </a:cubicBezTo>
                    <a:cubicBezTo>
                      <a:pt x="224" y="55"/>
                      <a:pt x="214" y="65"/>
                      <a:pt x="214" y="78"/>
                    </a:cubicBezTo>
                    <a:cubicBezTo>
                      <a:pt x="214" y="91"/>
                      <a:pt x="224" y="102"/>
                      <a:pt x="237" y="102"/>
                    </a:cubicBezTo>
                    <a:cubicBezTo>
                      <a:pt x="250" y="102"/>
                      <a:pt x="261" y="91"/>
                      <a:pt x="261" y="78"/>
                    </a:cubicBezTo>
                    <a:close/>
                    <a:moveTo>
                      <a:pt x="146" y="136"/>
                    </a:moveTo>
                    <a:cubicBezTo>
                      <a:pt x="146" y="196"/>
                      <a:pt x="146" y="196"/>
                      <a:pt x="146" y="196"/>
                    </a:cubicBezTo>
                    <a:cubicBezTo>
                      <a:pt x="146" y="207"/>
                      <a:pt x="154" y="216"/>
                      <a:pt x="165" y="216"/>
                    </a:cubicBezTo>
                    <a:cubicBezTo>
                      <a:pt x="247" y="216"/>
                      <a:pt x="247" y="216"/>
                      <a:pt x="247" y="216"/>
                    </a:cubicBezTo>
                    <a:cubicBezTo>
                      <a:pt x="258" y="216"/>
                      <a:pt x="266" y="207"/>
                      <a:pt x="266" y="196"/>
                    </a:cubicBezTo>
                    <a:cubicBezTo>
                      <a:pt x="266" y="180"/>
                      <a:pt x="266" y="180"/>
                      <a:pt x="266" y="180"/>
                    </a:cubicBezTo>
                    <a:cubicBezTo>
                      <a:pt x="277" y="188"/>
                      <a:pt x="294" y="202"/>
                      <a:pt x="298" y="204"/>
                    </a:cubicBezTo>
                    <a:cubicBezTo>
                      <a:pt x="302" y="208"/>
                      <a:pt x="307" y="207"/>
                      <a:pt x="307" y="200"/>
                    </a:cubicBezTo>
                    <a:cubicBezTo>
                      <a:pt x="307" y="198"/>
                      <a:pt x="307" y="139"/>
                      <a:pt x="307" y="137"/>
                    </a:cubicBezTo>
                    <a:cubicBezTo>
                      <a:pt x="307" y="130"/>
                      <a:pt x="302" y="129"/>
                      <a:pt x="298" y="133"/>
                    </a:cubicBezTo>
                    <a:cubicBezTo>
                      <a:pt x="297" y="133"/>
                      <a:pt x="277" y="149"/>
                      <a:pt x="266" y="157"/>
                    </a:cubicBezTo>
                    <a:cubicBezTo>
                      <a:pt x="266" y="136"/>
                      <a:pt x="266" y="136"/>
                      <a:pt x="266" y="136"/>
                    </a:cubicBezTo>
                    <a:cubicBezTo>
                      <a:pt x="266" y="125"/>
                      <a:pt x="258" y="116"/>
                      <a:pt x="247" y="116"/>
                    </a:cubicBezTo>
                    <a:cubicBezTo>
                      <a:pt x="165" y="116"/>
                      <a:pt x="165" y="116"/>
                      <a:pt x="165" y="116"/>
                    </a:cubicBezTo>
                    <a:cubicBezTo>
                      <a:pt x="154" y="116"/>
                      <a:pt x="146" y="125"/>
                      <a:pt x="146" y="136"/>
                    </a:cubicBezTo>
                    <a:close/>
                    <a:moveTo>
                      <a:pt x="201" y="78"/>
                    </a:moveTo>
                    <a:cubicBezTo>
                      <a:pt x="201" y="65"/>
                      <a:pt x="190" y="55"/>
                      <a:pt x="178" y="55"/>
                    </a:cubicBezTo>
                    <a:cubicBezTo>
                      <a:pt x="165" y="55"/>
                      <a:pt x="154" y="65"/>
                      <a:pt x="154" y="78"/>
                    </a:cubicBezTo>
                    <a:cubicBezTo>
                      <a:pt x="154" y="91"/>
                      <a:pt x="165" y="102"/>
                      <a:pt x="178" y="102"/>
                    </a:cubicBezTo>
                    <a:cubicBezTo>
                      <a:pt x="190" y="102"/>
                      <a:pt x="201" y="91"/>
                      <a:pt x="201"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35" name="Freeform 3"/>
              <p:cNvSpPr>
                <a:spLocks noChangeAspect="1"/>
              </p:cNvSpPr>
              <p:nvPr/>
            </p:nvSpPr>
            <p:spPr bwMode="auto">
              <a:xfrm>
                <a:off x="6600775" y="2882161"/>
                <a:ext cx="161696" cy="157927"/>
              </a:xfrm>
              <a:custGeom>
                <a:avLst/>
                <a:gdLst>
                  <a:gd name="T0" fmla="*/ 2147483647 w 409"/>
                  <a:gd name="T1" fmla="*/ 2147483647 h 408"/>
                  <a:gd name="T2" fmla="*/ 2147483647 w 409"/>
                  <a:gd name="T3" fmla="*/ 2147483647 h 408"/>
                  <a:gd name="T4" fmla="*/ 2147483647 w 409"/>
                  <a:gd name="T5" fmla="*/ 2147483647 h 408"/>
                  <a:gd name="T6" fmla="*/ 2147483647 w 409"/>
                  <a:gd name="T7" fmla="*/ 2147483647 h 408"/>
                  <a:gd name="T8" fmla="*/ 2147483647 w 409"/>
                  <a:gd name="T9" fmla="*/ 2147483647 h 408"/>
                  <a:gd name="T10" fmla="*/ 2147483647 w 409"/>
                  <a:gd name="T11" fmla="*/ 2147483647 h 408"/>
                  <a:gd name="T12" fmla="*/ 2147483647 w 409"/>
                  <a:gd name="T13" fmla="*/ 2147483647 h 408"/>
                  <a:gd name="T14" fmla="*/ 2147483647 w 409"/>
                  <a:gd name="T15" fmla="*/ 2147483647 h 408"/>
                  <a:gd name="T16" fmla="*/ 2147483647 w 409"/>
                  <a:gd name="T17" fmla="*/ 2147483647 h 408"/>
                  <a:gd name="T18" fmla="*/ 2147483647 w 409"/>
                  <a:gd name="T19" fmla="*/ 2147483647 h 408"/>
                  <a:gd name="T20" fmla="*/ 2147483647 w 409"/>
                  <a:gd name="T21" fmla="*/ 2147483647 h 408"/>
                  <a:gd name="T22" fmla="*/ 2147483647 w 409"/>
                  <a:gd name="T23" fmla="*/ 2147483647 h 408"/>
                  <a:gd name="T24" fmla="*/ 2147483647 w 409"/>
                  <a:gd name="T25" fmla="*/ 2147483647 h 408"/>
                  <a:gd name="T26" fmla="*/ 2147483647 w 409"/>
                  <a:gd name="T27" fmla="*/ 2147483647 h 408"/>
                  <a:gd name="T28" fmla="*/ 2147483647 w 409"/>
                  <a:gd name="T29" fmla="*/ 2147483647 h 408"/>
                  <a:gd name="T30" fmla="*/ 2147483647 w 409"/>
                  <a:gd name="T31" fmla="*/ 2147483647 h 408"/>
                  <a:gd name="T32" fmla="*/ 2147483647 w 409"/>
                  <a:gd name="T33" fmla="*/ 2147483647 h 408"/>
                  <a:gd name="T34" fmla="*/ 2147483647 w 409"/>
                  <a:gd name="T35" fmla="*/ 2147483647 h 408"/>
                  <a:gd name="T36" fmla="*/ 2147483647 w 409"/>
                  <a:gd name="T37" fmla="*/ 2147483647 h 408"/>
                  <a:gd name="T38" fmla="*/ 2147483647 w 409"/>
                  <a:gd name="T39" fmla="*/ 2147483647 h 408"/>
                  <a:gd name="T40" fmla="*/ 2147483647 w 409"/>
                  <a:gd name="T41" fmla="*/ 2147483647 h 408"/>
                  <a:gd name="T42" fmla="*/ 2147483647 w 409"/>
                  <a:gd name="T43" fmla="*/ 2147483647 h 408"/>
                  <a:gd name="T44" fmla="*/ 2147483647 w 409"/>
                  <a:gd name="T45" fmla="*/ 2147483647 h 408"/>
                  <a:gd name="T46" fmla="*/ 2147483647 w 409"/>
                  <a:gd name="T47" fmla="*/ 2147483647 h 408"/>
                  <a:gd name="T48" fmla="*/ 2147483647 w 409"/>
                  <a:gd name="T49" fmla="*/ 2147483647 h 408"/>
                  <a:gd name="T50" fmla="*/ 2147483647 w 409"/>
                  <a:gd name="T51" fmla="*/ 2147483647 h 408"/>
                  <a:gd name="T52" fmla="*/ 2147483647 w 409"/>
                  <a:gd name="T53" fmla="*/ 2147483647 h 408"/>
                  <a:gd name="T54" fmla="*/ 2147483647 w 409"/>
                  <a:gd name="T55" fmla="*/ 2147483647 h 408"/>
                  <a:gd name="T56" fmla="*/ 2147483647 w 409"/>
                  <a:gd name="T57" fmla="*/ 2147483647 h 408"/>
                  <a:gd name="T58" fmla="*/ 2147483647 w 409"/>
                  <a:gd name="T59" fmla="*/ 2147483647 h 408"/>
                  <a:gd name="T60" fmla="*/ 2147483647 w 409"/>
                  <a:gd name="T61" fmla="*/ 2147483647 h 408"/>
                  <a:gd name="T62" fmla="*/ 2147483647 w 409"/>
                  <a:gd name="T63" fmla="*/ 2147483647 h 408"/>
                  <a:gd name="T64" fmla="*/ 2147483647 w 409"/>
                  <a:gd name="T65" fmla="*/ 2147483647 h 408"/>
                  <a:gd name="T66" fmla="*/ 2147483647 w 409"/>
                  <a:gd name="T67" fmla="*/ 2147483647 h 408"/>
                  <a:gd name="T68" fmla="*/ 2147483647 w 409"/>
                  <a:gd name="T69" fmla="*/ 2147483647 h 408"/>
                  <a:gd name="T70" fmla="*/ 2147483647 w 409"/>
                  <a:gd name="T71" fmla="*/ 2147483647 h 408"/>
                  <a:gd name="T72" fmla="*/ 2147483647 w 409"/>
                  <a:gd name="T73" fmla="*/ 2147483647 h 408"/>
                  <a:gd name="T74" fmla="*/ 2147483647 w 409"/>
                  <a:gd name="T75" fmla="*/ 2147483647 h 408"/>
                  <a:gd name="T76" fmla="*/ 2147483647 w 409"/>
                  <a:gd name="T77" fmla="*/ 2147483647 h 408"/>
                  <a:gd name="T78" fmla="*/ 2147483647 w 409"/>
                  <a:gd name="T79" fmla="*/ 2147483647 h 408"/>
                  <a:gd name="T80" fmla="*/ 2147483647 w 409"/>
                  <a:gd name="T81" fmla="*/ 2147483647 h 408"/>
                  <a:gd name="T82" fmla="*/ 2147483647 w 409"/>
                  <a:gd name="T83" fmla="*/ 2147483647 h 408"/>
                  <a:gd name="T84" fmla="*/ 2147483647 w 409"/>
                  <a:gd name="T85" fmla="*/ 2147483647 h 408"/>
                  <a:gd name="T86" fmla="*/ 2147483647 w 409"/>
                  <a:gd name="T87" fmla="*/ 2147483647 h 408"/>
                  <a:gd name="T88" fmla="*/ 2147483647 w 409"/>
                  <a:gd name="T89" fmla="*/ 2147483647 h 408"/>
                  <a:gd name="T90" fmla="*/ 2147483647 w 409"/>
                  <a:gd name="T91" fmla="*/ 2147483647 h 408"/>
                  <a:gd name="T92" fmla="*/ 2147483647 w 409"/>
                  <a:gd name="T93" fmla="*/ 2147483647 h 408"/>
                  <a:gd name="T94" fmla="*/ 2147483647 w 409"/>
                  <a:gd name="T95" fmla="*/ 2147483647 h 408"/>
                  <a:gd name="T96" fmla="*/ 2147483647 w 409"/>
                  <a:gd name="T97" fmla="*/ 2147483647 h 408"/>
                  <a:gd name="T98" fmla="*/ 2147483647 w 409"/>
                  <a:gd name="T99" fmla="*/ 2147483647 h 408"/>
                  <a:gd name="T100" fmla="*/ 2147483647 w 409"/>
                  <a:gd name="T101" fmla="*/ 2147483647 h 408"/>
                  <a:gd name="T102" fmla="*/ 2147483647 w 409"/>
                  <a:gd name="T103" fmla="*/ 2147483647 h 408"/>
                  <a:gd name="T104" fmla="*/ 2147483647 w 409"/>
                  <a:gd name="T105" fmla="*/ 2147483647 h 408"/>
                  <a:gd name="T106" fmla="*/ 2147483647 w 409"/>
                  <a:gd name="T107" fmla="*/ 2147483647 h 408"/>
                  <a:gd name="T108" fmla="*/ 2147483647 w 409"/>
                  <a:gd name="T109" fmla="*/ 2147483647 h 408"/>
                  <a:gd name="T110" fmla="*/ 2147483647 w 409"/>
                  <a:gd name="T111" fmla="*/ 2147483647 h 408"/>
                  <a:gd name="T112" fmla="*/ 2147483647 w 409"/>
                  <a:gd name="T113" fmla="*/ 2147483647 h 408"/>
                  <a:gd name="T114" fmla="*/ 2147483647 w 409"/>
                  <a:gd name="T115" fmla="*/ 2147483647 h 408"/>
                  <a:gd name="T116" fmla="*/ 2147483647 w 409"/>
                  <a:gd name="T117" fmla="*/ 2147483647 h 40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409" h="408">
                    <a:moveTo>
                      <a:pt x="364" y="266"/>
                    </a:moveTo>
                    <a:cubicBezTo>
                      <a:pt x="358" y="260"/>
                      <a:pt x="347" y="260"/>
                      <a:pt x="335" y="266"/>
                    </a:cubicBezTo>
                    <a:cubicBezTo>
                      <a:pt x="329" y="242"/>
                      <a:pt x="329" y="242"/>
                      <a:pt x="329" y="242"/>
                    </a:cubicBezTo>
                    <a:cubicBezTo>
                      <a:pt x="330" y="241"/>
                      <a:pt x="332" y="240"/>
                      <a:pt x="333" y="239"/>
                    </a:cubicBezTo>
                    <a:cubicBezTo>
                      <a:pt x="340" y="232"/>
                      <a:pt x="346" y="223"/>
                      <a:pt x="349" y="216"/>
                    </a:cubicBezTo>
                    <a:cubicBezTo>
                      <a:pt x="354" y="202"/>
                      <a:pt x="350" y="195"/>
                      <a:pt x="346" y="192"/>
                    </a:cubicBezTo>
                    <a:cubicBezTo>
                      <a:pt x="340" y="186"/>
                      <a:pt x="330" y="186"/>
                      <a:pt x="318" y="192"/>
                    </a:cubicBezTo>
                    <a:cubicBezTo>
                      <a:pt x="307" y="146"/>
                      <a:pt x="307" y="146"/>
                      <a:pt x="307" y="146"/>
                    </a:cubicBezTo>
                    <a:cubicBezTo>
                      <a:pt x="364" y="90"/>
                      <a:pt x="364" y="90"/>
                      <a:pt x="364" y="90"/>
                    </a:cubicBezTo>
                    <a:cubicBezTo>
                      <a:pt x="375" y="78"/>
                      <a:pt x="409" y="37"/>
                      <a:pt x="390" y="19"/>
                    </a:cubicBezTo>
                    <a:cubicBezTo>
                      <a:pt x="372" y="0"/>
                      <a:pt x="331" y="34"/>
                      <a:pt x="319" y="46"/>
                    </a:cubicBezTo>
                    <a:cubicBezTo>
                      <a:pt x="263" y="102"/>
                      <a:pt x="263" y="102"/>
                      <a:pt x="263" y="102"/>
                    </a:cubicBezTo>
                    <a:cubicBezTo>
                      <a:pt x="216" y="91"/>
                      <a:pt x="216" y="91"/>
                      <a:pt x="216" y="91"/>
                    </a:cubicBezTo>
                    <a:cubicBezTo>
                      <a:pt x="223" y="79"/>
                      <a:pt x="223" y="68"/>
                      <a:pt x="216" y="62"/>
                    </a:cubicBezTo>
                    <a:cubicBezTo>
                      <a:pt x="213" y="59"/>
                      <a:pt x="206" y="54"/>
                      <a:pt x="193" y="60"/>
                    </a:cubicBezTo>
                    <a:cubicBezTo>
                      <a:pt x="185" y="63"/>
                      <a:pt x="177" y="68"/>
                      <a:pt x="169" y="76"/>
                    </a:cubicBezTo>
                    <a:cubicBezTo>
                      <a:pt x="168" y="77"/>
                      <a:pt x="167" y="78"/>
                      <a:pt x="166" y="79"/>
                    </a:cubicBezTo>
                    <a:cubicBezTo>
                      <a:pt x="144" y="75"/>
                      <a:pt x="144" y="75"/>
                      <a:pt x="144" y="75"/>
                    </a:cubicBezTo>
                    <a:cubicBezTo>
                      <a:pt x="150" y="63"/>
                      <a:pt x="150" y="52"/>
                      <a:pt x="144" y="46"/>
                    </a:cubicBezTo>
                    <a:cubicBezTo>
                      <a:pt x="133" y="35"/>
                      <a:pt x="112" y="45"/>
                      <a:pt x="97" y="60"/>
                    </a:cubicBezTo>
                    <a:cubicBezTo>
                      <a:pt x="96" y="61"/>
                      <a:pt x="95" y="62"/>
                      <a:pt x="94" y="63"/>
                    </a:cubicBezTo>
                    <a:cubicBezTo>
                      <a:pt x="50" y="53"/>
                      <a:pt x="50" y="53"/>
                      <a:pt x="50" y="53"/>
                    </a:cubicBezTo>
                    <a:cubicBezTo>
                      <a:pt x="48" y="53"/>
                      <a:pt x="45" y="54"/>
                      <a:pt x="43" y="55"/>
                    </a:cubicBezTo>
                    <a:cubicBezTo>
                      <a:pt x="13" y="86"/>
                      <a:pt x="13" y="86"/>
                      <a:pt x="13" y="86"/>
                    </a:cubicBezTo>
                    <a:cubicBezTo>
                      <a:pt x="11" y="87"/>
                      <a:pt x="10" y="90"/>
                      <a:pt x="10" y="92"/>
                    </a:cubicBezTo>
                    <a:cubicBezTo>
                      <a:pt x="11" y="95"/>
                      <a:pt x="12" y="97"/>
                      <a:pt x="15" y="98"/>
                    </a:cubicBezTo>
                    <a:cubicBezTo>
                      <a:pt x="31" y="108"/>
                      <a:pt x="31" y="108"/>
                      <a:pt x="31" y="108"/>
                    </a:cubicBezTo>
                    <a:cubicBezTo>
                      <a:pt x="35" y="110"/>
                      <a:pt x="40" y="108"/>
                      <a:pt x="42" y="104"/>
                    </a:cubicBezTo>
                    <a:cubicBezTo>
                      <a:pt x="44" y="100"/>
                      <a:pt x="43" y="96"/>
                      <a:pt x="39" y="94"/>
                    </a:cubicBezTo>
                    <a:cubicBezTo>
                      <a:pt x="32" y="89"/>
                      <a:pt x="32" y="89"/>
                      <a:pt x="32" y="89"/>
                    </a:cubicBezTo>
                    <a:cubicBezTo>
                      <a:pt x="51" y="70"/>
                      <a:pt x="51" y="70"/>
                      <a:pt x="51" y="70"/>
                    </a:cubicBezTo>
                    <a:cubicBezTo>
                      <a:pt x="95" y="80"/>
                      <a:pt x="95" y="80"/>
                      <a:pt x="95" y="80"/>
                    </a:cubicBezTo>
                    <a:cubicBezTo>
                      <a:pt x="98" y="81"/>
                      <a:pt x="101" y="79"/>
                      <a:pt x="103" y="77"/>
                    </a:cubicBezTo>
                    <a:cubicBezTo>
                      <a:pt x="104" y="75"/>
                      <a:pt x="106" y="73"/>
                      <a:pt x="108" y="71"/>
                    </a:cubicBezTo>
                    <a:cubicBezTo>
                      <a:pt x="120" y="59"/>
                      <a:pt x="130" y="57"/>
                      <a:pt x="133" y="57"/>
                    </a:cubicBezTo>
                    <a:cubicBezTo>
                      <a:pt x="133" y="59"/>
                      <a:pt x="132" y="66"/>
                      <a:pt x="125" y="75"/>
                    </a:cubicBezTo>
                    <a:cubicBezTo>
                      <a:pt x="123" y="77"/>
                      <a:pt x="123" y="80"/>
                      <a:pt x="124" y="83"/>
                    </a:cubicBezTo>
                    <a:cubicBezTo>
                      <a:pt x="124" y="85"/>
                      <a:pt x="127" y="87"/>
                      <a:pt x="129" y="88"/>
                    </a:cubicBezTo>
                    <a:cubicBezTo>
                      <a:pt x="167" y="96"/>
                      <a:pt x="167" y="96"/>
                      <a:pt x="167" y="96"/>
                    </a:cubicBezTo>
                    <a:cubicBezTo>
                      <a:pt x="170" y="97"/>
                      <a:pt x="173" y="96"/>
                      <a:pt x="175" y="93"/>
                    </a:cubicBezTo>
                    <a:cubicBezTo>
                      <a:pt x="177" y="91"/>
                      <a:pt x="179" y="89"/>
                      <a:pt x="180" y="87"/>
                    </a:cubicBezTo>
                    <a:cubicBezTo>
                      <a:pt x="192" y="75"/>
                      <a:pt x="202" y="73"/>
                      <a:pt x="205" y="73"/>
                    </a:cubicBezTo>
                    <a:cubicBezTo>
                      <a:pt x="205" y="75"/>
                      <a:pt x="204" y="82"/>
                      <a:pt x="197" y="91"/>
                    </a:cubicBezTo>
                    <a:cubicBezTo>
                      <a:pt x="195" y="93"/>
                      <a:pt x="195" y="96"/>
                      <a:pt x="196" y="99"/>
                    </a:cubicBezTo>
                    <a:cubicBezTo>
                      <a:pt x="197" y="101"/>
                      <a:pt x="199" y="103"/>
                      <a:pt x="201" y="104"/>
                    </a:cubicBezTo>
                    <a:cubicBezTo>
                      <a:pt x="264" y="118"/>
                      <a:pt x="264" y="118"/>
                      <a:pt x="264" y="118"/>
                    </a:cubicBezTo>
                    <a:cubicBezTo>
                      <a:pt x="267" y="119"/>
                      <a:pt x="269" y="118"/>
                      <a:pt x="271" y="116"/>
                    </a:cubicBezTo>
                    <a:cubicBezTo>
                      <a:pt x="330" y="57"/>
                      <a:pt x="330" y="57"/>
                      <a:pt x="330" y="57"/>
                    </a:cubicBezTo>
                    <a:cubicBezTo>
                      <a:pt x="350" y="39"/>
                      <a:pt x="374" y="25"/>
                      <a:pt x="379" y="30"/>
                    </a:cubicBezTo>
                    <a:cubicBezTo>
                      <a:pt x="384" y="35"/>
                      <a:pt x="370" y="59"/>
                      <a:pt x="352" y="79"/>
                    </a:cubicBezTo>
                    <a:cubicBezTo>
                      <a:pt x="293" y="138"/>
                      <a:pt x="293" y="138"/>
                      <a:pt x="293" y="138"/>
                    </a:cubicBezTo>
                    <a:cubicBezTo>
                      <a:pt x="291" y="140"/>
                      <a:pt x="290" y="142"/>
                      <a:pt x="291" y="145"/>
                    </a:cubicBezTo>
                    <a:cubicBezTo>
                      <a:pt x="305" y="207"/>
                      <a:pt x="305" y="207"/>
                      <a:pt x="305" y="207"/>
                    </a:cubicBezTo>
                    <a:cubicBezTo>
                      <a:pt x="305" y="209"/>
                      <a:pt x="307" y="211"/>
                      <a:pt x="310" y="212"/>
                    </a:cubicBezTo>
                    <a:cubicBezTo>
                      <a:pt x="312" y="213"/>
                      <a:pt x="315" y="213"/>
                      <a:pt x="317" y="211"/>
                    </a:cubicBezTo>
                    <a:cubicBezTo>
                      <a:pt x="327" y="204"/>
                      <a:pt x="333" y="203"/>
                      <a:pt x="335" y="203"/>
                    </a:cubicBezTo>
                    <a:cubicBezTo>
                      <a:pt x="336" y="206"/>
                      <a:pt x="333" y="216"/>
                      <a:pt x="321" y="228"/>
                    </a:cubicBezTo>
                    <a:cubicBezTo>
                      <a:pt x="319" y="230"/>
                      <a:pt x="317" y="231"/>
                      <a:pt x="315" y="233"/>
                    </a:cubicBezTo>
                    <a:cubicBezTo>
                      <a:pt x="313" y="235"/>
                      <a:pt x="312" y="238"/>
                      <a:pt x="313" y="241"/>
                    </a:cubicBezTo>
                    <a:cubicBezTo>
                      <a:pt x="322" y="281"/>
                      <a:pt x="322" y="281"/>
                      <a:pt x="322" y="281"/>
                    </a:cubicBezTo>
                    <a:cubicBezTo>
                      <a:pt x="322" y="284"/>
                      <a:pt x="324" y="286"/>
                      <a:pt x="327" y="287"/>
                    </a:cubicBezTo>
                    <a:cubicBezTo>
                      <a:pt x="329" y="288"/>
                      <a:pt x="332" y="287"/>
                      <a:pt x="334" y="286"/>
                    </a:cubicBezTo>
                    <a:cubicBezTo>
                      <a:pt x="344" y="278"/>
                      <a:pt x="351" y="277"/>
                      <a:pt x="353" y="277"/>
                    </a:cubicBezTo>
                    <a:cubicBezTo>
                      <a:pt x="353" y="280"/>
                      <a:pt x="350" y="290"/>
                      <a:pt x="339" y="302"/>
                    </a:cubicBezTo>
                    <a:cubicBezTo>
                      <a:pt x="337" y="304"/>
                      <a:pt x="335" y="306"/>
                      <a:pt x="332" y="307"/>
                    </a:cubicBezTo>
                    <a:cubicBezTo>
                      <a:pt x="330" y="309"/>
                      <a:pt x="329" y="313"/>
                      <a:pt x="330" y="316"/>
                    </a:cubicBezTo>
                    <a:cubicBezTo>
                      <a:pt x="339" y="358"/>
                      <a:pt x="339" y="358"/>
                      <a:pt x="339" y="358"/>
                    </a:cubicBezTo>
                    <a:cubicBezTo>
                      <a:pt x="320" y="377"/>
                      <a:pt x="320" y="377"/>
                      <a:pt x="320" y="377"/>
                    </a:cubicBezTo>
                    <a:cubicBezTo>
                      <a:pt x="233" y="220"/>
                      <a:pt x="233" y="220"/>
                      <a:pt x="233" y="220"/>
                    </a:cubicBezTo>
                    <a:cubicBezTo>
                      <a:pt x="232" y="218"/>
                      <a:pt x="230" y="216"/>
                      <a:pt x="228" y="216"/>
                    </a:cubicBezTo>
                    <a:cubicBezTo>
                      <a:pt x="225" y="215"/>
                      <a:pt x="223" y="216"/>
                      <a:pt x="221" y="218"/>
                    </a:cubicBezTo>
                    <a:cubicBezTo>
                      <a:pt x="132" y="296"/>
                      <a:pt x="132" y="296"/>
                      <a:pt x="132" y="296"/>
                    </a:cubicBezTo>
                    <a:cubicBezTo>
                      <a:pt x="130" y="298"/>
                      <a:pt x="129" y="300"/>
                      <a:pt x="130" y="303"/>
                    </a:cubicBezTo>
                    <a:cubicBezTo>
                      <a:pt x="136" y="384"/>
                      <a:pt x="136" y="384"/>
                      <a:pt x="136" y="384"/>
                    </a:cubicBezTo>
                    <a:cubicBezTo>
                      <a:pt x="130" y="388"/>
                      <a:pt x="130" y="388"/>
                      <a:pt x="130" y="388"/>
                    </a:cubicBezTo>
                    <a:cubicBezTo>
                      <a:pt x="102" y="335"/>
                      <a:pt x="102" y="335"/>
                      <a:pt x="102" y="335"/>
                    </a:cubicBezTo>
                    <a:cubicBezTo>
                      <a:pt x="101" y="333"/>
                      <a:pt x="99" y="332"/>
                      <a:pt x="97" y="331"/>
                    </a:cubicBezTo>
                    <a:cubicBezTo>
                      <a:pt x="94" y="331"/>
                      <a:pt x="92" y="331"/>
                      <a:pt x="90" y="333"/>
                    </a:cubicBezTo>
                    <a:cubicBezTo>
                      <a:pt x="66" y="352"/>
                      <a:pt x="57" y="355"/>
                      <a:pt x="54" y="355"/>
                    </a:cubicBezTo>
                    <a:cubicBezTo>
                      <a:pt x="54" y="352"/>
                      <a:pt x="57" y="343"/>
                      <a:pt x="76" y="319"/>
                    </a:cubicBezTo>
                    <a:cubicBezTo>
                      <a:pt x="78" y="317"/>
                      <a:pt x="78" y="315"/>
                      <a:pt x="78" y="312"/>
                    </a:cubicBezTo>
                    <a:cubicBezTo>
                      <a:pt x="77" y="310"/>
                      <a:pt x="76" y="308"/>
                      <a:pt x="74" y="307"/>
                    </a:cubicBezTo>
                    <a:cubicBezTo>
                      <a:pt x="21" y="279"/>
                      <a:pt x="21" y="279"/>
                      <a:pt x="21" y="279"/>
                    </a:cubicBezTo>
                    <a:cubicBezTo>
                      <a:pt x="25" y="273"/>
                      <a:pt x="25" y="273"/>
                      <a:pt x="25" y="273"/>
                    </a:cubicBezTo>
                    <a:cubicBezTo>
                      <a:pt x="106" y="279"/>
                      <a:pt x="106" y="279"/>
                      <a:pt x="106" y="279"/>
                    </a:cubicBezTo>
                    <a:cubicBezTo>
                      <a:pt x="109" y="280"/>
                      <a:pt x="111" y="279"/>
                      <a:pt x="113" y="277"/>
                    </a:cubicBezTo>
                    <a:cubicBezTo>
                      <a:pt x="191" y="188"/>
                      <a:pt x="191" y="188"/>
                      <a:pt x="191" y="188"/>
                    </a:cubicBezTo>
                    <a:cubicBezTo>
                      <a:pt x="193" y="186"/>
                      <a:pt x="193" y="184"/>
                      <a:pt x="193" y="181"/>
                    </a:cubicBezTo>
                    <a:cubicBezTo>
                      <a:pt x="192" y="179"/>
                      <a:pt x="191" y="177"/>
                      <a:pt x="189" y="176"/>
                    </a:cubicBezTo>
                    <a:cubicBezTo>
                      <a:pt x="67" y="109"/>
                      <a:pt x="67" y="109"/>
                      <a:pt x="67" y="109"/>
                    </a:cubicBezTo>
                    <a:cubicBezTo>
                      <a:pt x="63" y="107"/>
                      <a:pt x="58" y="108"/>
                      <a:pt x="56" y="112"/>
                    </a:cubicBezTo>
                    <a:cubicBezTo>
                      <a:pt x="54" y="116"/>
                      <a:pt x="55" y="121"/>
                      <a:pt x="59" y="123"/>
                    </a:cubicBezTo>
                    <a:cubicBezTo>
                      <a:pt x="172" y="185"/>
                      <a:pt x="172" y="185"/>
                      <a:pt x="172" y="185"/>
                    </a:cubicBezTo>
                    <a:cubicBezTo>
                      <a:pt x="103" y="263"/>
                      <a:pt x="103" y="263"/>
                      <a:pt x="103" y="263"/>
                    </a:cubicBezTo>
                    <a:cubicBezTo>
                      <a:pt x="22" y="257"/>
                      <a:pt x="22" y="257"/>
                      <a:pt x="22" y="257"/>
                    </a:cubicBezTo>
                    <a:cubicBezTo>
                      <a:pt x="19" y="257"/>
                      <a:pt x="17" y="258"/>
                      <a:pt x="15" y="260"/>
                    </a:cubicBezTo>
                    <a:cubicBezTo>
                      <a:pt x="2" y="277"/>
                      <a:pt x="2" y="277"/>
                      <a:pt x="2" y="277"/>
                    </a:cubicBezTo>
                    <a:cubicBezTo>
                      <a:pt x="1" y="279"/>
                      <a:pt x="0" y="282"/>
                      <a:pt x="1" y="284"/>
                    </a:cubicBezTo>
                    <a:cubicBezTo>
                      <a:pt x="1" y="286"/>
                      <a:pt x="3" y="288"/>
                      <a:pt x="5" y="289"/>
                    </a:cubicBezTo>
                    <a:cubicBezTo>
                      <a:pt x="58" y="316"/>
                      <a:pt x="58" y="316"/>
                      <a:pt x="58" y="316"/>
                    </a:cubicBezTo>
                    <a:cubicBezTo>
                      <a:pt x="38" y="343"/>
                      <a:pt x="33" y="358"/>
                      <a:pt x="42" y="367"/>
                    </a:cubicBezTo>
                    <a:cubicBezTo>
                      <a:pt x="51" y="376"/>
                      <a:pt x="66" y="371"/>
                      <a:pt x="93" y="351"/>
                    </a:cubicBezTo>
                    <a:cubicBezTo>
                      <a:pt x="120" y="404"/>
                      <a:pt x="120" y="404"/>
                      <a:pt x="120" y="404"/>
                    </a:cubicBezTo>
                    <a:cubicBezTo>
                      <a:pt x="121" y="406"/>
                      <a:pt x="123" y="408"/>
                      <a:pt x="125" y="408"/>
                    </a:cubicBezTo>
                    <a:cubicBezTo>
                      <a:pt x="126" y="408"/>
                      <a:pt x="126" y="408"/>
                      <a:pt x="127" y="408"/>
                    </a:cubicBezTo>
                    <a:cubicBezTo>
                      <a:pt x="129" y="408"/>
                      <a:pt x="130" y="408"/>
                      <a:pt x="132" y="407"/>
                    </a:cubicBezTo>
                    <a:cubicBezTo>
                      <a:pt x="149" y="394"/>
                      <a:pt x="149" y="394"/>
                      <a:pt x="149" y="394"/>
                    </a:cubicBezTo>
                    <a:cubicBezTo>
                      <a:pt x="151" y="392"/>
                      <a:pt x="152" y="390"/>
                      <a:pt x="152" y="387"/>
                    </a:cubicBezTo>
                    <a:cubicBezTo>
                      <a:pt x="146" y="306"/>
                      <a:pt x="146" y="306"/>
                      <a:pt x="146" y="306"/>
                    </a:cubicBezTo>
                    <a:cubicBezTo>
                      <a:pt x="224" y="236"/>
                      <a:pt x="224" y="236"/>
                      <a:pt x="224" y="236"/>
                    </a:cubicBezTo>
                    <a:cubicBezTo>
                      <a:pt x="311" y="394"/>
                      <a:pt x="311" y="394"/>
                      <a:pt x="311" y="394"/>
                    </a:cubicBezTo>
                    <a:cubicBezTo>
                      <a:pt x="312" y="397"/>
                      <a:pt x="314" y="398"/>
                      <a:pt x="317" y="399"/>
                    </a:cubicBezTo>
                    <a:cubicBezTo>
                      <a:pt x="319" y="399"/>
                      <a:pt x="322" y="398"/>
                      <a:pt x="323" y="396"/>
                    </a:cubicBezTo>
                    <a:cubicBezTo>
                      <a:pt x="354" y="366"/>
                      <a:pt x="354" y="366"/>
                      <a:pt x="354" y="366"/>
                    </a:cubicBezTo>
                    <a:cubicBezTo>
                      <a:pt x="355" y="364"/>
                      <a:pt x="356" y="361"/>
                      <a:pt x="356" y="359"/>
                    </a:cubicBezTo>
                    <a:cubicBezTo>
                      <a:pt x="346" y="317"/>
                      <a:pt x="346" y="317"/>
                      <a:pt x="346" y="317"/>
                    </a:cubicBezTo>
                    <a:cubicBezTo>
                      <a:pt x="348" y="316"/>
                      <a:pt x="349" y="314"/>
                      <a:pt x="350" y="313"/>
                    </a:cubicBezTo>
                    <a:cubicBezTo>
                      <a:pt x="365" y="298"/>
                      <a:pt x="375" y="277"/>
                      <a:pt x="364" y="2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36" name="Freeform 3"/>
              <p:cNvSpPr>
                <a:spLocks noChangeAspect="1" noEditPoints="1"/>
              </p:cNvSpPr>
              <p:nvPr/>
            </p:nvSpPr>
            <p:spPr bwMode="auto">
              <a:xfrm>
                <a:off x="6571787" y="3459721"/>
                <a:ext cx="190684" cy="71171"/>
              </a:xfrm>
              <a:custGeom>
                <a:avLst/>
                <a:gdLst>
                  <a:gd name="T0" fmla="*/ 2147483647 w 482"/>
                  <a:gd name="T1" fmla="*/ 2147483647 h 184"/>
                  <a:gd name="T2" fmla="*/ 2147483647 w 482"/>
                  <a:gd name="T3" fmla="*/ 2147483647 h 184"/>
                  <a:gd name="T4" fmla="*/ 2147483647 w 482"/>
                  <a:gd name="T5" fmla="*/ 2147483647 h 184"/>
                  <a:gd name="T6" fmla="*/ 2147483647 w 482"/>
                  <a:gd name="T7" fmla="*/ 2147483647 h 184"/>
                  <a:gd name="T8" fmla="*/ 2147483647 w 482"/>
                  <a:gd name="T9" fmla="*/ 2147483647 h 184"/>
                  <a:gd name="T10" fmla="*/ 2147483647 w 482"/>
                  <a:gd name="T11" fmla="*/ 2147483647 h 184"/>
                  <a:gd name="T12" fmla="*/ 2147483647 w 482"/>
                  <a:gd name="T13" fmla="*/ 2147483647 h 184"/>
                  <a:gd name="T14" fmla="*/ 2147483647 w 482"/>
                  <a:gd name="T15" fmla="*/ 0 h 184"/>
                  <a:gd name="T16" fmla="*/ 0 w 482"/>
                  <a:gd name="T17" fmla="*/ 2147483647 h 184"/>
                  <a:gd name="T18" fmla="*/ 2147483647 w 482"/>
                  <a:gd name="T19" fmla="*/ 2147483647 h 184"/>
                  <a:gd name="T20" fmla="*/ 2147483647 w 482"/>
                  <a:gd name="T21" fmla="*/ 2147483647 h 184"/>
                  <a:gd name="T22" fmla="*/ 2147483647 w 482"/>
                  <a:gd name="T23" fmla="*/ 2147483647 h 184"/>
                  <a:gd name="T24" fmla="*/ 2147483647 w 482"/>
                  <a:gd name="T25" fmla="*/ 2147483647 h 184"/>
                  <a:gd name="T26" fmla="*/ 2147483647 w 482"/>
                  <a:gd name="T27" fmla="*/ 2147483647 h 184"/>
                  <a:gd name="T28" fmla="*/ 2147483647 w 482"/>
                  <a:gd name="T29" fmla="*/ 2147483647 h 184"/>
                  <a:gd name="T30" fmla="*/ 2147483647 w 482"/>
                  <a:gd name="T31" fmla="*/ 2147483647 h 184"/>
                  <a:gd name="T32" fmla="*/ 2147483647 w 482"/>
                  <a:gd name="T33" fmla="*/ 2147483647 h 184"/>
                  <a:gd name="T34" fmla="*/ 2147483647 w 482"/>
                  <a:gd name="T35" fmla="*/ 2147483647 h 184"/>
                  <a:gd name="T36" fmla="*/ 2147483647 w 482"/>
                  <a:gd name="T37" fmla="*/ 2147483647 h 184"/>
                  <a:gd name="T38" fmla="*/ 2147483647 w 482"/>
                  <a:gd name="T39" fmla="*/ 2147483647 h 184"/>
                  <a:gd name="T40" fmla="*/ 2147483647 w 482"/>
                  <a:gd name="T41" fmla="*/ 2147483647 h 184"/>
                  <a:gd name="T42" fmla="*/ 2147483647 w 482"/>
                  <a:gd name="T43" fmla="*/ 2147483647 h 184"/>
                  <a:gd name="T44" fmla="*/ 2147483647 w 482"/>
                  <a:gd name="T45" fmla="*/ 2147483647 h 184"/>
                  <a:gd name="T46" fmla="*/ 2147483647 w 482"/>
                  <a:gd name="T47" fmla="*/ 2147483647 h 184"/>
                  <a:gd name="T48" fmla="*/ 2147483647 w 482"/>
                  <a:gd name="T49" fmla="*/ 2147483647 h 184"/>
                  <a:gd name="T50" fmla="*/ 2147483647 w 482"/>
                  <a:gd name="T51" fmla="*/ 2147483647 h 184"/>
                  <a:gd name="T52" fmla="*/ 2147483647 w 482"/>
                  <a:gd name="T53" fmla="*/ 2147483647 h 184"/>
                  <a:gd name="T54" fmla="*/ 2147483647 w 482"/>
                  <a:gd name="T55" fmla="*/ 2147483647 h 184"/>
                  <a:gd name="T56" fmla="*/ 2147483647 w 482"/>
                  <a:gd name="T57" fmla="*/ 2147483647 h 184"/>
                  <a:gd name="T58" fmla="*/ 2147483647 w 482"/>
                  <a:gd name="T59" fmla="*/ 2147483647 h 184"/>
                  <a:gd name="T60" fmla="*/ 2147483647 w 482"/>
                  <a:gd name="T61" fmla="*/ 2147483647 h 184"/>
                  <a:gd name="T62" fmla="*/ 2147483647 w 482"/>
                  <a:gd name="T63" fmla="*/ 2147483647 h 184"/>
                  <a:gd name="T64" fmla="*/ 2147483647 w 482"/>
                  <a:gd name="T65" fmla="*/ 2147483647 h 184"/>
                  <a:gd name="T66" fmla="*/ 2147483647 w 482"/>
                  <a:gd name="T67" fmla="*/ 2147483647 h 18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482" h="184">
                    <a:moveTo>
                      <a:pt x="46" y="134"/>
                    </a:moveTo>
                    <a:cubicBezTo>
                      <a:pt x="436" y="134"/>
                      <a:pt x="436" y="134"/>
                      <a:pt x="436" y="134"/>
                    </a:cubicBezTo>
                    <a:cubicBezTo>
                      <a:pt x="441" y="134"/>
                      <a:pt x="444" y="131"/>
                      <a:pt x="444" y="126"/>
                    </a:cubicBezTo>
                    <a:cubicBezTo>
                      <a:pt x="444" y="122"/>
                      <a:pt x="441" y="118"/>
                      <a:pt x="436" y="118"/>
                    </a:cubicBezTo>
                    <a:cubicBezTo>
                      <a:pt x="46" y="118"/>
                      <a:pt x="46" y="118"/>
                      <a:pt x="46" y="118"/>
                    </a:cubicBezTo>
                    <a:cubicBezTo>
                      <a:pt x="42" y="118"/>
                      <a:pt x="38" y="122"/>
                      <a:pt x="38" y="126"/>
                    </a:cubicBezTo>
                    <a:cubicBezTo>
                      <a:pt x="38" y="131"/>
                      <a:pt x="42" y="134"/>
                      <a:pt x="46" y="134"/>
                    </a:cubicBezTo>
                    <a:close/>
                    <a:moveTo>
                      <a:pt x="142" y="46"/>
                    </a:moveTo>
                    <a:cubicBezTo>
                      <a:pt x="142" y="36"/>
                      <a:pt x="134" y="28"/>
                      <a:pt x="124" y="28"/>
                    </a:cubicBezTo>
                    <a:cubicBezTo>
                      <a:pt x="113" y="28"/>
                      <a:pt x="105" y="36"/>
                      <a:pt x="105" y="46"/>
                    </a:cubicBezTo>
                    <a:cubicBezTo>
                      <a:pt x="105" y="56"/>
                      <a:pt x="113" y="65"/>
                      <a:pt x="124" y="65"/>
                    </a:cubicBezTo>
                    <a:cubicBezTo>
                      <a:pt x="134" y="65"/>
                      <a:pt x="142" y="56"/>
                      <a:pt x="142" y="46"/>
                    </a:cubicBezTo>
                    <a:close/>
                    <a:moveTo>
                      <a:pt x="474" y="48"/>
                    </a:moveTo>
                    <a:cubicBezTo>
                      <a:pt x="479" y="48"/>
                      <a:pt x="482" y="45"/>
                      <a:pt x="482" y="40"/>
                    </a:cubicBezTo>
                    <a:cubicBezTo>
                      <a:pt x="482" y="16"/>
                      <a:pt x="482" y="16"/>
                      <a:pt x="482" y="16"/>
                    </a:cubicBezTo>
                    <a:cubicBezTo>
                      <a:pt x="482" y="7"/>
                      <a:pt x="475" y="0"/>
                      <a:pt x="466" y="0"/>
                    </a:cubicBezTo>
                    <a:cubicBezTo>
                      <a:pt x="16" y="0"/>
                      <a:pt x="16" y="0"/>
                      <a:pt x="16" y="0"/>
                    </a:cubicBezTo>
                    <a:cubicBezTo>
                      <a:pt x="7" y="0"/>
                      <a:pt x="0" y="7"/>
                      <a:pt x="0" y="16"/>
                    </a:cubicBezTo>
                    <a:cubicBezTo>
                      <a:pt x="0" y="147"/>
                      <a:pt x="0" y="147"/>
                      <a:pt x="0" y="147"/>
                    </a:cubicBezTo>
                    <a:cubicBezTo>
                      <a:pt x="0" y="156"/>
                      <a:pt x="7" y="163"/>
                      <a:pt x="16" y="163"/>
                    </a:cubicBezTo>
                    <a:cubicBezTo>
                      <a:pt x="42" y="163"/>
                      <a:pt x="42" y="163"/>
                      <a:pt x="42" y="163"/>
                    </a:cubicBezTo>
                    <a:cubicBezTo>
                      <a:pt x="42" y="174"/>
                      <a:pt x="42" y="174"/>
                      <a:pt x="42" y="174"/>
                    </a:cubicBezTo>
                    <a:cubicBezTo>
                      <a:pt x="42" y="179"/>
                      <a:pt x="46" y="184"/>
                      <a:pt x="52" y="184"/>
                    </a:cubicBezTo>
                    <a:cubicBezTo>
                      <a:pt x="90" y="184"/>
                      <a:pt x="90" y="184"/>
                      <a:pt x="90" y="184"/>
                    </a:cubicBezTo>
                    <a:cubicBezTo>
                      <a:pt x="96" y="184"/>
                      <a:pt x="100" y="179"/>
                      <a:pt x="100" y="174"/>
                    </a:cubicBezTo>
                    <a:cubicBezTo>
                      <a:pt x="100" y="163"/>
                      <a:pt x="100" y="163"/>
                      <a:pt x="100" y="163"/>
                    </a:cubicBezTo>
                    <a:cubicBezTo>
                      <a:pt x="382" y="163"/>
                      <a:pt x="382" y="163"/>
                      <a:pt x="382" y="163"/>
                    </a:cubicBezTo>
                    <a:cubicBezTo>
                      <a:pt x="382" y="174"/>
                      <a:pt x="382" y="174"/>
                      <a:pt x="382" y="174"/>
                    </a:cubicBezTo>
                    <a:cubicBezTo>
                      <a:pt x="382" y="179"/>
                      <a:pt x="386" y="184"/>
                      <a:pt x="392" y="184"/>
                    </a:cubicBezTo>
                    <a:cubicBezTo>
                      <a:pt x="430" y="184"/>
                      <a:pt x="430" y="184"/>
                      <a:pt x="430" y="184"/>
                    </a:cubicBezTo>
                    <a:cubicBezTo>
                      <a:pt x="436" y="184"/>
                      <a:pt x="440" y="179"/>
                      <a:pt x="440" y="174"/>
                    </a:cubicBezTo>
                    <a:cubicBezTo>
                      <a:pt x="440" y="163"/>
                      <a:pt x="440" y="163"/>
                      <a:pt x="440" y="163"/>
                    </a:cubicBezTo>
                    <a:cubicBezTo>
                      <a:pt x="466" y="163"/>
                      <a:pt x="466" y="163"/>
                      <a:pt x="466" y="163"/>
                    </a:cubicBezTo>
                    <a:cubicBezTo>
                      <a:pt x="475" y="163"/>
                      <a:pt x="482" y="156"/>
                      <a:pt x="482" y="147"/>
                    </a:cubicBezTo>
                    <a:cubicBezTo>
                      <a:pt x="482" y="72"/>
                      <a:pt x="482" y="72"/>
                      <a:pt x="482" y="72"/>
                    </a:cubicBezTo>
                    <a:cubicBezTo>
                      <a:pt x="482" y="67"/>
                      <a:pt x="479" y="64"/>
                      <a:pt x="474" y="64"/>
                    </a:cubicBezTo>
                    <a:cubicBezTo>
                      <a:pt x="470" y="64"/>
                      <a:pt x="466" y="67"/>
                      <a:pt x="466" y="72"/>
                    </a:cubicBezTo>
                    <a:cubicBezTo>
                      <a:pt x="466" y="72"/>
                      <a:pt x="466" y="72"/>
                      <a:pt x="466" y="72"/>
                    </a:cubicBezTo>
                    <a:cubicBezTo>
                      <a:pt x="466" y="147"/>
                      <a:pt x="466" y="147"/>
                      <a:pt x="466" y="147"/>
                    </a:cubicBezTo>
                    <a:cubicBezTo>
                      <a:pt x="16" y="147"/>
                      <a:pt x="16" y="147"/>
                      <a:pt x="16" y="147"/>
                    </a:cubicBezTo>
                    <a:cubicBezTo>
                      <a:pt x="16" y="16"/>
                      <a:pt x="16" y="16"/>
                      <a:pt x="16" y="16"/>
                    </a:cubicBezTo>
                    <a:cubicBezTo>
                      <a:pt x="466" y="16"/>
                      <a:pt x="466" y="16"/>
                      <a:pt x="466" y="16"/>
                    </a:cubicBezTo>
                    <a:cubicBezTo>
                      <a:pt x="466" y="40"/>
                      <a:pt x="466" y="40"/>
                      <a:pt x="466" y="40"/>
                    </a:cubicBezTo>
                    <a:cubicBezTo>
                      <a:pt x="466" y="45"/>
                      <a:pt x="470" y="48"/>
                      <a:pt x="474" y="48"/>
                    </a:cubicBezTo>
                    <a:close/>
                    <a:moveTo>
                      <a:pt x="49" y="88"/>
                    </a:moveTo>
                    <a:cubicBezTo>
                      <a:pt x="78" y="88"/>
                      <a:pt x="78" y="88"/>
                      <a:pt x="78" y="88"/>
                    </a:cubicBezTo>
                    <a:cubicBezTo>
                      <a:pt x="82" y="88"/>
                      <a:pt x="86" y="84"/>
                      <a:pt x="86" y="80"/>
                    </a:cubicBezTo>
                    <a:cubicBezTo>
                      <a:pt x="86" y="36"/>
                      <a:pt x="86" y="36"/>
                      <a:pt x="86" y="36"/>
                    </a:cubicBezTo>
                    <a:cubicBezTo>
                      <a:pt x="86" y="32"/>
                      <a:pt x="82" y="28"/>
                      <a:pt x="78" y="28"/>
                    </a:cubicBezTo>
                    <a:cubicBezTo>
                      <a:pt x="49" y="28"/>
                      <a:pt x="49" y="28"/>
                      <a:pt x="49" y="28"/>
                    </a:cubicBezTo>
                    <a:cubicBezTo>
                      <a:pt x="44" y="28"/>
                      <a:pt x="41" y="32"/>
                      <a:pt x="41" y="36"/>
                    </a:cubicBezTo>
                    <a:cubicBezTo>
                      <a:pt x="41" y="80"/>
                      <a:pt x="41" y="80"/>
                      <a:pt x="41" y="80"/>
                    </a:cubicBezTo>
                    <a:cubicBezTo>
                      <a:pt x="41" y="84"/>
                      <a:pt x="44" y="88"/>
                      <a:pt x="49" y="88"/>
                    </a:cubicBezTo>
                    <a:close/>
                    <a:moveTo>
                      <a:pt x="310" y="46"/>
                    </a:moveTo>
                    <a:cubicBezTo>
                      <a:pt x="310" y="36"/>
                      <a:pt x="302" y="28"/>
                      <a:pt x="292" y="28"/>
                    </a:cubicBezTo>
                    <a:cubicBezTo>
                      <a:pt x="281" y="28"/>
                      <a:pt x="273" y="36"/>
                      <a:pt x="273" y="46"/>
                    </a:cubicBezTo>
                    <a:cubicBezTo>
                      <a:pt x="273" y="56"/>
                      <a:pt x="281" y="65"/>
                      <a:pt x="292" y="65"/>
                    </a:cubicBezTo>
                    <a:cubicBezTo>
                      <a:pt x="302" y="65"/>
                      <a:pt x="310" y="56"/>
                      <a:pt x="310" y="46"/>
                    </a:cubicBezTo>
                    <a:close/>
                    <a:moveTo>
                      <a:pt x="254" y="46"/>
                    </a:moveTo>
                    <a:cubicBezTo>
                      <a:pt x="254" y="36"/>
                      <a:pt x="246" y="28"/>
                      <a:pt x="236" y="28"/>
                    </a:cubicBezTo>
                    <a:cubicBezTo>
                      <a:pt x="225" y="28"/>
                      <a:pt x="217" y="36"/>
                      <a:pt x="217" y="46"/>
                    </a:cubicBezTo>
                    <a:cubicBezTo>
                      <a:pt x="217" y="56"/>
                      <a:pt x="225" y="65"/>
                      <a:pt x="236" y="65"/>
                    </a:cubicBezTo>
                    <a:cubicBezTo>
                      <a:pt x="246" y="65"/>
                      <a:pt x="254" y="56"/>
                      <a:pt x="254" y="46"/>
                    </a:cubicBezTo>
                    <a:close/>
                    <a:moveTo>
                      <a:pt x="198" y="46"/>
                    </a:moveTo>
                    <a:cubicBezTo>
                      <a:pt x="198" y="36"/>
                      <a:pt x="190" y="28"/>
                      <a:pt x="180" y="28"/>
                    </a:cubicBezTo>
                    <a:cubicBezTo>
                      <a:pt x="169" y="28"/>
                      <a:pt x="161" y="36"/>
                      <a:pt x="161" y="46"/>
                    </a:cubicBezTo>
                    <a:cubicBezTo>
                      <a:pt x="161" y="56"/>
                      <a:pt x="169" y="65"/>
                      <a:pt x="180" y="65"/>
                    </a:cubicBezTo>
                    <a:cubicBezTo>
                      <a:pt x="190" y="65"/>
                      <a:pt x="198" y="56"/>
                      <a:pt x="198"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37" name="Freeform 3"/>
              <p:cNvSpPr>
                <a:spLocks noChangeAspect="1" noEditPoints="1"/>
              </p:cNvSpPr>
              <p:nvPr/>
            </p:nvSpPr>
            <p:spPr bwMode="auto">
              <a:xfrm>
                <a:off x="6609822" y="3790696"/>
                <a:ext cx="152649" cy="149562"/>
              </a:xfrm>
              <a:custGeom>
                <a:avLst/>
                <a:gdLst>
                  <a:gd name="T0" fmla="*/ 2147483647 w 386"/>
                  <a:gd name="T1" fmla="*/ 2147483647 h 386"/>
                  <a:gd name="T2" fmla="*/ 2147483647 w 386"/>
                  <a:gd name="T3" fmla="*/ 2147483647 h 386"/>
                  <a:gd name="T4" fmla="*/ 2147483647 w 386"/>
                  <a:gd name="T5" fmla="*/ 2147483647 h 386"/>
                  <a:gd name="T6" fmla="*/ 2147483647 w 386"/>
                  <a:gd name="T7" fmla="*/ 2147483647 h 386"/>
                  <a:gd name="T8" fmla="*/ 2147483647 w 386"/>
                  <a:gd name="T9" fmla="*/ 2147483647 h 386"/>
                  <a:gd name="T10" fmla="*/ 2147483647 w 386"/>
                  <a:gd name="T11" fmla="*/ 2147483647 h 386"/>
                  <a:gd name="T12" fmla="*/ 2147483647 w 386"/>
                  <a:gd name="T13" fmla="*/ 2147483647 h 386"/>
                  <a:gd name="T14" fmla="*/ 2147483647 w 386"/>
                  <a:gd name="T15" fmla="*/ 2147483647 h 386"/>
                  <a:gd name="T16" fmla="*/ 2147483647 w 386"/>
                  <a:gd name="T17" fmla="*/ 2147483647 h 386"/>
                  <a:gd name="T18" fmla="*/ 2147483647 w 386"/>
                  <a:gd name="T19" fmla="*/ 2147483647 h 386"/>
                  <a:gd name="T20" fmla="*/ 2147483647 w 386"/>
                  <a:gd name="T21" fmla="*/ 2147483647 h 386"/>
                  <a:gd name="T22" fmla="*/ 2147483647 w 386"/>
                  <a:gd name="T23" fmla="*/ 2147483647 h 386"/>
                  <a:gd name="T24" fmla="*/ 2147483647 w 386"/>
                  <a:gd name="T25" fmla="*/ 2147483647 h 386"/>
                  <a:gd name="T26" fmla="*/ 2147483647 w 386"/>
                  <a:gd name="T27" fmla="*/ 2147483647 h 386"/>
                  <a:gd name="T28" fmla="*/ 2147483647 w 386"/>
                  <a:gd name="T29" fmla="*/ 2147483647 h 386"/>
                  <a:gd name="T30" fmla="*/ 2147483647 w 386"/>
                  <a:gd name="T31" fmla="*/ 2147483647 h 386"/>
                  <a:gd name="T32" fmla="*/ 2147483647 w 386"/>
                  <a:gd name="T33" fmla="*/ 2147483647 h 386"/>
                  <a:gd name="T34" fmla="*/ 2147483647 w 386"/>
                  <a:gd name="T35" fmla="*/ 2147483647 h 386"/>
                  <a:gd name="T36" fmla="*/ 2147483647 w 386"/>
                  <a:gd name="T37" fmla="*/ 2147483647 h 386"/>
                  <a:gd name="T38" fmla="*/ 2147483647 w 386"/>
                  <a:gd name="T39" fmla="*/ 2147483647 h 386"/>
                  <a:gd name="T40" fmla="*/ 2147483647 w 386"/>
                  <a:gd name="T41" fmla="*/ 0 h 386"/>
                  <a:gd name="T42" fmla="*/ 0 w 386"/>
                  <a:gd name="T43" fmla="*/ 2147483647 h 386"/>
                  <a:gd name="T44" fmla="*/ 2147483647 w 386"/>
                  <a:gd name="T45" fmla="*/ 2147483647 h 386"/>
                  <a:gd name="T46" fmla="*/ 2147483647 w 386"/>
                  <a:gd name="T47" fmla="*/ 2147483647 h 386"/>
                  <a:gd name="T48" fmla="*/ 2147483647 w 386"/>
                  <a:gd name="T49" fmla="*/ 2147483647 h 386"/>
                  <a:gd name="T50" fmla="*/ 2147483647 w 386"/>
                  <a:gd name="T51" fmla="*/ 2147483647 h 386"/>
                  <a:gd name="T52" fmla="*/ 2147483647 w 386"/>
                  <a:gd name="T53" fmla="*/ 2147483647 h 386"/>
                  <a:gd name="T54" fmla="*/ 2147483647 w 386"/>
                  <a:gd name="T55" fmla="*/ 2147483647 h 386"/>
                  <a:gd name="T56" fmla="*/ 2147483647 w 386"/>
                  <a:gd name="T57" fmla="*/ 2147483647 h 386"/>
                  <a:gd name="T58" fmla="*/ 2147483647 w 386"/>
                  <a:gd name="T59" fmla="*/ 2147483647 h 386"/>
                  <a:gd name="T60" fmla="*/ 2147483647 w 386"/>
                  <a:gd name="T61" fmla="*/ 2147483647 h 386"/>
                  <a:gd name="T62" fmla="*/ 2147483647 w 386"/>
                  <a:gd name="T63" fmla="*/ 2147483647 h 386"/>
                  <a:gd name="T64" fmla="*/ 2147483647 w 386"/>
                  <a:gd name="T65" fmla="*/ 2147483647 h 386"/>
                  <a:gd name="T66" fmla="*/ 2147483647 w 386"/>
                  <a:gd name="T67" fmla="*/ 2147483647 h 386"/>
                  <a:gd name="T68" fmla="*/ 2147483647 w 386"/>
                  <a:gd name="T69" fmla="*/ 2147483647 h 386"/>
                  <a:gd name="T70" fmla="*/ 2147483647 w 386"/>
                  <a:gd name="T71" fmla="*/ 2147483647 h 386"/>
                  <a:gd name="T72" fmla="*/ 2147483647 w 386"/>
                  <a:gd name="T73" fmla="*/ 2147483647 h 386"/>
                  <a:gd name="T74" fmla="*/ 2147483647 w 386"/>
                  <a:gd name="T75" fmla="*/ 2147483647 h 386"/>
                  <a:gd name="T76" fmla="*/ 2147483647 w 386"/>
                  <a:gd name="T77" fmla="*/ 2147483647 h 386"/>
                  <a:gd name="T78" fmla="*/ 2147483647 w 386"/>
                  <a:gd name="T79" fmla="*/ 2147483647 h 386"/>
                  <a:gd name="T80" fmla="*/ 2147483647 w 386"/>
                  <a:gd name="T81" fmla="*/ 2147483647 h 386"/>
                  <a:gd name="T82" fmla="*/ 2147483647 w 386"/>
                  <a:gd name="T83" fmla="*/ 2147483647 h 38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386" h="386">
                    <a:moveTo>
                      <a:pt x="248" y="193"/>
                    </a:moveTo>
                    <a:cubicBezTo>
                      <a:pt x="248" y="162"/>
                      <a:pt x="224" y="137"/>
                      <a:pt x="193" y="137"/>
                    </a:cubicBezTo>
                    <a:cubicBezTo>
                      <a:pt x="163" y="137"/>
                      <a:pt x="138" y="162"/>
                      <a:pt x="138" y="193"/>
                    </a:cubicBezTo>
                    <a:cubicBezTo>
                      <a:pt x="138" y="223"/>
                      <a:pt x="163" y="248"/>
                      <a:pt x="193" y="248"/>
                    </a:cubicBezTo>
                    <a:cubicBezTo>
                      <a:pt x="224" y="248"/>
                      <a:pt x="248" y="223"/>
                      <a:pt x="248" y="193"/>
                    </a:cubicBezTo>
                    <a:moveTo>
                      <a:pt x="154" y="193"/>
                    </a:moveTo>
                    <a:cubicBezTo>
                      <a:pt x="154" y="171"/>
                      <a:pt x="171" y="153"/>
                      <a:pt x="193" y="153"/>
                    </a:cubicBezTo>
                    <a:cubicBezTo>
                      <a:pt x="215" y="153"/>
                      <a:pt x="232" y="171"/>
                      <a:pt x="232" y="193"/>
                    </a:cubicBezTo>
                    <a:cubicBezTo>
                      <a:pt x="232" y="214"/>
                      <a:pt x="215" y="232"/>
                      <a:pt x="193" y="232"/>
                    </a:cubicBezTo>
                    <a:cubicBezTo>
                      <a:pt x="171" y="232"/>
                      <a:pt x="154" y="214"/>
                      <a:pt x="154" y="193"/>
                    </a:cubicBezTo>
                    <a:moveTo>
                      <a:pt x="340" y="69"/>
                    </a:moveTo>
                    <a:cubicBezTo>
                      <a:pt x="338" y="65"/>
                      <a:pt x="333" y="65"/>
                      <a:pt x="329" y="68"/>
                    </a:cubicBezTo>
                    <a:cubicBezTo>
                      <a:pt x="326" y="71"/>
                      <a:pt x="325" y="76"/>
                      <a:pt x="328" y="79"/>
                    </a:cubicBezTo>
                    <a:cubicBezTo>
                      <a:pt x="355" y="111"/>
                      <a:pt x="370" y="151"/>
                      <a:pt x="370" y="193"/>
                    </a:cubicBezTo>
                    <a:cubicBezTo>
                      <a:pt x="370" y="290"/>
                      <a:pt x="290" y="370"/>
                      <a:pt x="193" y="370"/>
                    </a:cubicBezTo>
                    <a:cubicBezTo>
                      <a:pt x="96" y="370"/>
                      <a:pt x="16" y="290"/>
                      <a:pt x="16" y="193"/>
                    </a:cubicBezTo>
                    <a:cubicBezTo>
                      <a:pt x="16" y="95"/>
                      <a:pt x="96" y="16"/>
                      <a:pt x="193" y="16"/>
                    </a:cubicBezTo>
                    <a:cubicBezTo>
                      <a:pt x="235" y="16"/>
                      <a:pt x="275" y="30"/>
                      <a:pt x="307" y="58"/>
                    </a:cubicBezTo>
                    <a:cubicBezTo>
                      <a:pt x="310" y="60"/>
                      <a:pt x="315" y="60"/>
                      <a:pt x="318" y="57"/>
                    </a:cubicBezTo>
                    <a:cubicBezTo>
                      <a:pt x="321" y="53"/>
                      <a:pt x="320" y="48"/>
                      <a:pt x="317" y="45"/>
                    </a:cubicBezTo>
                    <a:cubicBezTo>
                      <a:pt x="282" y="16"/>
                      <a:pt x="239" y="0"/>
                      <a:pt x="193" y="0"/>
                    </a:cubicBezTo>
                    <a:cubicBezTo>
                      <a:pt x="87" y="0"/>
                      <a:pt x="0" y="87"/>
                      <a:pt x="0" y="193"/>
                    </a:cubicBezTo>
                    <a:cubicBezTo>
                      <a:pt x="0" y="299"/>
                      <a:pt x="87" y="386"/>
                      <a:pt x="193" y="386"/>
                    </a:cubicBezTo>
                    <a:cubicBezTo>
                      <a:pt x="299" y="386"/>
                      <a:pt x="386" y="299"/>
                      <a:pt x="386" y="193"/>
                    </a:cubicBezTo>
                    <a:cubicBezTo>
                      <a:pt x="386" y="147"/>
                      <a:pt x="370" y="104"/>
                      <a:pt x="340" y="69"/>
                    </a:cubicBezTo>
                    <a:moveTo>
                      <a:pt x="193" y="355"/>
                    </a:moveTo>
                    <a:cubicBezTo>
                      <a:pt x="283" y="355"/>
                      <a:pt x="355" y="282"/>
                      <a:pt x="355" y="193"/>
                    </a:cubicBezTo>
                    <a:cubicBezTo>
                      <a:pt x="355" y="188"/>
                      <a:pt x="352" y="185"/>
                      <a:pt x="347" y="185"/>
                    </a:cubicBezTo>
                    <a:cubicBezTo>
                      <a:pt x="343" y="185"/>
                      <a:pt x="339" y="188"/>
                      <a:pt x="339" y="193"/>
                    </a:cubicBezTo>
                    <a:cubicBezTo>
                      <a:pt x="339" y="274"/>
                      <a:pt x="274" y="339"/>
                      <a:pt x="193" y="339"/>
                    </a:cubicBezTo>
                    <a:cubicBezTo>
                      <a:pt x="189" y="339"/>
                      <a:pt x="185" y="343"/>
                      <a:pt x="185" y="347"/>
                    </a:cubicBezTo>
                    <a:cubicBezTo>
                      <a:pt x="185" y="352"/>
                      <a:pt x="189" y="355"/>
                      <a:pt x="193" y="355"/>
                    </a:cubicBezTo>
                    <a:moveTo>
                      <a:pt x="222" y="193"/>
                    </a:moveTo>
                    <a:cubicBezTo>
                      <a:pt x="222" y="177"/>
                      <a:pt x="209" y="164"/>
                      <a:pt x="193" y="164"/>
                    </a:cubicBezTo>
                    <a:cubicBezTo>
                      <a:pt x="177" y="164"/>
                      <a:pt x="164" y="177"/>
                      <a:pt x="164" y="193"/>
                    </a:cubicBezTo>
                    <a:cubicBezTo>
                      <a:pt x="164" y="209"/>
                      <a:pt x="177" y="222"/>
                      <a:pt x="193" y="222"/>
                    </a:cubicBezTo>
                    <a:cubicBezTo>
                      <a:pt x="209" y="222"/>
                      <a:pt x="222" y="209"/>
                      <a:pt x="222" y="193"/>
                    </a:cubicBezTo>
                    <a:moveTo>
                      <a:pt x="180" y="193"/>
                    </a:moveTo>
                    <a:cubicBezTo>
                      <a:pt x="180" y="186"/>
                      <a:pt x="186" y="180"/>
                      <a:pt x="193" y="180"/>
                    </a:cubicBezTo>
                    <a:cubicBezTo>
                      <a:pt x="200" y="180"/>
                      <a:pt x="206" y="186"/>
                      <a:pt x="206" y="193"/>
                    </a:cubicBezTo>
                    <a:cubicBezTo>
                      <a:pt x="206" y="200"/>
                      <a:pt x="200" y="206"/>
                      <a:pt x="193" y="206"/>
                    </a:cubicBezTo>
                    <a:cubicBezTo>
                      <a:pt x="186" y="206"/>
                      <a:pt x="180" y="200"/>
                      <a:pt x="180" y="19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38" name="Freeform 3"/>
              <p:cNvSpPr>
                <a:spLocks noChangeAspect="1" noEditPoints="1"/>
              </p:cNvSpPr>
              <p:nvPr/>
            </p:nvSpPr>
            <p:spPr bwMode="auto">
              <a:xfrm>
                <a:off x="6385696" y="2952427"/>
                <a:ext cx="170075" cy="133327"/>
              </a:xfrm>
              <a:custGeom>
                <a:avLst/>
                <a:gdLst>
                  <a:gd name="T0" fmla="*/ 2147483647 w 430"/>
                  <a:gd name="T1" fmla="*/ 2147483647 h 344"/>
                  <a:gd name="T2" fmla="*/ 2147483647 w 430"/>
                  <a:gd name="T3" fmla="*/ 2147483647 h 344"/>
                  <a:gd name="T4" fmla="*/ 2147483647 w 430"/>
                  <a:gd name="T5" fmla="*/ 2147483647 h 344"/>
                  <a:gd name="T6" fmla="*/ 2147483647 w 430"/>
                  <a:gd name="T7" fmla="*/ 2147483647 h 344"/>
                  <a:gd name="T8" fmla="*/ 2147483647 w 430"/>
                  <a:gd name="T9" fmla="*/ 2147483647 h 344"/>
                  <a:gd name="T10" fmla="*/ 2147483647 w 430"/>
                  <a:gd name="T11" fmla="*/ 2147483647 h 344"/>
                  <a:gd name="T12" fmla="*/ 2147483647 w 430"/>
                  <a:gd name="T13" fmla="*/ 2147483647 h 344"/>
                  <a:gd name="T14" fmla="*/ 2147483647 w 430"/>
                  <a:gd name="T15" fmla="*/ 2147483647 h 344"/>
                  <a:gd name="T16" fmla="*/ 2147483647 w 430"/>
                  <a:gd name="T17" fmla="*/ 2147483647 h 344"/>
                  <a:gd name="T18" fmla="*/ 2147483647 w 430"/>
                  <a:gd name="T19" fmla="*/ 2147483647 h 344"/>
                  <a:gd name="T20" fmla="*/ 2147483647 w 430"/>
                  <a:gd name="T21" fmla="*/ 2147483647 h 344"/>
                  <a:gd name="T22" fmla="*/ 2147483647 w 430"/>
                  <a:gd name="T23" fmla="*/ 2147483647 h 344"/>
                  <a:gd name="T24" fmla="*/ 2147483647 w 430"/>
                  <a:gd name="T25" fmla="*/ 2147483647 h 344"/>
                  <a:gd name="T26" fmla="*/ 2147483647 w 430"/>
                  <a:gd name="T27" fmla="*/ 2147483647 h 344"/>
                  <a:gd name="T28" fmla="*/ 2147483647 w 430"/>
                  <a:gd name="T29" fmla="*/ 2147483647 h 344"/>
                  <a:gd name="T30" fmla="*/ 2147483647 w 430"/>
                  <a:gd name="T31" fmla="*/ 2147483647 h 344"/>
                  <a:gd name="T32" fmla="*/ 2147483647 w 430"/>
                  <a:gd name="T33" fmla="*/ 2147483647 h 344"/>
                  <a:gd name="T34" fmla="*/ 2147483647 w 430"/>
                  <a:gd name="T35" fmla="*/ 2147483647 h 344"/>
                  <a:gd name="T36" fmla="*/ 2147483647 w 430"/>
                  <a:gd name="T37" fmla="*/ 2147483647 h 344"/>
                  <a:gd name="T38" fmla="*/ 2147483647 w 430"/>
                  <a:gd name="T39" fmla="*/ 2147483647 h 344"/>
                  <a:gd name="T40" fmla="*/ 2147483647 w 430"/>
                  <a:gd name="T41" fmla="*/ 2147483647 h 344"/>
                  <a:gd name="T42" fmla="*/ 2147483647 w 430"/>
                  <a:gd name="T43" fmla="*/ 2147483647 h 344"/>
                  <a:gd name="T44" fmla="*/ 2147483647 w 430"/>
                  <a:gd name="T45" fmla="*/ 0 h 344"/>
                  <a:gd name="T46" fmla="*/ 0 w 430"/>
                  <a:gd name="T47" fmla="*/ 2147483647 h 344"/>
                  <a:gd name="T48" fmla="*/ 2147483647 w 430"/>
                  <a:gd name="T49" fmla="*/ 2147483647 h 344"/>
                  <a:gd name="T50" fmla="*/ 2147483647 w 430"/>
                  <a:gd name="T51" fmla="*/ 2147483647 h 344"/>
                  <a:gd name="T52" fmla="*/ 2147483647 w 430"/>
                  <a:gd name="T53" fmla="*/ 2147483647 h 344"/>
                  <a:gd name="T54" fmla="*/ 2147483647 w 430"/>
                  <a:gd name="T55" fmla="*/ 2147483647 h 344"/>
                  <a:gd name="T56" fmla="*/ 2147483647 w 430"/>
                  <a:gd name="T57" fmla="*/ 2147483647 h 344"/>
                  <a:gd name="T58" fmla="*/ 2147483647 w 430"/>
                  <a:gd name="T59" fmla="*/ 2147483647 h 344"/>
                  <a:gd name="T60" fmla="*/ 2147483647 w 430"/>
                  <a:gd name="T61" fmla="*/ 2147483647 h 344"/>
                  <a:gd name="T62" fmla="*/ 2147483647 w 430"/>
                  <a:gd name="T63" fmla="*/ 2147483647 h 344"/>
                  <a:gd name="T64" fmla="*/ 2147483647 w 430"/>
                  <a:gd name="T65" fmla="*/ 2147483647 h 344"/>
                  <a:gd name="T66" fmla="*/ 2147483647 w 430"/>
                  <a:gd name="T67" fmla="*/ 2147483647 h 344"/>
                  <a:gd name="T68" fmla="*/ 2147483647 w 430"/>
                  <a:gd name="T69" fmla="*/ 2147483647 h 344"/>
                  <a:gd name="T70" fmla="*/ 2147483647 w 430"/>
                  <a:gd name="T71" fmla="*/ 2147483647 h 344"/>
                  <a:gd name="T72" fmla="*/ 2147483647 w 430"/>
                  <a:gd name="T73" fmla="*/ 2147483647 h 344"/>
                  <a:gd name="T74" fmla="*/ 2147483647 w 430"/>
                  <a:gd name="T75" fmla="*/ 2147483647 h 344"/>
                  <a:gd name="T76" fmla="*/ 2147483647 w 430"/>
                  <a:gd name="T77" fmla="*/ 2147483647 h 34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430" h="344">
                    <a:moveTo>
                      <a:pt x="177" y="99"/>
                    </a:moveTo>
                    <a:cubicBezTo>
                      <a:pt x="177" y="90"/>
                      <a:pt x="169" y="82"/>
                      <a:pt x="160" y="82"/>
                    </a:cubicBezTo>
                    <a:cubicBezTo>
                      <a:pt x="139" y="82"/>
                      <a:pt x="139" y="82"/>
                      <a:pt x="139" y="82"/>
                    </a:cubicBezTo>
                    <a:cubicBezTo>
                      <a:pt x="130" y="82"/>
                      <a:pt x="122" y="90"/>
                      <a:pt x="122" y="99"/>
                    </a:cubicBezTo>
                    <a:cubicBezTo>
                      <a:pt x="122" y="118"/>
                      <a:pt x="122" y="118"/>
                      <a:pt x="122" y="118"/>
                    </a:cubicBezTo>
                    <a:cubicBezTo>
                      <a:pt x="122" y="128"/>
                      <a:pt x="130" y="135"/>
                      <a:pt x="139" y="135"/>
                    </a:cubicBezTo>
                    <a:cubicBezTo>
                      <a:pt x="160" y="135"/>
                      <a:pt x="160" y="135"/>
                      <a:pt x="160" y="135"/>
                    </a:cubicBezTo>
                    <a:cubicBezTo>
                      <a:pt x="169" y="135"/>
                      <a:pt x="177" y="128"/>
                      <a:pt x="177" y="118"/>
                    </a:cubicBezTo>
                    <a:lnTo>
                      <a:pt x="177" y="99"/>
                    </a:lnTo>
                    <a:close/>
                    <a:moveTo>
                      <a:pt x="79" y="82"/>
                    </a:moveTo>
                    <a:cubicBezTo>
                      <a:pt x="59" y="82"/>
                      <a:pt x="59" y="82"/>
                      <a:pt x="59" y="82"/>
                    </a:cubicBezTo>
                    <a:cubicBezTo>
                      <a:pt x="50" y="82"/>
                      <a:pt x="42" y="90"/>
                      <a:pt x="42" y="99"/>
                    </a:cubicBezTo>
                    <a:cubicBezTo>
                      <a:pt x="42" y="118"/>
                      <a:pt x="42" y="118"/>
                      <a:pt x="42" y="118"/>
                    </a:cubicBezTo>
                    <a:cubicBezTo>
                      <a:pt x="42" y="128"/>
                      <a:pt x="50" y="135"/>
                      <a:pt x="59" y="135"/>
                    </a:cubicBezTo>
                    <a:cubicBezTo>
                      <a:pt x="79" y="135"/>
                      <a:pt x="79" y="135"/>
                      <a:pt x="79" y="135"/>
                    </a:cubicBezTo>
                    <a:cubicBezTo>
                      <a:pt x="89" y="135"/>
                      <a:pt x="96" y="128"/>
                      <a:pt x="96" y="118"/>
                    </a:cubicBezTo>
                    <a:cubicBezTo>
                      <a:pt x="96" y="99"/>
                      <a:pt x="96" y="99"/>
                      <a:pt x="96" y="99"/>
                    </a:cubicBezTo>
                    <a:cubicBezTo>
                      <a:pt x="96" y="90"/>
                      <a:pt x="89" y="82"/>
                      <a:pt x="79" y="82"/>
                    </a:cubicBezTo>
                    <a:moveTo>
                      <a:pt x="414" y="87"/>
                    </a:moveTo>
                    <a:cubicBezTo>
                      <a:pt x="398" y="87"/>
                      <a:pt x="398" y="87"/>
                      <a:pt x="398" y="87"/>
                    </a:cubicBezTo>
                    <a:cubicBezTo>
                      <a:pt x="398" y="87"/>
                      <a:pt x="398" y="87"/>
                      <a:pt x="398" y="87"/>
                    </a:cubicBezTo>
                    <a:cubicBezTo>
                      <a:pt x="398" y="17"/>
                      <a:pt x="398" y="17"/>
                      <a:pt x="398" y="17"/>
                    </a:cubicBezTo>
                    <a:cubicBezTo>
                      <a:pt x="398" y="8"/>
                      <a:pt x="391" y="1"/>
                      <a:pt x="382" y="1"/>
                    </a:cubicBezTo>
                    <a:cubicBezTo>
                      <a:pt x="374" y="1"/>
                      <a:pt x="374" y="1"/>
                      <a:pt x="374" y="1"/>
                    </a:cubicBezTo>
                    <a:cubicBezTo>
                      <a:pt x="365" y="1"/>
                      <a:pt x="358" y="8"/>
                      <a:pt x="358" y="17"/>
                    </a:cubicBezTo>
                    <a:cubicBezTo>
                      <a:pt x="358" y="87"/>
                      <a:pt x="358" y="87"/>
                      <a:pt x="358" y="87"/>
                    </a:cubicBezTo>
                    <a:cubicBezTo>
                      <a:pt x="358" y="87"/>
                      <a:pt x="358" y="87"/>
                      <a:pt x="358" y="87"/>
                    </a:cubicBezTo>
                    <a:cubicBezTo>
                      <a:pt x="327" y="87"/>
                      <a:pt x="327" y="87"/>
                      <a:pt x="327" y="87"/>
                    </a:cubicBezTo>
                    <a:cubicBezTo>
                      <a:pt x="327" y="87"/>
                      <a:pt x="327" y="87"/>
                      <a:pt x="327" y="87"/>
                    </a:cubicBezTo>
                    <a:cubicBezTo>
                      <a:pt x="327" y="17"/>
                      <a:pt x="327" y="17"/>
                      <a:pt x="327" y="17"/>
                    </a:cubicBezTo>
                    <a:cubicBezTo>
                      <a:pt x="327" y="8"/>
                      <a:pt x="320" y="1"/>
                      <a:pt x="311" y="1"/>
                    </a:cubicBezTo>
                    <a:cubicBezTo>
                      <a:pt x="303" y="1"/>
                      <a:pt x="303" y="1"/>
                      <a:pt x="303" y="1"/>
                    </a:cubicBezTo>
                    <a:cubicBezTo>
                      <a:pt x="294" y="1"/>
                      <a:pt x="287" y="8"/>
                      <a:pt x="287" y="17"/>
                    </a:cubicBezTo>
                    <a:cubicBezTo>
                      <a:pt x="287" y="87"/>
                      <a:pt x="287" y="87"/>
                      <a:pt x="287" y="87"/>
                    </a:cubicBezTo>
                    <a:cubicBezTo>
                      <a:pt x="287" y="87"/>
                      <a:pt x="287" y="87"/>
                      <a:pt x="287" y="87"/>
                    </a:cubicBezTo>
                    <a:cubicBezTo>
                      <a:pt x="270" y="87"/>
                      <a:pt x="270" y="87"/>
                      <a:pt x="270" y="87"/>
                    </a:cubicBezTo>
                    <a:cubicBezTo>
                      <a:pt x="261" y="87"/>
                      <a:pt x="254" y="94"/>
                      <a:pt x="254" y="103"/>
                    </a:cubicBezTo>
                    <a:cubicBezTo>
                      <a:pt x="254" y="131"/>
                      <a:pt x="254" y="131"/>
                      <a:pt x="254" y="131"/>
                    </a:cubicBezTo>
                    <a:cubicBezTo>
                      <a:pt x="254" y="180"/>
                      <a:pt x="293" y="219"/>
                      <a:pt x="341" y="220"/>
                    </a:cubicBezTo>
                    <a:cubicBezTo>
                      <a:pt x="339" y="280"/>
                      <a:pt x="290" y="328"/>
                      <a:pt x="229" y="328"/>
                    </a:cubicBezTo>
                    <a:cubicBezTo>
                      <a:pt x="168" y="328"/>
                      <a:pt x="118" y="279"/>
                      <a:pt x="117" y="218"/>
                    </a:cubicBezTo>
                    <a:cubicBezTo>
                      <a:pt x="185" y="218"/>
                      <a:pt x="185" y="218"/>
                      <a:pt x="185" y="218"/>
                    </a:cubicBezTo>
                    <a:cubicBezTo>
                      <a:pt x="203" y="218"/>
                      <a:pt x="219" y="202"/>
                      <a:pt x="219" y="184"/>
                    </a:cubicBezTo>
                    <a:cubicBezTo>
                      <a:pt x="219" y="34"/>
                      <a:pt x="219" y="34"/>
                      <a:pt x="219" y="34"/>
                    </a:cubicBezTo>
                    <a:cubicBezTo>
                      <a:pt x="219" y="15"/>
                      <a:pt x="203" y="0"/>
                      <a:pt x="185" y="0"/>
                    </a:cubicBezTo>
                    <a:cubicBezTo>
                      <a:pt x="34" y="0"/>
                      <a:pt x="34" y="0"/>
                      <a:pt x="34" y="0"/>
                    </a:cubicBezTo>
                    <a:cubicBezTo>
                      <a:pt x="15" y="0"/>
                      <a:pt x="0" y="15"/>
                      <a:pt x="0" y="34"/>
                    </a:cubicBezTo>
                    <a:cubicBezTo>
                      <a:pt x="0" y="184"/>
                      <a:pt x="0" y="184"/>
                      <a:pt x="0" y="184"/>
                    </a:cubicBezTo>
                    <a:cubicBezTo>
                      <a:pt x="0" y="202"/>
                      <a:pt x="15" y="218"/>
                      <a:pt x="34" y="218"/>
                    </a:cubicBezTo>
                    <a:cubicBezTo>
                      <a:pt x="101" y="218"/>
                      <a:pt x="101" y="218"/>
                      <a:pt x="101" y="218"/>
                    </a:cubicBezTo>
                    <a:cubicBezTo>
                      <a:pt x="102" y="287"/>
                      <a:pt x="159" y="344"/>
                      <a:pt x="229" y="344"/>
                    </a:cubicBezTo>
                    <a:cubicBezTo>
                      <a:pt x="299" y="344"/>
                      <a:pt x="356" y="288"/>
                      <a:pt x="357" y="218"/>
                    </a:cubicBezTo>
                    <a:cubicBezTo>
                      <a:pt x="390" y="213"/>
                      <a:pt x="418" y="188"/>
                      <a:pt x="427" y="155"/>
                    </a:cubicBezTo>
                    <a:cubicBezTo>
                      <a:pt x="428" y="151"/>
                      <a:pt x="426" y="147"/>
                      <a:pt x="422" y="145"/>
                    </a:cubicBezTo>
                    <a:cubicBezTo>
                      <a:pt x="417" y="144"/>
                      <a:pt x="413" y="147"/>
                      <a:pt x="412" y="151"/>
                    </a:cubicBezTo>
                    <a:cubicBezTo>
                      <a:pt x="403" y="182"/>
                      <a:pt x="374" y="204"/>
                      <a:pt x="342" y="204"/>
                    </a:cubicBezTo>
                    <a:cubicBezTo>
                      <a:pt x="302" y="204"/>
                      <a:pt x="270" y="171"/>
                      <a:pt x="270" y="131"/>
                    </a:cubicBezTo>
                    <a:cubicBezTo>
                      <a:pt x="270" y="103"/>
                      <a:pt x="270" y="103"/>
                      <a:pt x="270" y="103"/>
                    </a:cubicBezTo>
                    <a:cubicBezTo>
                      <a:pt x="414" y="103"/>
                      <a:pt x="414" y="103"/>
                      <a:pt x="414" y="103"/>
                    </a:cubicBezTo>
                    <a:cubicBezTo>
                      <a:pt x="414" y="121"/>
                      <a:pt x="414" y="121"/>
                      <a:pt x="414" y="121"/>
                    </a:cubicBezTo>
                    <a:cubicBezTo>
                      <a:pt x="414" y="126"/>
                      <a:pt x="418" y="129"/>
                      <a:pt x="422" y="129"/>
                    </a:cubicBezTo>
                    <a:cubicBezTo>
                      <a:pt x="427" y="129"/>
                      <a:pt x="430" y="126"/>
                      <a:pt x="430" y="121"/>
                    </a:cubicBezTo>
                    <a:cubicBezTo>
                      <a:pt x="430" y="103"/>
                      <a:pt x="430" y="103"/>
                      <a:pt x="430" y="103"/>
                    </a:cubicBezTo>
                    <a:cubicBezTo>
                      <a:pt x="430" y="94"/>
                      <a:pt x="423" y="87"/>
                      <a:pt x="414" y="87"/>
                    </a:cubicBezTo>
                    <a:moveTo>
                      <a:pt x="17" y="109"/>
                    </a:moveTo>
                    <a:cubicBezTo>
                      <a:pt x="17" y="58"/>
                      <a:pt x="58" y="16"/>
                      <a:pt x="109" y="16"/>
                    </a:cubicBezTo>
                    <a:cubicBezTo>
                      <a:pt x="161" y="16"/>
                      <a:pt x="202" y="58"/>
                      <a:pt x="202" y="109"/>
                    </a:cubicBezTo>
                    <a:cubicBezTo>
                      <a:pt x="202" y="160"/>
                      <a:pt x="161" y="201"/>
                      <a:pt x="109" y="201"/>
                    </a:cubicBezTo>
                    <a:cubicBezTo>
                      <a:pt x="58" y="201"/>
                      <a:pt x="17" y="160"/>
                      <a:pt x="17" y="109"/>
                    </a:cubicBezTo>
                    <a:moveTo>
                      <a:pt x="311" y="87"/>
                    </a:moveTo>
                    <a:cubicBezTo>
                      <a:pt x="303" y="87"/>
                      <a:pt x="303" y="87"/>
                      <a:pt x="303" y="87"/>
                    </a:cubicBezTo>
                    <a:cubicBezTo>
                      <a:pt x="303" y="17"/>
                      <a:pt x="303" y="17"/>
                      <a:pt x="303" y="17"/>
                    </a:cubicBezTo>
                    <a:cubicBezTo>
                      <a:pt x="311" y="17"/>
                      <a:pt x="311" y="17"/>
                      <a:pt x="311" y="17"/>
                    </a:cubicBezTo>
                    <a:lnTo>
                      <a:pt x="311" y="87"/>
                    </a:lnTo>
                    <a:close/>
                    <a:moveTo>
                      <a:pt x="382" y="87"/>
                    </a:moveTo>
                    <a:cubicBezTo>
                      <a:pt x="374" y="87"/>
                      <a:pt x="374" y="87"/>
                      <a:pt x="374" y="87"/>
                    </a:cubicBezTo>
                    <a:cubicBezTo>
                      <a:pt x="374" y="17"/>
                      <a:pt x="374" y="17"/>
                      <a:pt x="374" y="17"/>
                    </a:cubicBezTo>
                    <a:cubicBezTo>
                      <a:pt x="382" y="17"/>
                      <a:pt x="382" y="17"/>
                      <a:pt x="382" y="17"/>
                    </a:cubicBezTo>
                    <a:lnTo>
                      <a:pt x="382"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grpSp>
            <p:nvGrpSpPr>
              <p:cNvPr id="339" name="Grupp 338"/>
              <p:cNvGrpSpPr/>
              <p:nvPr/>
            </p:nvGrpSpPr>
            <p:grpSpPr>
              <a:xfrm>
                <a:off x="6791460" y="3064281"/>
                <a:ext cx="161339" cy="792971"/>
                <a:chOff x="3933960" y="2137181"/>
                <a:chExt cx="161339" cy="792971"/>
              </a:xfrm>
              <a:grpFill/>
            </p:grpSpPr>
            <p:sp>
              <p:nvSpPr>
                <p:cNvPr id="344" name="Freeform 6"/>
                <p:cNvSpPr>
                  <a:spLocks noEditPoints="1"/>
                </p:cNvSpPr>
                <p:nvPr/>
              </p:nvSpPr>
              <p:spPr bwMode="auto">
                <a:xfrm>
                  <a:off x="3986624" y="2770914"/>
                  <a:ext cx="99029" cy="159238"/>
                </a:xfrm>
                <a:custGeom>
                  <a:avLst/>
                  <a:gdLst>
                    <a:gd name="T0" fmla="*/ 2147483647 w 250"/>
                    <a:gd name="T1" fmla="*/ 2147483647 h 411"/>
                    <a:gd name="T2" fmla="*/ 2147483647 w 250"/>
                    <a:gd name="T3" fmla="*/ 2147483647 h 411"/>
                    <a:gd name="T4" fmla="*/ 2147483647 w 250"/>
                    <a:gd name="T5" fmla="*/ 2147483647 h 411"/>
                    <a:gd name="T6" fmla="*/ 2147483647 w 250"/>
                    <a:gd name="T7" fmla="*/ 2147483647 h 411"/>
                    <a:gd name="T8" fmla="*/ 2147483647 w 250"/>
                    <a:gd name="T9" fmla="*/ 2147483647 h 411"/>
                    <a:gd name="T10" fmla="*/ 2147483647 w 250"/>
                    <a:gd name="T11" fmla="*/ 2147483647 h 411"/>
                    <a:gd name="T12" fmla="*/ 2147483647 w 250"/>
                    <a:gd name="T13" fmla="*/ 2147483647 h 411"/>
                    <a:gd name="T14" fmla="*/ 2147483647 w 250"/>
                    <a:gd name="T15" fmla="*/ 2147483647 h 411"/>
                    <a:gd name="T16" fmla="*/ 2147483647 w 250"/>
                    <a:gd name="T17" fmla="*/ 2147483647 h 411"/>
                    <a:gd name="T18" fmla="*/ 2147483647 w 250"/>
                    <a:gd name="T19" fmla="*/ 2147483647 h 411"/>
                    <a:gd name="T20" fmla="*/ 2147483647 w 250"/>
                    <a:gd name="T21" fmla="*/ 2147483647 h 411"/>
                    <a:gd name="T22" fmla="*/ 2147483647 w 250"/>
                    <a:gd name="T23" fmla="*/ 2147483647 h 411"/>
                    <a:gd name="T24" fmla="*/ 2147483647 w 250"/>
                    <a:gd name="T25" fmla="*/ 2147483647 h 411"/>
                    <a:gd name="T26" fmla="*/ 2147483647 w 250"/>
                    <a:gd name="T27" fmla="*/ 2147483647 h 411"/>
                    <a:gd name="T28" fmla="*/ 2147483647 w 250"/>
                    <a:gd name="T29" fmla="*/ 2147483647 h 411"/>
                    <a:gd name="T30" fmla="*/ 2147483647 w 250"/>
                    <a:gd name="T31" fmla="*/ 2147483647 h 411"/>
                    <a:gd name="T32" fmla="*/ 2147483647 w 250"/>
                    <a:gd name="T33" fmla="*/ 2147483647 h 411"/>
                    <a:gd name="T34" fmla="*/ 2147483647 w 250"/>
                    <a:gd name="T35" fmla="*/ 2147483647 h 411"/>
                    <a:gd name="T36" fmla="*/ 2147483647 w 250"/>
                    <a:gd name="T37" fmla="*/ 2147483647 h 411"/>
                    <a:gd name="T38" fmla="*/ 2147483647 w 250"/>
                    <a:gd name="T39" fmla="*/ 0 h 411"/>
                    <a:gd name="T40" fmla="*/ 2147483647 w 250"/>
                    <a:gd name="T41" fmla="*/ 0 h 411"/>
                    <a:gd name="T42" fmla="*/ 0 w 250"/>
                    <a:gd name="T43" fmla="*/ 2147483647 h 411"/>
                    <a:gd name="T44" fmla="*/ 0 w 250"/>
                    <a:gd name="T45" fmla="*/ 2147483647 h 411"/>
                    <a:gd name="T46" fmla="*/ 2147483647 w 250"/>
                    <a:gd name="T47" fmla="*/ 2147483647 h 411"/>
                    <a:gd name="T48" fmla="*/ 2147483647 w 250"/>
                    <a:gd name="T49" fmla="*/ 2147483647 h 411"/>
                    <a:gd name="T50" fmla="*/ 2147483647 w 250"/>
                    <a:gd name="T51" fmla="*/ 2147483647 h 411"/>
                    <a:gd name="T52" fmla="*/ 2147483647 w 250"/>
                    <a:gd name="T53" fmla="*/ 2147483647 h 411"/>
                    <a:gd name="T54" fmla="*/ 2147483647 w 250"/>
                    <a:gd name="T55" fmla="*/ 2147483647 h 411"/>
                    <a:gd name="T56" fmla="*/ 2147483647 w 250"/>
                    <a:gd name="T57" fmla="*/ 2147483647 h 411"/>
                    <a:gd name="T58" fmla="*/ 2147483647 w 250"/>
                    <a:gd name="T59" fmla="*/ 2147483647 h 411"/>
                    <a:gd name="T60" fmla="*/ 2147483647 w 250"/>
                    <a:gd name="T61" fmla="*/ 2147483647 h 411"/>
                    <a:gd name="T62" fmla="*/ 2147483647 w 250"/>
                    <a:gd name="T63" fmla="*/ 2147483647 h 411"/>
                    <a:gd name="T64" fmla="*/ 2147483647 w 250"/>
                    <a:gd name="T65" fmla="*/ 2147483647 h 411"/>
                    <a:gd name="T66" fmla="*/ 2147483647 w 250"/>
                    <a:gd name="T67" fmla="*/ 2147483647 h 411"/>
                    <a:gd name="T68" fmla="*/ 2147483647 w 250"/>
                    <a:gd name="T69" fmla="*/ 2147483647 h 411"/>
                    <a:gd name="T70" fmla="*/ 2147483647 w 250"/>
                    <a:gd name="T71" fmla="*/ 2147483647 h 411"/>
                    <a:gd name="T72" fmla="*/ 2147483647 w 250"/>
                    <a:gd name="T73" fmla="*/ 2147483647 h 411"/>
                    <a:gd name="T74" fmla="*/ 2147483647 w 250"/>
                    <a:gd name="T75" fmla="*/ 2147483647 h 411"/>
                    <a:gd name="T76" fmla="*/ 2147483647 w 250"/>
                    <a:gd name="T77" fmla="*/ 2147483647 h 411"/>
                    <a:gd name="T78" fmla="*/ 2147483647 w 250"/>
                    <a:gd name="T79" fmla="*/ 2147483647 h 411"/>
                    <a:gd name="T80" fmla="*/ 2147483647 w 250"/>
                    <a:gd name="T81" fmla="*/ 2147483647 h 411"/>
                    <a:gd name="T82" fmla="*/ 2147483647 w 250"/>
                    <a:gd name="T83" fmla="*/ 2147483647 h 41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50" h="411">
                      <a:moveTo>
                        <a:pt x="43" y="279"/>
                      </a:moveTo>
                      <a:cubicBezTo>
                        <a:pt x="47" y="279"/>
                        <a:pt x="51" y="276"/>
                        <a:pt x="51" y="271"/>
                      </a:cubicBezTo>
                      <a:cubicBezTo>
                        <a:pt x="51" y="235"/>
                        <a:pt x="51" y="235"/>
                        <a:pt x="51" y="235"/>
                      </a:cubicBezTo>
                      <a:cubicBezTo>
                        <a:pt x="51" y="231"/>
                        <a:pt x="47" y="227"/>
                        <a:pt x="43" y="227"/>
                      </a:cubicBezTo>
                      <a:cubicBezTo>
                        <a:pt x="39" y="227"/>
                        <a:pt x="35" y="231"/>
                        <a:pt x="35" y="235"/>
                      </a:cubicBezTo>
                      <a:cubicBezTo>
                        <a:pt x="35" y="271"/>
                        <a:pt x="35" y="271"/>
                        <a:pt x="35" y="271"/>
                      </a:cubicBezTo>
                      <a:cubicBezTo>
                        <a:pt x="35" y="276"/>
                        <a:pt x="39" y="279"/>
                        <a:pt x="43" y="279"/>
                      </a:cubicBezTo>
                      <a:close/>
                      <a:moveTo>
                        <a:pt x="242" y="74"/>
                      </a:moveTo>
                      <a:cubicBezTo>
                        <a:pt x="238" y="74"/>
                        <a:pt x="234" y="78"/>
                        <a:pt x="234" y="82"/>
                      </a:cubicBezTo>
                      <a:cubicBezTo>
                        <a:pt x="234" y="198"/>
                        <a:pt x="234" y="198"/>
                        <a:pt x="234" y="198"/>
                      </a:cubicBezTo>
                      <a:cubicBezTo>
                        <a:pt x="16" y="198"/>
                        <a:pt x="16" y="198"/>
                        <a:pt x="16" y="198"/>
                      </a:cubicBezTo>
                      <a:cubicBezTo>
                        <a:pt x="16" y="30"/>
                        <a:pt x="16" y="30"/>
                        <a:pt x="16" y="30"/>
                      </a:cubicBezTo>
                      <a:cubicBezTo>
                        <a:pt x="16" y="22"/>
                        <a:pt x="23" y="16"/>
                        <a:pt x="31" y="16"/>
                      </a:cubicBezTo>
                      <a:cubicBezTo>
                        <a:pt x="219" y="16"/>
                        <a:pt x="219" y="16"/>
                        <a:pt x="219" y="16"/>
                      </a:cubicBezTo>
                      <a:cubicBezTo>
                        <a:pt x="227" y="16"/>
                        <a:pt x="234" y="22"/>
                        <a:pt x="234" y="30"/>
                      </a:cubicBezTo>
                      <a:cubicBezTo>
                        <a:pt x="234" y="50"/>
                        <a:pt x="234" y="50"/>
                        <a:pt x="234" y="50"/>
                      </a:cubicBezTo>
                      <a:cubicBezTo>
                        <a:pt x="234" y="55"/>
                        <a:pt x="238" y="58"/>
                        <a:pt x="242" y="58"/>
                      </a:cubicBezTo>
                      <a:cubicBezTo>
                        <a:pt x="246" y="58"/>
                        <a:pt x="250" y="55"/>
                        <a:pt x="250" y="50"/>
                      </a:cubicBezTo>
                      <a:cubicBezTo>
                        <a:pt x="250" y="30"/>
                        <a:pt x="250" y="30"/>
                        <a:pt x="250" y="30"/>
                      </a:cubicBezTo>
                      <a:cubicBezTo>
                        <a:pt x="250" y="14"/>
                        <a:pt x="236" y="0"/>
                        <a:pt x="219" y="0"/>
                      </a:cubicBezTo>
                      <a:cubicBezTo>
                        <a:pt x="31" y="0"/>
                        <a:pt x="31" y="0"/>
                        <a:pt x="31" y="0"/>
                      </a:cubicBezTo>
                      <a:cubicBezTo>
                        <a:pt x="14" y="0"/>
                        <a:pt x="0" y="14"/>
                        <a:pt x="0" y="30"/>
                      </a:cubicBezTo>
                      <a:cubicBezTo>
                        <a:pt x="0" y="381"/>
                        <a:pt x="0" y="381"/>
                        <a:pt x="0" y="381"/>
                      </a:cubicBezTo>
                      <a:cubicBezTo>
                        <a:pt x="0" y="398"/>
                        <a:pt x="14" y="411"/>
                        <a:pt x="31" y="411"/>
                      </a:cubicBezTo>
                      <a:cubicBezTo>
                        <a:pt x="219" y="411"/>
                        <a:pt x="219" y="411"/>
                        <a:pt x="219" y="411"/>
                      </a:cubicBezTo>
                      <a:cubicBezTo>
                        <a:pt x="236" y="411"/>
                        <a:pt x="250" y="398"/>
                        <a:pt x="250" y="381"/>
                      </a:cubicBezTo>
                      <a:cubicBezTo>
                        <a:pt x="250" y="82"/>
                        <a:pt x="250" y="82"/>
                        <a:pt x="250" y="82"/>
                      </a:cubicBezTo>
                      <a:cubicBezTo>
                        <a:pt x="250" y="78"/>
                        <a:pt x="246" y="74"/>
                        <a:pt x="242" y="74"/>
                      </a:cubicBezTo>
                      <a:close/>
                      <a:moveTo>
                        <a:pt x="234" y="381"/>
                      </a:moveTo>
                      <a:cubicBezTo>
                        <a:pt x="234" y="389"/>
                        <a:pt x="227" y="395"/>
                        <a:pt x="219" y="395"/>
                      </a:cubicBezTo>
                      <a:cubicBezTo>
                        <a:pt x="31" y="395"/>
                        <a:pt x="31" y="395"/>
                        <a:pt x="31" y="395"/>
                      </a:cubicBezTo>
                      <a:cubicBezTo>
                        <a:pt x="23" y="395"/>
                        <a:pt x="16" y="389"/>
                        <a:pt x="16" y="381"/>
                      </a:cubicBezTo>
                      <a:cubicBezTo>
                        <a:pt x="16" y="214"/>
                        <a:pt x="16" y="214"/>
                        <a:pt x="16" y="214"/>
                      </a:cubicBezTo>
                      <a:cubicBezTo>
                        <a:pt x="234" y="214"/>
                        <a:pt x="234" y="214"/>
                        <a:pt x="234" y="214"/>
                      </a:cubicBezTo>
                      <a:lnTo>
                        <a:pt x="234" y="381"/>
                      </a:lnTo>
                      <a:close/>
                      <a:moveTo>
                        <a:pt x="35" y="138"/>
                      </a:moveTo>
                      <a:cubicBezTo>
                        <a:pt x="35" y="174"/>
                        <a:pt x="35" y="174"/>
                        <a:pt x="35" y="174"/>
                      </a:cubicBezTo>
                      <a:cubicBezTo>
                        <a:pt x="35" y="179"/>
                        <a:pt x="39" y="182"/>
                        <a:pt x="43" y="182"/>
                      </a:cubicBezTo>
                      <a:cubicBezTo>
                        <a:pt x="47" y="182"/>
                        <a:pt x="51" y="179"/>
                        <a:pt x="51" y="174"/>
                      </a:cubicBezTo>
                      <a:cubicBezTo>
                        <a:pt x="51" y="138"/>
                        <a:pt x="51" y="138"/>
                        <a:pt x="51" y="138"/>
                      </a:cubicBezTo>
                      <a:cubicBezTo>
                        <a:pt x="51" y="134"/>
                        <a:pt x="47" y="130"/>
                        <a:pt x="43" y="130"/>
                      </a:cubicBezTo>
                      <a:cubicBezTo>
                        <a:pt x="39" y="130"/>
                        <a:pt x="35" y="134"/>
                        <a:pt x="35" y="1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45" name="Freeform 3"/>
                <p:cNvSpPr>
                  <a:spLocks noChangeAspect="1" noEditPoints="1"/>
                </p:cNvSpPr>
                <p:nvPr/>
              </p:nvSpPr>
              <p:spPr bwMode="auto">
                <a:xfrm>
                  <a:off x="3982806" y="2365430"/>
                  <a:ext cx="74732" cy="180393"/>
                </a:xfrm>
                <a:custGeom>
                  <a:avLst/>
                  <a:gdLst>
                    <a:gd name="T0" fmla="*/ 2147483647 w 189"/>
                    <a:gd name="T1" fmla="*/ 2147483647 h 466"/>
                    <a:gd name="T2" fmla="*/ 2147483647 w 189"/>
                    <a:gd name="T3" fmla="*/ 2147483647 h 466"/>
                    <a:gd name="T4" fmla="*/ 2147483647 w 189"/>
                    <a:gd name="T5" fmla="*/ 2147483647 h 466"/>
                    <a:gd name="T6" fmla="*/ 2147483647 w 189"/>
                    <a:gd name="T7" fmla="*/ 2147483647 h 466"/>
                    <a:gd name="T8" fmla="*/ 2147483647 w 189"/>
                    <a:gd name="T9" fmla="*/ 2147483647 h 466"/>
                    <a:gd name="T10" fmla="*/ 2147483647 w 189"/>
                    <a:gd name="T11" fmla="*/ 2147483647 h 466"/>
                    <a:gd name="T12" fmla="*/ 2147483647 w 189"/>
                    <a:gd name="T13" fmla="*/ 2147483647 h 466"/>
                    <a:gd name="T14" fmla="*/ 2147483647 w 189"/>
                    <a:gd name="T15" fmla="*/ 2147483647 h 466"/>
                    <a:gd name="T16" fmla="*/ 2147483647 w 189"/>
                    <a:gd name="T17" fmla="*/ 2147483647 h 466"/>
                    <a:gd name="T18" fmla="*/ 2147483647 w 189"/>
                    <a:gd name="T19" fmla="*/ 2147483647 h 466"/>
                    <a:gd name="T20" fmla="*/ 2147483647 w 189"/>
                    <a:gd name="T21" fmla="*/ 2147483647 h 466"/>
                    <a:gd name="T22" fmla="*/ 2147483647 w 189"/>
                    <a:gd name="T23" fmla="*/ 2147483647 h 466"/>
                    <a:gd name="T24" fmla="*/ 2147483647 w 189"/>
                    <a:gd name="T25" fmla="*/ 2147483647 h 466"/>
                    <a:gd name="T26" fmla="*/ 2147483647 w 189"/>
                    <a:gd name="T27" fmla="*/ 2147483647 h 466"/>
                    <a:gd name="T28" fmla="*/ 2147483647 w 189"/>
                    <a:gd name="T29" fmla="*/ 2147483647 h 466"/>
                    <a:gd name="T30" fmla="*/ 2147483647 w 189"/>
                    <a:gd name="T31" fmla="*/ 2147483647 h 466"/>
                    <a:gd name="T32" fmla="*/ 2147483647 w 189"/>
                    <a:gd name="T33" fmla="*/ 2147483647 h 466"/>
                    <a:gd name="T34" fmla="*/ 2147483647 w 189"/>
                    <a:gd name="T35" fmla="*/ 2147483647 h 466"/>
                    <a:gd name="T36" fmla="*/ 2147483647 w 189"/>
                    <a:gd name="T37" fmla="*/ 2147483647 h 466"/>
                    <a:gd name="T38" fmla="*/ 2147483647 w 189"/>
                    <a:gd name="T39" fmla="*/ 2147483647 h 466"/>
                    <a:gd name="T40" fmla="*/ 2147483647 w 189"/>
                    <a:gd name="T41" fmla="*/ 2147483647 h 466"/>
                    <a:gd name="T42" fmla="*/ 2147483647 w 189"/>
                    <a:gd name="T43" fmla="*/ 2147483647 h 466"/>
                    <a:gd name="T44" fmla="*/ 2147483647 w 189"/>
                    <a:gd name="T45" fmla="*/ 2147483647 h 466"/>
                    <a:gd name="T46" fmla="*/ 2147483647 w 189"/>
                    <a:gd name="T47" fmla="*/ 2147483647 h 466"/>
                    <a:gd name="T48" fmla="*/ 2147483647 w 189"/>
                    <a:gd name="T49" fmla="*/ 2147483647 h 466"/>
                    <a:gd name="T50" fmla="*/ 2147483647 w 189"/>
                    <a:gd name="T51" fmla="*/ 2147483647 h 466"/>
                    <a:gd name="T52" fmla="*/ 2147483647 w 189"/>
                    <a:gd name="T53" fmla="*/ 2147483647 h 466"/>
                    <a:gd name="T54" fmla="*/ 2147483647 w 189"/>
                    <a:gd name="T55" fmla="*/ 2147483647 h 466"/>
                    <a:gd name="T56" fmla="*/ 2147483647 w 189"/>
                    <a:gd name="T57" fmla="*/ 2147483647 h 466"/>
                    <a:gd name="T58" fmla="*/ 2147483647 w 189"/>
                    <a:gd name="T59" fmla="*/ 2147483647 h 466"/>
                    <a:gd name="T60" fmla="*/ 2147483647 w 189"/>
                    <a:gd name="T61" fmla="*/ 2147483647 h 466"/>
                    <a:gd name="T62" fmla="*/ 2147483647 w 189"/>
                    <a:gd name="T63" fmla="*/ 2147483647 h 466"/>
                    <a:gd name="T64" fmla="*/ 2147483647 w 189"/>
                    <a:gd name="T65" fmla="*/ 2147483647 h 466"/>
                    <a:gd name="T66" fmla="*/ 2147483647 w 189"/>
                    <a:gd name="T67" fmla="*/ 2147483647 h 466"/>
                    <a:gd name="T68" fmla="*/ 2147483647 w 189"/>
                    <a:gd name="T69" fmla="*/ 2147483647 h 466"/>
                    <a:gd name="T70" fmla="*/ 2147483647 w 189"/>
                    <a:gd name="T71" fmla="*/ 2147483647 h 466"/>
                    <a:gd name="T72" fmla="*/ 2147483647 w 189"/>
                    <a:gd name="T73" fmla="*/ 2147483647 h 466"/>
                    <a:gd name="T74" fmla="*/ 2147483647 w 189"/>
                    <a:gd name="T75" fmla="*/ 2147483647 h 466"/>
                    <a:gd name="T76" fmla="*/ 2147483647 w 189"/>
                    <a:gd name="T77" fmla="*/ 2147483647 h 466"/>
                    <a:gd name="T78" fmla="*/ 2147483647 w 189"/>
                    <a:gd name="T79" fmla="*/ 2147483647 h 466"/>
                    <a:gd name="T80" fmla="*/ 2147483647 w 189"/>
                    <a:gd name="T81" fmla="*/ 0 h 466"/>
                    <a:gd name="T82" fmla="*/ 2147483647 w 189"/>
                    <a:gd name="T83" fmla="*/ 0 h 466"/>
                    <a:gd name="T84" fmla="*/ 2147483647 w 189"/>
                    <a:gd name="T85" fmla="*/ 2147483647 h 466"/>
                    <a:gd name="T86" fmla="*/ 2147483647 w 189"/>
                    <a:gd name="T87" fmla="*/ 2147483647 h 466"/>
                    <a:gd name="T88" fmla="*/ 0 w 189"/>
                    <a:gd name="T89" fmla="*/ 2147483647 h 466"/>
                    <a:gd name="T90" fmla="*/ 2147483647 w 189"/>
                    <a:gd name="T91" fmla="*/ 2147483647 h 466"/>
                    <a:gd name="T92" fmla="*/ 2147483647 w 189"/>
                    <a:gd name="T93" fmla="*/ 2147483647 h 466"/>
                    <a:gd name="T94" fmla="*/ 2147483647 w 189"/>
                    <a:gd name="T95" fmla="*/ 2147483647 h 466"/>
                    <a:gd name="T96" fmla="*/ 2147483647 w 189"/>
                    <a:gd name="T97" fmla="*/ 2147483647 h 466"/>
                    <a:gd name="T98" fmla="*/ 2147483647 w 189"/>
                    <a:gd name="T99" fmla="*/ 2147483647 h 466"/>
                    <a:gd name="T100" fmla="*/ 2147483647 w 189"/>
                    <a:gd name="T101" fmla="*/ 2147483647 h 466"/>
                    <a:gd name="T102" fmla="*/ 2147483647 w 189"/>
                    <a:gd name="T103" fmla="*/ 2147483647 h 466"/>
                    <a:gd name="T104" fmla="*/ 2147483647 w 189"/>
                    <a:gd name="T105" fmla="*/ 2147483647 h 466"/>
                    <a:gd name="T106" fmla="*/ 2147483647 w 189"/>
                    <a:gd name="T107" fmla="*/ 2147483647 h 466"/>
                    <a:gd name="T108" fmla="*/ 2147483647 w 189"/>
                    <a:gd name="T109" fmla="*/ 2147483647 h 46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89" h="466">
                      <a:moveTo>
                        <a:pt x="144" y="292"/>
                      </a:moveTo>
                      <a:cubicBezTo>
                        <a:pt x="144" y="83"/>
                        <a:pt x="144" y="83"/>
                        <a:pt x="144" y="83"/>
                      </a:cubicBezTo>
                      <a:cubicBezTo>
                        <a:pt x="144" y="79"/>
                        <a:pt x="141" y="75"/>
                        <a:pt x="136" y="75"/>
                      </a:cubicBezTo>
                      <a:cubicBezTo>
                        <a:pt x="132" y="75"/>
                        <a:pt x="128" y="79"/>
                        <a:pt x="128" y="83"/>
                      </a:cubicBezTo>
                      <a:cubicBezTo>
                        <a:pt x="128" y="107"/>
                        <a:pt x="128" y="107"/>
                        <a:pt x="128" y="107"/>
                      </a:cubicBezTo>
                      <a:cubicBezTo>
                        <a:pt x="94" y="107"/>
                        <a:pt x="94" y="107"/>
                        <a:pt x="94" y="107"/>
                      </a:cubicBezTo>
                      <a:cubicBezTo>
                        <a:pt x="90" y="107"/>
                        <a:pt x="86" y="110"/>
                        <a:pt x="86" y="115"/>
                      </a:cubicBezTo>
                      <a:cubicBezTo>
                        <a:pt x="86" y="119"/>
                        <a:pt x="90" y="123"/>
                        <a:pt x="94" y="123"/>
                      </a:cubicBezTo>
                      <a:cubicBezTo>
                        <a:pt x="128" y="123"/>
                        <a:pt x="128" y="123"/>
                        <a:pt x="128" y="123"/>
                      </a:cubicBezTo>
                      <a:cubicBezTo>
                        <a:pt x="128" y="146"/>
                        <a:pt x="128" y="146"/>
                        <a:pt x="128" y="146"/>
                      </a:cubicBezTo>
                      <a:cubicBezTo>
                        <a:pt x="94" y="146"/>
                        <a:pt x="94" y="146"/>
                        <a:pt x="94" y="146"/>
                      </a:cubicBezTo>
                      <a:cubicBezTo>
                        <a:pt x="90" y="146"/>
                        <a:pt x="86" y="150"/>
                        <a:pt x="86" y="154"/>
                      </a:cubicBezTo>
                      <a:cubicBezTo>
                        <a:pt x="86" y="159"/>
                        <a:pt x="90" y="162"/>
                        <a:pt x="94" y="162"/>
                      </a:cubicBezTo>
                      <a:cubicBezTo>
                        <a:pt x="128" y="162"/>
                        <a:pt x="128" y="162"/>
                        <a:pt x="128" y="162"/>
                      </a:cubicBezTo>
                      <a:cubicBezTo>
                        <a:pt x="128" y="186"/>
                        <a:pt x="128" y="186"/>
                        <a:pt x="128" y="186"/>
                      </a:cubicBezTo>
                      <a:cubicBezTo>
                        <a:pt x="94" y="186"/>
                        <a:pt x="94" y="186"/>
                        <a:pt x="94" y="186"/>
                      </a:cubicBezTo>
                      <a:cubicBezTo>
                        <a:pt x="90" y="186"/>
                        <a:pt x="86" y="190"/>
                        <a:pt x="86" y="194"/>
                      </a:cubicBezTo>
                      <a:cubicBezTo>
                        <a:pt x="86" y="199"/>
                        <a:pt x="90" y="202"/>
                        <a:pt x="94" y="202"/>
                      </a:cubicBezTo>
                      <a:cubicBezTo>
                        <a:pt x="128" y="202"/>
                        <a:pt x="128" y="202"/>
                        <a:pt x="128" y="202"/>
                      </a:cubicBezTo>
                      <a:cubicBezTo>
                        <a:pt x="128" y="226"/>
                        <a:pt x="128" y="226"/>
                        <a:pt x="128" y="226"/>
                      </a:cubicBezTo>
                      <a:cubicBezTo>
                        <a:pt x="94" y="226"/>
                        <a:pt x="94" y="226"/>
                        <a:pt x="94" y="226"/>
                      </a:cubicBezTo>
                      <a:cubicBezTo>
                        <a:pt x="90" y="226"/>
                        <a:pt x="86" y="230"/>
                        <a:pt x="86" y="234"/>
                      </a:cubicBezTo>
                      <a:cubicBezTo>
                        <a:pt x="86" y="239"/>
                        <a:pt x="90" y="242"/>
                        <a:pt x="94" y="242"/>
                      </a:cubicBezTo>
                      <a:cubicBezTo>
                        <a:pt x="128" y="242"/>
                        <a:pt x="128" y="242"/>
                        <a:pt x="128" y="242"/>
                      </a:cubicBezTo>
                      <a:cubicBezTo>
                        <a:pt x="128" y="266"/>
                        <a:pt x="128" y="266"/>
                        <a:pt x="128" y="266"/>
                      </a:cubicBezTo>
                      <a:cubicBezTo>
                        <a:pt x="94" y="266"/>
                        <a:pt x="94" y="266"/>
                        <a:pt x="94" y="266"/>
                      </a:cubicBezTo>
                      <a:cubicBezTo>
                        <a:pt x="90" y="266"/>
                        <a:pt x="86" y="270"/>
                        <a:pt x="86" y="274"/>
                      </a:cubicBezTo>
                      <a:cubicBezTo>
                        <a:pt x="86" y="278"/>
                        <a:pt x="90" y="282"/>
                        <a:pt x="94" y="282"/>
                      </a:cubicBezTo>
                      <a:cubicBezTo>
                        <a:pt x="128" y="282"/>
                        <a:pt x="128" y="282"/>
                        <a:pt x="128" y="282"/>
                      </a:cubicBezTo>
                      <a:cubicBezTo>
                        <a:pt x="128" y="306"/>
                        <a:pt x="128" y="306"/>
                        <a:pt x="128" y="306"/>
                      </a:cubicBezTo>
                      <a:cubicBezTo>
                        <a:pt x="128" y="312"/>
                        <a:pt x="110" y="319"/>
                        <a:pt x="94" y="319"/>
                      </a:cubicBezTo>
                      <a:cubicBezTo>
                        <a:pt x="78" y="319"/>
                        <a:pt x="60" y="313"/>
                        <a:pt x="60" y="306"/>
                      </a:cubicBezTo>
                      <a:cubicBezTo>
                        <a:pt x="60" y="42"/>
                        <a:pt x="60" y="42"/>
                        <a:pt x="60" y="42"/>
                      </a:cubicBezTo>
                      <a:cubicBezTo>
                        <a:pt x="60" y="27"/>
                        <a:pt x="72" y="16"/>
                        <a:pt x="86" y="16"/>
                      </a:cubicBezTo>
                      <a:cubicBezTo>
                        <a:pt x="102" y="16"/>
                        <a:pt x="102" y="16"/>
                        <a:pt x="102" y="16"/>
                      </a:cubicBezTo>
                      <a:cubicBezTo>
                        <a:pt x="117" y="16"/>
                        <a:pt x="128" y="27"/>
                        <a:pt x="128" y="42"/>
                      </a:cubicBezTo>
                      <a:cubicBezTo>
                        <a:pt x="128" y="51"/>
                        <a:pt x="128" y="51"/>
                        <a:pt x="128" y="51"/>
                      </a:cubicBezTo>
                      <a:cubicBezTo>
                        <a:pt x="128" y="56"/>
                        <a:pt x="132" y="59"/>
                        <a:pt x="136" y="59"/>
                      </a:cubicBezTo>
                      <a:cubicBezTo>
                        <a:pt x="141" y="59"/>
                        <a:pt x="144" y="56"/>
                        <a:pt x="144" y="51"/>
                      </a:cubicBezTo>
                      <a:cubicBezTo>
                        <a:pt x="144" y="42"/>
                        <a:pt x="144" y="42"/>
                        <a:pt x="144" y="42"/>
                      </a:cubicBezTo>
                      <a:cubicBezTo>
                        <a:pt x="144" y="18"/>
                        <a:pt x="126" y="0"/>
                        <a:pt x="102" y="0"/>
                      </a:cubicBezTo>
                      <a:cubicBezTo>
                        <a:pt x="86" y="0"/>
                        <a:pt x="86" y="0"/>
                        <a:pt x="86" y="0"/>
                      </a:cubicBezTo>
                      <a:cubicBezTo>
                        <a:pt x="63" y="0"/>
                        <a:pt x="44" y="18"/>
                        <a:pt x="44" y="42"/>
                      </a:cubicBezTo>
                      <a:cubicBezTo>
                        <a:pt x="44" y="292"/>
                        <a:pt x="44" y="292"/>
                        <a:pt x="44" y="292"/>
                      </a:cubicBezTo>
                      <a:cubicBezTo>
                        <a:pt x="18" y="308"/>
                        <a:pt x="1" y="337"/>
                        <a:pt x="0" y="370"/>
                      </a:cubicBezTo>
                      <a:cubicBezTo>
                        <a:pt x="0" y="422"/>
                        <a:pt x="41" y="465"/>
                        <a:pt x="93" y="466"/>
                      </a:cubicBezTo>
                      <a:cubicBezTo>
                        <a:pt x="145" y="466"/>
                        <a:pt x="188" y="425"/>
                        <a:pt x="188" y="373"/>
                      </a:cubicBezTo>
                      <a:cubicBezTo>
                        <a:pt x="189" y="339"/>
                        <a:pt x="171" y="309"/>
                        <a:pt x="144" y="292"/>
                      </a:cubicBezTo>
                      <a:close/>
                      <a:moveTo>
                        <a:pt x="94" y="446"/>
                      </a:moveTo>
                      <a:cubicBezTo>
                        <a:pt x="90" y="446"/>
                        <a:pt x="86" y="442"/>
                        <a:pt x="86" y="438"/>
                      </a:cubicBezTo>
                      <a:cubicBezTo>
                        <a:pt x="86" y="434"/>
                        <a:pt x="90" y="430"/>
                        <a:pt x="94" y="430"/>
                      </a:cubicBezTo>
                      <a:cubicBezTo>
                        <a:pt x="126" y="430"/>
                        <a:pt x="153" y="404"/>
                        <a:pt x="153" y="372"/>
                      </a:cubicBezTo>
                      <a:cubicBezTo>
                        <a:pt x="153" y="367"/>
                        <a:pt x="156" y="364"/>
                        <a:pt x="161" y="364"/>
                      </a:cubicBezTo>
                      <a:cubicBezTo>
                        <a:pt x="165" y="364"/>
                        <a:pt x="169" y="367"/>
                        <a:pt x="169" y="372"/>
                      </a:cubicBezTo>
                      <a:cubicBezTo>
                        <a:pt x="169" y="413"/>
                        <a:pt x="135" y="446"/>
                        <a:pt x="94" y="4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46" name="Freeform 3"/>
                <p:cNvSpPr>
                  <a:spLocks noChangeAspect="1" noEditPoints="1"/>
                </p:cNvSpPr>
                <p:nvPr/>
              </p:nvSpPr>
              <p:spPr bwMode="auto">
                <a:xfrm>
                  <a:off x="3959072" y="2588158"/>
                  <a:ext cx="136227" cy="110369"/>
                </a:xfrm>
                <a:custGeom>
                  <a:avLst/>
                  <a:gdLst>
                    <a:gd name="T0" fmla="*/ 2147483647 w 344"/>
                    <a:gd name="T1" fmla="*/ 2147483647 h 285"/>
                    <a:gd name="T2" fmla="*/ 2147483647 w 344"/>
                    <a:gd name="T3" fmla="*/ 2147483647 h 285"/>
                    <a:gd name="T4" fmla="*/ 2147483647 w 344"/>
                    <a:gd name="T5" fmla="*/ 2147483647 h 285"/>
                    <a:gd name="T6" fmla="*/ 2147483647 w 344"/>
                    <a:gd name="T7" fmla="*/ 2147483647 h 285"/>
                    <a:gd name="T8" fmla="*/ 2147483647 w 344"/>
                    <a:gd name="T9" fmla="*/ 2147483647 h 285"/>
                    <a:gd name="T10" fmla="*/ 2147483647 w 344"/>
                    <a:gd name="T11" fmla="*/ 2147483647 h 285"/>
                    <a:gd name="T12" fmla="*/ 2147483647 w 344"/>
                    <a:gd name="T13" fmla="*/ 2147483647 h 285"/>
                    <a:gd name="T14" fmla="*/ 2147483647 w 344"/>
                    <a:gd name="T15" fmla="*/ 2147483647 h 285"/>
                    <a:gd name="T16" fmla="*/ 2147483647 w 344"/>
                    <a:gd name="T17" fmla="*/ 2147483647 h 285"/>
                    <a:gd name="T18" fmla="*/ 2147483647 w 344"/>
                    <a:gd name="T19" fmla="*/ 2147483647 h 285"/>
                    <a:gd name="T20" fmla="*/ 2147483647 w 344"/>
                    <a:gd name="T21" fmla="*/ 2147483647 h 285"/>
                    <a:gd name="T22" fmla="*/ 2147483647 w 344"/>
                    <a:gd name="T23" fmla="*/ 2147483647 h 285"/>
                    <a:gd name="T24" fmla="*/ 2147483647 w 344"/>
                    <a:gd name="T25" fmla="*/ 2147483647 h 285"/>
                    <a:gd name="T26" fmla="*/ 2147483647 w 344"/>
                    <a:gd name="T27" fmla="*/ 2147483647 h 285"/>
                    <a:gd name="T28" fmla="*/ 2147483647 w 344"/>
                    <a:gd name="T29" fmla="*/ 2147483647 h 285"/>
                    <a:gd name="T30" fmla="*/ 2147483647 w 344"/>
                    <a:gd name="T31" fmla="*/ 2147483647 h 285"/>
                    <a:gd name="T32" fmla="*/ 2147483647 w 344"/>
                    <a:gd name="T33" fmla="*/ 2147483647 h 285"/>
                    <a:gd name="T34" fmla="*/ 2147483647 w 344"/>
                    <a:gd name="T35" fmla="*/ 2147483647 h 285"/>
                    <a:gd name="T36" fmla="*/ 2147483647 w 344"/>
                    <a:gd name="T37" fmla="*/ 2147483647 h 285"/>
                    <a:gd name="T38" fmla="*/ 2147483647 w 344"/>
                    <a:gd name="T39" fmla="*/ 2147483647 h 285"/>
                    <a:gd name="T40" fmla="*/ 2147483647 w 344"/>
                    <a:gd name="T41" fmla="*/ 2147483647 h 285"/>
                    <a:gd name="T42" fmla="*/ 2147483647 w 344"/>
                    <a:gd name="T43" fmla="*/ 2147483647 h 285"/>
                    <a:gd name="T44" fmla="*/ 2147483647 w 344"/>
                    <a:gd name="T45" fmla="*/ 2147483647 h 285"/>
                    <a:gd name="T46" fmla="*/ 2147483647 w 344"/>
                    <a:gd name="T47" fmla="*/ 2147483647 h 285"/>
                    <a:gd name="T48" fmla="*/ 2147483647 w 344"/>
                    <a:gd name="T49" fmla="*/ 2147483647 h 285"/>
                    <a:gd name="T50" fmla="*/ 2147483647 w 344"/>
                    <a:gd name="T51" fmla="*/ 2147483647 h 285"/>
                    <a:gd name="T52" fmla="*/ 2147483647 w 344"/>
                    <a:gd name="T53" fmla="*/ 2147483647 h 285"/>
                    <a:gd name="T54" fmla="*/ 2147483647 w 344"/>
                    <a:gd name="T55" fmla="*/ 2147483647 h 285"/>
                    <a:gd name="T56" fmla="*/ 2147483647 w 344"/>
                    <a:gd name="T57" fmla="*/ 2147483647 h 285"/>
                    <a:gd name="T58" fmla="*/ 2147483647 w 344"/>
                    <a:gd name="T59" fmla="*/ 2147483647 h 285"/>
                    <a:gd name="T60" fmla="*/ 2147483647 w 344"/>
                    <a:gd name="T61" fmla="*/ 2147483647 h 285"/>
                    <a:gd name="T62" fmla="*/ 2147483647 w 344"/>
                    <a:gd name="T63" fmla="*/ 2147483647 h 285"/>
                    <a:gd name="T64" fmla="*/ 2147483647 w 344"/>
                    <a:gd name="T65" fmla="*/ 2147483647 h 285"/>
                    <a:gd name="T66" fmla="*/ 2147483647 w 344"/>
                    <a:gd name="T67" fmla="*/ 2147483647 h 285"/>
                    <a:gd name="T68" fmla="*/ 2147483647 w 344"/>
                    <a:gd name="T69" fmla="*/ 2147483647 h 285"/>
                    <a:gd name="T70" fmla="*/ 2147483647 w 344"/>
                    <a:gd name="T71" fmla="*/ 2147483647 h 285"/>
                    <a:gd name="T72" fmla="*/ 2147483647 w 344"/>
                    <a:gd name="T73" fmla="*/ 2147483647 h 285"/>
                    <a:gd name="T74" fmla="*/ 2147483647 w 344"/>
                    <a:gd name="T75" fmla="*/ 2147483647 h 285"/>
                    <a:gd name="T76" fmla="*/ 2147483647 w 344"/>
                    <a:gd name="T77" fmla="*/ 2147483647 h 285"/>
                    <a:gd name="T78" fmla="*/ 2147483647 w 344"/>
                    <a:gd name="T79" fmla="*/ 2147483647 h 285"/>
                    <a:gd name="T80" fmla="*/ 2147483647 w 344"/>
                    <a:gd name="T81" fmla="*/ 2147483647 h 285"/>
                    <a:gd name="T82" fmla="*/ 2147483647 w 344"/>
                    <a:gd name="T83" fmla="*/ 2147483647 h 285"/>
                    <a:gd name="T84" fmla="*/ 2147483647 w 344"/>
                    <a:gd name="T85" fmla="*/ 2147483647 h 285"/>
                    <a:gd name="T86" fmla="*/ 2147483647 w 344"/>
                    <a:gd name="T87" fmla="*/ 2147483647 h 285"/>
                    <a:gd name="T88" fmla="*/ 2147483647 w 344"/>
                    <a:gd name="T89" fmla="*/ 2147483647 h 285"/>
                    <a:gd name="T90" fmla="*/ 2147483647 w 344"/>
                    <a:gd name="T91" fmla="*/ 2147483647 h 285"/>
                    <a:gd name="T92" fmla="*/ 2147483647 w 344"/>
                    <a:gd name="T93" fmla="*/ 2147483647 h 285"/>
                    <a:gd name="T94" fmla="*/ 2147483647 w 344"/>
                    <a:gd name="T95" fmla="*/ 2147483647 h 285"/>
                    <a:gd name="T96" fmla="*/ 2147483647 w 344"/>
                    <a:gd name="T97" fmla="*/ 2147483647 h 285"/>
                    <a:gd name="T98" fmla="*/ 2147483647 w 344"/>
                    <a:gd name="T99" fmla="*/ 2147483647 h 285"/>
                    <a:gd name="T100" fmla="*/ 2147483647 w 344"/>
                    <a:gd name="T101" fmla="*/ 2147483647 h 285"/>
                    <a:gd name="T102" fmla="*/ 2147483647 w 344"/>
                    <a:gd name="T103" fmla="*/ 2147483647 h 285"/>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344" h="285">
                      <a:moveTo>
                        <a:pt x="131" y="2"/>
                      </a:moveTo>
                      <a:cubicBezTo>
                        <a:pt x="127" y="0"/>
                        <a:pt x="122" y="2"/>
                        <a:pt x="120" y="6"/>
                      </a:cubicBezTo>
                      <a:cubicBezTo>
                        <a:pt x="2" y="273"/>
                        <a:pt x="2" y="273"/>
                        <a:pt x="2" y="273"/>
                      </a:cubicBezTo>
                      <a:cubicBezTo>
                        <a:pt x="0" y="278"/>
                        <a:pt x="2" y="282"/>
                        <a:pt x="6" y="284"/>
                      </a:cubicBezTo>
                      <a:cubicBezTo>
                        <a:pt x="7" y="285"/>
                        <a:pt x="8" y="285"/>
                        <a:pt x="9" y="285"/>
                      </a:cubicBezTo>
                      <a:cubicBezTo>
                        <a:pt x="12" y="285"/>
                        <a:pt x="15" y="283"/>
                        <a:pt x="16" y="280"/>
                      </a:cubicBezTo>
                      <a:cubicBezTo>
                        <a:pt x="135" y="12"/>
                        <a:pt x="135" y="12"/>
                        <a:pt x="135" y="12"/>
                      </a:cubicBezTo>
                      <a:cubicBezTo>
                        <a:pt x="137" y="8"/>
                        <a:pt x="135" y="3"/>
                        <a:pt x="131" y="2"/>
                      </a:cubicBezTo>
                      <a:close/>
                      <a:moveTo>
                        <a:pt x="172" y="1"/>
                      </a:moveTo>
                      <a:cubicBezTo>
                        <a:pt x="168" y="1"/>
                        <a:pt x="164" y="4"/>
                        <a:pt x="164" y="9"/>
                      </a:cubicBezTo>
                      <a:cubicBezTo>
                        <a:pt x="164" y="25"/>
                        <a:pt x="164" y="25"/>
                        <a:pt x="164" y="25"/>
                      </a:cubicBezTo>
                      <a:cubicBezTo>
                        <a:pt x="164" y="29"/>
                        <a:pt x="168" y="33"/>
                        <a:pt x="172" y="33"/>
                      </a:cubicBezTo>
                      <a:cubicBezTo>
                        <a:pt x="177" y="33"/>
                        <a:pt x="180" y="29"/>
                        <a:pt x="180" y="25"/>
                      </a:cubicBezTo>
                      <a:cubicBezTo>
                        <a:pt x="180" y="9"/>
                        <a:pt x="180" y="9"/>
                        <a:pt x="180" y="9"/>
                      </a:cubicBezTo>
                      <a:cubicBezTo>
                        <a:pt x="180" y="4"/>
                        <a:pt x="177" y="1"/>
                        <a:pt x="172" y="1"/>
                      </a:cubicBezTo>
                      <a:close/>
                      <a:moveTo>
                        <a:pt x="172" y="159"/>
                      </a:moveTo>
                      <a:cubicBezTo>
                        <a:pt x="168" y="159"/>
                        <a:pt x="164" y="162"/>
                        <a:pt x="164" y="167"/>
                      </a:cubicBezTo>
                      <a:cubicBezTo>
                        <a:pt x="164" y="202"/>
                        <a:pt x="164" y="202"/>
                        <a:pt x="164" y="202"/>
                      </a:cubicBezTo>
                      <a:cubicBezTo>
                        <a:pt x="164" y="207"/>
                        <a:pt x="168" y="210"/>
                        <a:pt x="172" y="210"/>
                      </a:cubicBezTo>
                      <a:cubicBezTo>
                        <a:pt x="177" y="210"/>
                        <a:pt x="180" y="207"/>
                        <a:pt x="180" y="202"/>
                      </a:cubicBezTo>
                      <a:cubicBezTo>
                        <a:pt x="180" y="167"/>
                        <a:pt x="180" y="167"/>
                        <a:pt x="180" y="167"/>
                      </a:cubicBezTo>
                      <a:cubicBezTo>
                        <a:pt x="180" y="162"/>
                        <a:pt x="177" y="159"/>
                        <a:pt x="172" y="159"/>
                      </a:cubicBezTo>
                      <a:close/>
                      <a:moveTo>
                        <a:pt x="172" y="70"/>
                      </a:moveTo>
                      <a:cubicBezTo>
                        <a:pt x="168" y="70"/>
                        <a:pt x="164" y="74"/>
                        <a:pt x="164" y="78"/>
                      </a:cubicBezTo>
                      <a:cubicBezTo>
                        <a:pt x="164" y="114"/>
                        <a:pt x="164" y="114"/>
                        <a:pt x="164" y="114"/>
                      </a:cubicBezTo>
                      <a:cubicBezTo>
                        <a:pt x="164" y="118"/>
                        <a:pt x="168" y="122"/>
                        <a:pt x="172" y="122"/>
                      </a:cubicBezTo>
                      <a:cubicBezTo>
                        <a:pt x="177" y="122"/>
                        <a:pt x="180" y="118"/>
                        <a:pt x="180" y="114"/>
                      </a:cubicBezTo>
                      <a:cubicBezTo>
                        <a:pt x="180" y="78"/>
                        <a:pt x="180" y="78"/>
                        <a:pt x="180" y="78"/>
                      </a:cubicBezTo>
                      <a:cubicBezTo>
                        <a:pt x="180" y="74"/>
                        <a:pt x="177" y="70"/>
                        <a:pt x="172" y="70"/>
                      </a:cubicBezTo>
                      <a:close/>
                      <a:moveTo>
                        <a:pt x="172" y="247"/>
                      </a:moveTo>
                      <a:cubicBezTo>
                        <a:pt x="168" y="247"/>
                        <a:pt x="164" y="251"/>
                        <a:pt x="164" y="255"/>
                      </a:cubicBezTo>
                      <a:cubicBezTo>
                        <a:pt x="164" y="271"/>
                        <a:pt x="164" y="271"/>
                        <a:pt x="164" y="271"/>
                      </a:cubicBezTo>
                      <a:cubicBezTo>
                        <a:pt x="164" y="276"/>
                        <a:pt x="168" y="279"/>
                        <a:pt x="172" y="279"/>
                      </a:cubicBezTo>
                      <a:cubicBezTo>
                        <a:pt x="177" y="279"/>
                        <a:pt x="180" y="276"/>
                        <a:pt x="180" y="271"/>
                      </a:cubicBezTo>
                      <a:cubicBezTo>
                        <a:pt x="180" y="255"/>
                        <a:pt x="180" y="255"/>
                        <a:pt x="180" y="255"/>
                      </a:cubicBezTo>
                      <a:cubicBezTo>
                        <a:pt x="180" y="251"/>
                        <a:pt x="177" y="247"/>
                        <a:pt x="172" y="247"/>
                      </a:cubicBezTo>
                      <a:close/>
                      <a:moveTo>
                        <a:pt x="235" y="30"/>
                      </a:moveTo>
                      <a:cubicBezTo>
                        <a:pt x="224" y="6"/>
                        <a:pt x="224" y="6"/>
                        <a:pt x="224" y="6"/>
                      </a:cubicBezTo>
                      <a:cubicBezTo>
                        <a:pt x="222" y="2"/>
                        <a:pt x="218" y="0"/>
                        <a:pt x="213" y="2"/>
                      </a:cubicBezTo>
                      <a:cubicBezTo>
                        <a:pt x="209" y="3"/>
                        <a:pt x="208" y="8"/>
                        <a:pt x="209" y="12"/>
                      </a:cubicBezTo>
                      <a:cubicBezTo>
                        <a:pt x="220" y="36"/>
                        <a:pt x="220" y="36"/>
                        <a:pt x="220" y="36"/>
                      </a:cubicBezTo>
                      <a:cubicBezTo>
                        <a:pt x="222" y="39"/>
                        <a:pt x="224" y="41"/>
                        <a:pt x="227" y="41"/>
                      </a:cubicBezTo>
                      <a:cubicBezTo>
                        <a:pt x="229" y="41"/>
                        <a:pt x="230" y="41"/>
                        <a:pt x="231" y="41"/>
                      </a:cubicBezTo>
                      <a:cubicBezTo>
                        <a:pt x="235" y="39"/>
                        <a:pt x="237" y="34"/>
                        <a:pt x="235" y="30"/>
                      </a:cubicBezTo>
                      <a:close/>
                      <a:moveTo>
                        <a:pt x="343" y="273"/>
                      </a:moveTo>
                      <a:cubicBezTo>
                        <a:pt x="248" y="60"/>
                        <a:pt x="248" y="60"/>
                        <a:pt x="248" y="60"/>
                      </a:cubicBezTo>
                      <a:cubicBezTo>
                        <a:pt x="246" y="56"/>
                        <a:pt x="241" y="54"/>
                        <a:pt x="237" y="56"/>
                      </a:cubicBezTo>
                      <a:cubicBezTo>
                        <a:pt x="233" y="58"/>
                        <a:pt x="232" y="62"/>
                        <a:pt x="233" y="66"/>
                      </a:cubicBezTo>
                      <a:cubicBezTo>
                        <a:pt x="328" y="280"/>
                        <a:pt x="328" y="280"/>
                        <a:pt x="328" y="280"/>
                      </a:cubicBezTo>
                      <a:cubicBezTo>
                        <a:pt x="329" y="283"/>
                        <a:pt x="332" y="285"/>
                        <a:pt x="335" y="285"/>
                      </a:cubicBezTo>
                      <a:cubicBezTo>
                        <a:pt x="336" y="285"/>
                        <a:pt x="337" y="285"/>
                        <a:pt x="339" y="284"/>
                      </a:cubicBezTo>
                      <a:cubicBezTo>
                        <a:pt x="343" y="282"/>
                        <a:pt x="344" y="278"/>
                        <a:pt x="343" y="2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47" name="Freeform 3"/>
                <p:cNvSpPr>
                  <a:spLocks noChangeAspect="1" noEditPoints="1"/>
                </p:cNvSpPr>
                <p:nvPr/>
              </p:nvSpPr>
              <p:spPr bwMode="auto">
                <a:xfrm>
                  <a:off x="3933960" y="2137181"/>
                  <a:ext cx="138992" cy="134693"/>
                </a:xfrm>
                <a:custGeom>
                  <a:avLst/>
                  <a:gdLst>
                    <a:gd name="T0" fmla="*/ 2147483647 w 430"/>
                    <a:gd name="T1" fmla="*/ 2147483647 h 426"/>
                    <a:gd name="T2" fmla="*/ 2147483647 w 430"/>
                    <a:gd name="T3" fmla="*/ 2147483647 h 426"/>
                    <a:gd name="T4" fmla="*/ 2147483647 w 430"/>
                    <a:gd name="T5" fmla="*/ 2147483647 h 426"/>
                    <a:gd name="T6" fmla="*/ 2147483647 w 430"/>
                    <a:gd name="T7" fmla="*/ 2147483647 h 426"/>
                    <a:gd name="T8" fmla="*/ 2147483647 w 430"/>
                    <a:gd name="T9" fmla="*/ 2147483647 h 426"/>
                    <a:gd name="T10" fmla="*/ 2147483647 w 430"/>
                    <a:gd name="T11" fmla="*/ 2147483647 h 426"/>
                    <a:gd name="T12" fmla="*/ 2147483647 w 430"/>
                    <a:gd name="T13" fmla="*/ 2147483647 h 426"/>
                    <a:gd name="T14" fmla="*/ 2147483647 w 430"/>
                    <a:gd name="T15" fmla="*/ 2147483647 h 426"/>
                    <a:gd name="T16" fmla="*/ 2147483647 w 430"/>
                    <a:gd name="T17" fmla="*/ 2147483647 h 426"/>
                    <a:gd name="T18" fmla="*/ 2147483647 w 430"/>
                    <a:gd name="T19" fmla="*/ 2147483647 h 426"/>
                    <a:gd name="T20" fmla="*/ 2147483647 w 430"/>
                    <a:gd name="T21" fmla="*/ 2147483647 h 426"/>
                    <a:gd name="T22" fmla="*/ 2147483647 w 430"/>
                    <a:gd name="T23" fmla="*/ 2147483647 h 426"/>
                    <a:gd name="T24" fmla="*/ 2147483647 w 430"/>
                    <a:gd name="T25" fmla="*/ 2147483647 h 426"/>
                    <a:gd name="T26" fmla="*/ 2147483647 w 430"/>
                    <a:gd name="T27" fmla="*/ 2147483647 h 426"/>
                    <a:gd name="T28" fmla="*/ 2147483647 w 430"/>
                    <a:gd name="T29" fmla="*/ 2147483647 h 426"/>
                    <a:gd name="T30" fmla="*/ 2147483647 w 430"/>
                    <a:gd name="T31" fmla="*/ 2147483647 h 426"/>
                    <a:gd name="T32" fmla="*/ 2147483647 w 430"/>
                    <a:gd name="T33" fmla="*/ 2147483647 h 426"/>
                    <a:gd name="T34" fmla="*/ 2147483647 w 430"/>
                    <a:gd name="T35" fmla="*/ 2147483647 h 426"/>
                    <a:gd name="T36" fmla="*/ 2147483647 w 430"/>
                    <a:gd name="T37" fmla="*/ 2147483647 h 426"/>
                    <a:gd name="T38" fmla="*/ 2147483647 w 430"/>
                    <a:gd name="T39" fmla="*/ 2147483647 h 426"/>
                    <a:gd name="T40" fmla="*/ 2147483647 w 430"/>
                    <a:gd name="T41" fmla="*/ 2147483647 h 426"/>
                    <a:gd name="T42" fmla="*/ 2147483647 w 430"/>
                    <a:gd name="T43" fmla="*/ 2147483647 h 426"/>
                    <a:gd name="T44" fmla="*/ 2147483647 w 430"/>
                    <a:gd name="T45" fmla="*/ 2147483647 h 426"/>
                    <a:gd name="T46" fmla="*/ 2147483647 w 430"/>
                    <a:gd name="T47" fmla="*/ 2147483647 h 426"/>
                    <a:gd name="T48" fmla="*/ 2147483647 w 430"/>
                    <a:gd name="T49" fmla="*/ 2147483647 h 426"/>
                    <a:gd name="T50" fmla="*/ 2147483647 w 430"/>
                    <a:gd name="T51" fmla="*/ 2147483647 h 426"/>
                    <a:gd name="T52" fmla="*/ 2147483647 w 430"/>
                    <a:gd name="T53" fmla="*/ 2147483647 h 426"/>
                    <a:gd name="T54" fmla="*/ 2147483647 w 430"/>
                    <a:gd name="T55" fmla="*/ 2147483647 h 426"/>
                    <a:gd name="T56" fmla="*/ 2147483647 w 430"/>
                    <a:gd name="T57" fmla="*/ 2147483647 h 426"/>
                    <a:gd name="T58" fmla="*/ 2147483647 w 430"/>
                    <a:gd name="T59" fmla="*/ 2147483647 h 426"/>
                    <a:gd name="T60" fmla="*/ 2147483647 w 430"/>
                    <a:gd name="T61" fmla="*/ 2147483647 h 426"/>
                    <a:gd name="T62" fmla="*/ 2147483647 w 430"/>
                    <a:gd name="T63" fmla="*/ 2147483647 h 426"/>
                    <a:gd name="T64" fmla="*/ 2147483647 w 430"/>
                    <a:gd name="T65" fmla="*/ 2147483647 h 426"/>
                    <a:gd name="T66" fmla="*/ 2147483647 w 430"/>
                    <a:gd name="T67" fmla="*/ 2147483647 h 426"/>
                    <a:gd name="T68" fmla="*/ 2147483647 w 430"/>
                    <a:gd name="T69" fmla="*/ 2147483647 h 426"/>
                    <a:gd name="T70" fmla="*/ 2147483647 w 430"/>
                    <a:gd name="T71" fmla="*/ 2147483647 h 426"/>
                    <a:gd name="T72" fmla="*/ 2147483647 w 430"/>
                    <a:gd name="T73" fmla="*/ 2147483647 h 426"/>
                    <a:gd name="T74" fmla="*/ 2147483647 w 430"/>
                    <a:gd name="T75" fmla="*/ 2147483647 h 426"/>
                    <a:gd name="T76" fmla="*/ 2147483647 w 430"/>
                    <a:gd name="T77" fmla="*/ 2147483647 h 426"/>
                    <a:gd name="T78" fmla="*/ 2147483647 w 430"/>
                    <a:gd name="T79" fmla="*/ 2147483647 h 426"/>
                    <a:gd name="T80" fmla="*/ 2147483647 w 430"/>
                    <a:gd name="T81" fmla="*/ 2147483647 h 426"/>
                    <a:gd name="T82" fmla="*/ 2147483647 w 430"/>
                    <a:gd name="T83" fmla="*/ 2147483647 h 426"/>
                    <a:gd name="T84" fmla="*/ 2147483647 w 430"/>
                    <a:gd name="T85" fmla="*/ 2147483647 h 426"/>
                    <a:gd name="T86" fmla="*/ 2147483647 w 430"/>
                    <a:gd name="T87" fmla="*/ 2147483647 h 426"/>
                    <a:gd name="T88" fmla="*/ 2147483647 w 430"/>
                    <a:gd name="T89" fmla="*/ 2147483647 h 426"/>
                    <a:gd name="T90" fmla="*/ 2147483647 w 430"/>
                    <a:gd name="T91" fmla="*/ 2147483647 h 426"/>
                    <a:gd name="T92" fmla="*/ 2147483647 w 430"/>
                    <a:gd name="T93" fmla="*/ 2147483647 h 426"/>
                    <a:gd name="T94" fmla="*/ 2147483647 w 430"/>
                    <a:gd name="T95" fmla="*/ 2147483647 h 426"/>
                    <a:gd name="T96" fmla="*/ 2147483647 w 430"/>
                    <a:gd name="T97" fmla="*/ 2147483647 h 426"/>
                    <a:gd name="T98" fmla="*/ 2147483647 w 430"/>
                    <a:gd name="T99" fmla="*/ 2147483647 h 426"/>
                    <a:gd name="T100" fmla="*/ 2147483647 w 430"/>
                    <a:gd name="T101" fmla="*/ 2147483647 h 426"/>
                    <a:gd name="T102" fmla="*/ 2147483647 w 430"/>
                    <a:gd name="T103" fmla="*/ 2147483647 h 426"/>
                    <a:gd name="T104" fmla="*/ 2147483647 w 430"/>
                    <a:gd name="T105" fmla="*/ 2147483647 h 426"/>
                    <a:gd name="T106" fmla="*/ 2147483647 w 430"/>
                    <a:gd name="T107" fmla="*/ 2147483647 h 426"/>
                    <a:gd name="T108" fmla="*/ 2147483647 w 430"/>
                    <a:gd name="T109" fmla="*/ 2147483647 h 426"/>
                    <a:gd name="T110" fmla="*/ 2147483647 w 430"/>
                    <a:gd name="T111" fmla="*/ 2147483647 h 426"/>
                    <a:gd name="T112" fmla="*/ 2147483647 w 430"/>
                    <a:gd name="T113" fmla="*/ 2147483647 h 426"/>
                    <a:gd name="T114" fmla="*/ 2147483647 w 430"/>
                    <a:gd name="T115" fmla="*/ 2147483647 h 426"/>
                    <a:gd name="T116" fmla="*/ 2147483647 w 430"/>
                    <a:gd name="T117" fmla="*/ 2147483647 h 426"/>
                    <a:gd name="T118" fmla="*/ 2147483647 w 430"/>
                    <a:gd name="T119" fmla="*/ 2147483647 h 426"/>
                    <a:gd name="T120" fmla="*/ 2147483647 w 430"/>
                    <a:gd name="T121" fmla="*/ 2147483647 h 4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430" h="426">
                      <a:moveTo>
                        <a:pt x="366" y="169"/>
                      </a:moveTo>
                      <a:cubicBezTo>
                        <a:pt x="366" y="165"/>
                        <a:pt x="366" y="160"/>
                        <a:pt x="366" y="155"/>
                      </a:cubicBezTo>
                      <a:cubicBezTo>
                        <a:pt x="363" y="133"/>
                        <a:pt x="353" y="113"/>
                        <a:pt x="339" y="97"/>
                      </a:cubicBezTo>
                      <a:cubicBezTo>
                        <a:pt x="336" y="94"/>
                        <a:pt x="331" y="94"/>
                        <a:pt x="328" y="97"/>
                      </a:cubicBezTo>
                      <a:cubicBezTo>
                        <a:pt x="325" y="100"/>
                        <a:pt x="324" y="105"/>
                        <a:pt x="327" y="108"/>
                      </a:cubicBezTo>
                      <a:cubicBezTo>
                        <a:pt x="339" y="121"/>
                        <a:pt x="347" y="138"/>
                        <a:pt x="350" y="157"/>
                      </a:cubicBezTo>
                      <a:cubicBezTo>
                        <a:pt x="350" y="161"/>
                        <a:pt x="350" y="165"/>
                        <a:pt x="350" y="169"/>
                      </a:cubicBezTo>
                      <a:cubicBezTo>
                        <a:pt x="350" y="195"/>
                        <a:pt x="340" y="218"/>
                        <a:pt x="323" y="235"/>
                      </a:cubicBezTo>
                      <a:cubicBezTo>
                        <a:pt x="321" y="234"/>
                        <a:pt x="320" y="233"/>
                        <a:pt x="318" y="232"/>
                      </a:cubicBezTo>
                      <a:cubicBezTo>
                        <a:pt x="321" y="226"/>
                        <a:pt x="322" y="219"/>
                        <a:pt x="322" y="211"/>
                      </a:cubicBezTo>
                      <a:cubicBezTo>
                        <a:pt x="322" y="183"/>
                        <a:pt x="300" y="161"/>
                        <a:pt x="272" y="161"/>
                      </a:cubicBezTo>
                      <a:cubicBezTo>
                        <a:pt x="263" y="161"/>
                        <a:pt x="254" y="163"/>
                        <a:pt x="247" y="168"/>
                      </a:cubicBezTo>
                      <a:cubicBezTo>
                        <a:pt x="233" y="143"/>
                        <a:pt x="210" y="124"/>
                        <a:pt x="183" y="116"/>
                      </a:cubicBezTo>
                      <a:cubicBezTo>
                        <a:pt x="197" y="96"/>
                        <a:pt x="220" y="81"/>
                        <a:pt x="246" y="78"/>
                      </a:cubicBezTo>
                      <a:cubicBezTo>
                        <a:pt x="252" y="77"/>
                        <a:pt x="257" y="77"/>
                        <a:pt x="261" y="77"/>
                      </a:cubicBezTo>
                      <a:cubicBezTo>
                        <a:pt x="277" y="77"/>
                        <a:pt x="290" y="80"/>
                        <a:pt x="303" y="88"/>
                      </a:cubicBezTo>
                      <a:cubicBezTo>
                        <a:pt x="307" y="90"/>
                        <a:pt x="312" y="89"/>
                        <a:pt x="314" y="85"/>
                      </a:cubicBezTo>
                      <a:cubicBezTo>
                        <a:pt x="317" y="81"/>
                        <a:pt x="315" y="76"/>
                        <a:pt x="312" y="74"/>
                      </a:cubicBezTo>
                      <a:cubicBezTo>
                        <a:pt x="312" y="74"/>
                        <a:pt x="312" y="74"/>
                        <a:pt x="312" y="74"/>
                      </a:cubicBezTo>
                      <a:cubicBezTo>
                        <a:pt x="296" y="65"/>
                        <a:pt x="279" y="61"/>
                        <a:pt x="261" y="61"/>
                      </a:cubicBezTo>
                      <a:cubicBezTo>
                        <a:pt x="256" y="61"/>
                        <a:pt x="250" y="61"/>
                        <a:pt x="244" y="62"/>
                      </a:cubicBezTo>
                      <a:cubicBezTo>
                        <a:pt x="210" y="66"/>
                        <a:pt x="182" y="86"/>
                        <a:pt x="166" y="113"/>
                      </a:cubicBezTo>
                      <a:cubicBezTo>
                        <a:pt x="162" y="113"/>
                        <a:pt x="158" y="112"/>
                        <a:pt x="154" y="112"/>
                      </a:cubicBezTo>
                      <a:cubicBezTo>
                        <a:pt x="102" y="112"/>
                        <a:pt x="59" y="151"/>
                        <a:pt x="51" y="201"/>
                      </a:cubicBezTo>
                      <a:cubicBezTo>
                        <a:pt x="22" y="209"/>
                        <a:pt x="0" y="236"/>
                        <a:pt x="0" y="268"/>
                      </a:cubicBezTo>
                      <a:cubicBezTo>
                        <a:pt x="0" y="298"/>
                        <a:pt x="18" y="323"/>
                        <a:pt x="44" y="333"/>
                      </a:cubicBezTo>
                      <a:cubicBezTo>
                        <a:pt x="45" y="334"/>
                        <a:pt x="46" y="334"/>
                        <a:pt x="47" y="334"/>
                      </a:cubicBezTo>
                      <a:cubicBezTo>
                        <a:pt x="50" y="334"/>
                        <a:pt x="53" y="332"/>
                        <a:pt x="54" y="329"/>
                      </a:cubicBezTo>
                      <a:cubicBezTo>
                        <a:pt x="56" y="325"/>
                        <a:pt x="54" y="320"/>
                        <a:pt x="50" y="318"/>
                      </a:cubicBezTo>
                      <a:cubicBezTo>
                        <a:pt x="30" y="310"/>
                        <a:pt x="16" y="291"/>
                        <a:pt x="16" y="268"/>
                      </a:cubicBezTo>
                      <a:cubicBezTo>
                        <a:pt x="16" y="242"/>
                        <a:pt x="35" y="220"/>
                        <a:pt x="60" y="215"/>
                      </a:cubicBezTo>
                      <a:cubicBezTo>
                        <a:pt x="63" y="215"/>
                        <a:pt x="66" y="212"/>
                        <a:pt x="66" y="208"/>
                      </a:cubicBezTo>
                      <a:cubicBezTo>
                        <a:pt x="71" y="163"/>
                        <a:pt x="108" y="128"/>
                        <a:pt x="154" y="128"/>
                      </a:cubicBezTo>
                      <a:cubicBezTo>
                        <a:pt x="191" y="128"/>
                        <a:pt x="223" y="151"/>
                        <a:pt x="236" y="183"/>
                      </a:cubicBezTo>
                      <a:cubicBezTo>
                        <a:pt x="237" y="185"/>
                        <a:pt x="239" y="187"/>
                        <a:pt x="242" y="187"/>
                      </a:cubicBezTo>
                      <a:cubicBezTo>
                        <a:pt x="244" y="188"/>
                        <a:pt x="247" y="187"/>
                        <a:pt x="249" y="186"/>
                      </a:cubicBezTo>
                      <a:cubicBezTo>
                        <a:pt x="255" y="180"/>
                        <a:pt x="263" y="177"/>
                        <a:pt x="272" y="177"/>
                      </a:cubicBezTo>
                      <a:cubicBezTo>
                        <a:pt x="291" y="177"/>
                        <a:pt x="306" y="192"/>
                        <a:pt x="306" y="211"/>
                      </a:cubicBezTo>
                      <a:cubicBezTo>
                        <a:pt x="306" y="219"/>
                        <a:pt x="304" y="227"/>
                        <a:pt x="299" y="232"/>
                      </a:cubicBezTo>
                      <a:cubicBezTo>
                        <a:pt x="297" y="235"/>
                        <a:pt x="297" y="238"/>
                        <a:pt x="298" y="240"/>
                      </a:cubicBezTo>
                      <a:cubicBezTo>
                        <a:pt x="299" y="243"/>
                        <a:pt x="301" y="245"/>
                        <a:pt x="304" y="245"/>
                      </a:cubicBezTo>
                      <a:cubicBezTo>
                        <a:pt x="323" y="248"/>
                        <a:pt x="337" y="264"/>
                        <a:pt x="337" y="284"/>
                      </a:cubicBezTo>
                      <a:cubicBezTo>
                        <a:pt x="337" y="299"/>
                        <a:pt x="329" y="312"/>
                        <a:pt x="317" y="318"/>
                      </a:cubicBezTo>
                      <a:cubicBezTo>
                        <a:pt x="313" y="320"/>
                        <a:pt x="311" y="325"/>
                        <a:pt x="313" y="329"/>
                      </a:cubicBezTo>
                      <a:cubicBezTo>
                        <a:pt x="315" y="333"/>
                        <a:pt x="320" y="334"/>
                        <a:pt x="324" y="332"/>
                      </a:cubicBezTo>
                      <a:cubicBezTo>
                        <a:pt x="324" y="332"/>
                        <a:pt x="324" y="332"/>
                        <a:pt x="324" y="332"/>
                      </a:cubicBezTo>
                      <a:cubicBezTo>
                        <a:pt x="342" y="323"/>
                        <a:pt x="353" y="305"/>
                        <a:pt x="353" y="284"/>
                      </a:cubicBezTo>
                      <a:cubicBezTo>
                        <a:pt x="353" y="268"/>
                        <a:pt x="347" y="254"/>
                        <a:pt x="336" y="244"/>
                      </a:cubicBezTo>
                      <a:cubicBezTo>
                        <a:pt x="355" y="224"/>
                        <a:pt x="366" y="198"/>
                        <a:pt x="366" y="169"/>
                      </a:cubicBezTo>
                      <a:moveTo>
                        <a:pt x="233" y="39"/>
                      </a:moveTo>
                      <a:cubicBezTo>
                        <a:pt x="234" y="43"/>
                        <a:pt x="237" y="46"/>
                        <a:pt x="241" y="46"/>
                      </a:cubicBezTo>
                      <a:cubicBezTo>
                        <a:pt x="242" y="46"/>
                        <a:pt x="242" y="46"/>
                        <a:pt x="242" y="46"/>
                      </a:cubicBezTo>
                      <a:cubicBezTo>
                        <a:pt x="247" y="45"/>
                        <a:pt x="250" y="41"/>
                        <a:pt x="249" y="37"/>
                      </a:cubicBezTo>
                      <a:cubicBezTo>
                        <a:pt x="245" y="8"/>
                        <a:pt x="245" y="8"/>
                        <a:pt x="245" y="8"/>
                      </a:cubicBezTo>
                      <a:cubicBezTo>
                        <a:pt x="245" y="3"/>
                        <a:pt x="241" y="0"/>
                        <a:pt x="236" y="1"/>
                      </a:cubicBezTo>
                      <a:cubicBezTo>
                        <a:pt x="232" y="1"/>
                        <a:pt x="229" y="5"/>
                        <a:pt x="229" y="10"/>
                      </a:cubicBezTo>
                      <a:lnTo>
                        <a:pt x="233" y="39"/>
                      </a:lnTo>
                      <a:close/>
                      <a:moveTo>
                        <a:pt x="185" y="60"/>
                      </a:moveTo>
                      <a:cubicBezTo>
                        <a:pt x="186" y="62"/>
                        <a:pt x="189" y="64"/>
                        <a:pt x="192" y="64"/>
                      </a:cubicBezTo>
                      <a:cubicBezTo>
                        <a:pt x="193" y="64"/>
                        <a:pt x="194" y="63"/>
                        <a:pt x="196" y="63"/>
                      </a:cubicBezTo>
                      <a:cubicBezTo>
                        <a:pt x="199" y="60"/>
                        <a:pt x="201" y="56"/>
                        <a:pt x="199" y="52"/>
                      </a:cubicBezTo>
                      <a:cubicBezTo>
                        <a:pt x="183" y="25"/>
                        <a:pt x="183" y="25"/>
                        <a:pt x="183" y="25"/>
                      </a:cubicBezTo>
                      <a:cubicBezTo>
                        <a:pt x="181" y="21"/>
                        <a:pt x="176" y="20"/>
                        <a:pt x="173" y="22"/>
                      </a:cubicBezTo>
                      <a:cubicBezTo>
                        <a:pt x="169" y="24"/>
                        <a:pt x="167" y="29"/>
                        <a:pt x="170" y="33"/>
                      </a:cubicBezTo>
                      <a:lnTo>
                        <a:pt x="185" y="60"/>
                      </a:lnTo>
                      <a:close/>
                      <a:moveTo>
                        <a:pt x="394" y="266"/>
                      </a:moveTo>
                      <a:cubicBezTo>
                        <a:pt x="366" y="245"/>
                        <a:pt x="366" y="245"/>
                        <a:pt x="366" y="245"/>
                      </a:cubicBezTo>
                      <a:cubicBezTo>
                        <a:pt x="363" y="242"/>
                        <a:pt x="358" y="243"/>
                        <a:pt x="355" y="247"/>
                      </a:cubicBezTo>
                      <a:cubicBezTo>
                        <a:pt x="352" y="250"/>
                        <a:pt x="353" y="255"/>
                        <a:pt x="357" y="258"/>
                      </a:cubicBezTo>
                      <a:cubicBezTo>
                        <a:pt x="384" y="279"/>
                        <a:pt x="384" y="279"/>
                        <a:pt x="384" y="279"/>
                      </a:cubicBezTo>
                      <a:cubicBezTo>
                        <a:pt x="385" y="280"/>
                        <a:pt x="387" y="280"/>
                        <a:pt x="389" y="280"/>
                      </a:cubicBezTo>
                      <a:cubicBezTo>
                        <a:pt x="391" y="280"/>
                        <a:pt x="393" y="279"/>
                        <a:pt x="395" y="277"/>
                      </a:cubicBezTo>
                      <a:cubicBezTo>
                        <a:pt x="398" y="274"/>
                        <a:pt x="397" y="269"/>
                        <a:pt x="394" y="266"/>
                      </a:cubicBezTo>
                      <a:moveTo>
                        <a:pt x="123" y="78"/>
                      </a:moveTo>
                      <a:cubicBezTo>
                        <a:pt x="148" y="97"/>
                        <a:pt x="148" y="97"/>
                        <a:pt x="148" y="97"/>
                      </a:cubicBezTo>
                      <a:cubicBezTo>
                        <a:pt x="150" y="98"/>
                        <a:pt x="151" y="99"/>
                        <a:pt x="153" y="99"/>
                      </a:cubicBezTo>
                      <a:cubicBezTo>
                        <a:pt x="156" y="99"/>
                        <a:pt x="158" y="98"/>
                        <a:pt x="159" y="96"/>
                      </a:cubicBezTo>
                      <a:cubicBezTo>
                        <a:pt x="162" y="92"/>
                        <a:pt x="162" y="87"/>
                        <a:pt x="158" y="84"/>
                      </a:cubicBezTo>
                      <a:cubicBezTo>
                        <a:pt x="133" y="65"/>
                        <a:pt x="133" y="65"/>
                        <a:pt x="133" y="65"/>
                      </a:cubicBezTo>
                      <a:cubicBezTo>
                        <a:pt x="130" y="62"/>
                        <a:pt x="125" y="63"/>
                        <a:pt x="122" y="67"/>
                      </a:cubicBezTo>
                      <a:cubicBezTo>
                        <a:pt x="119" y="70"/>
                        <a:pt x="120" y="75"/>
                        <a:pt x="123" y="78"/>
                      </a:cubicBezTo>
                      <a:moveTo>
                        <a:pt x="419" y="207"/>
                      </a:moveTo>
                      <a:cubicBezTo>
                        <a:pt x="387" y="199"/>
                        <a:pt x="387" y="199"/>
                        <a:pt x="387" y="199"/>
                      </a:cubicBezTo>
                      <a:cubicBezTo>
                        <a:pt x="383" y="198"/>
                        <a:pt x="379" y="200"/>
                        <a:pt x="378" y="204"/>
                      </a:cubicBezTo>
                      <a:cubicBezTo>
                        <a:pt x="377" y="209"/>
                        <a:pt x="379" y="213"/>
                        <a:pt x="383" y="214"/>
                      </a:cubicBezTo>
                      <a:cubicBezTo>
                        <a:pt x="415" y="223"/>
                        <a:pt x="415" y="223"/>
                        <a:pt x="415" y="223"/>
                      </a:cubicBezTo>
                      <a:cubicBezTo>
                        <a:pt x="416" y="223"/>
                        <a:pt x="417" y="223"/>
                        <a:pt x="417" y="223"/>
                      </a:cubicBezTo>
                      <a:cubicBezTo>
                        <a:pt x="421" y="223"/>
                        <a:pt x="424" y="221"/>
                        <a:pt x="425" y="217"/>
                      </a:cubicBezTo>
                      <a:cubicBezTo>
                        <a:pt x="426" y="213"/>
                        <a:pt x="424" y="208"/>
                        <a:pt x="419" y="207"/>
                      </a:cubicBezTo>
                      <a:moveTo>
                        <a:pt x="430" y="150"/>
                      </a:moveTo>
                      <a:cubicBezTo>
                        <a:pt x="429" y="145"/>
                        <a:pt x="425" y="142"/>
                        <a:pt x="421" y="143"/>
                      </a:cubicBezTo>
                      <a:cubicBezTo>
                        <a:pt x="389" y="147"/>
                        <a:pt x="389" y="147"/>
                        <a:pt x="389" y="147"/>
                      </a:cubicBezTo>
                      <a:cubicBezTo>
                        <a:pt x="385" y="148"/>
                        <a:pt x="382" y="152"/>
                        <a:pt x="382" y="156"/>
                      </a:cubicBezTo>
                      <a:cubicBezTo>
                        <a:pt x="383" y="160"/>
                        <a:pt x="386" y="163"/>
                        <a:pt x="390" y="163"/>
                      </a:cubicBezTo>
                      <a:cubicBezTo>
                        <a:pt x="390" y="163"/>
                        <a:pt x="391" y="163"/>
                        <a:pt x="391" y="163"/>
                      </a:cubicBezTo>
                      <a:cubicBezTo>
                        <a:pt x="423" y="159"/>
                        <a:pt x="423" y="159"/>
                        <a:pt x="423" y="159"/>
                      </a:cubicBezTo>
                      <a:cubicBezTo>
                        <a:pt x="427" y="158"/>
                        <a:pt x="430" y="154"/>
                        <a:pt x="430" y="150"/>
                      </a:cubicBezTo>
                      <a:moveTo>
                        <a:pt x="367" y="109"/>
                      </a:moveTo>
                      <a:cubicBezTo>
                        <a:pt x="369" y="112"/>
                        <a:pt x="372" y="113"/>
                        <a:pt x="374" y="113"/>
                      </a:cubicBezTo>
                      <a:cubicBezTo>
                        <a:pt x="376" y="113"/>
                        <a:pt x="377" y="113"/>
                        <a:pt x="378" y="112"/>
                      </a:cubicBezTo>
                      <a:cubicBezTo>
                        <a:pt x="405" y="97"/>
                        <a:pt x="405" y="97"/>
                        <a:pt x="405" y="97"/>
                      </a:cubicBezTo>
                      <a:cubicBezTo>
                        <a:pt x="409" y="95"/>
                        <a:pt x="410" y="90"/>
                        <a:pt x="408" y="86"/>
                      </a:cubicBezTo>
                      <a:cubicBezTo>
                        <a:pt x="406" y="82"/>
                        <a:pt x="401" y="81"/>
                        <a:pt x="397" y="83"/>
                      </a:cubicBezTo>
                      <a:cubicBezTo>
                        <a:pt x="370" y="98"/>
                        <a:pt x="370" y="98"/>
                        <a:pt x="370" y="98"/>
                      </a:cubicBezTo>
                      <a:cubicBezTo>
                        <a:pt x="367" y="100"/>
                        <a:pt x="365" y="105"/>
                        <a:pt x="367" y="109"/>
                      </a:cubicBezTo>
                      <a:moveTo>
                        <a:pt x="336" y="72"/>
                      </a:moveTo>
                      <a:cubicBezTo>
                        <a:pt x="337" y="73"/>
                        <a:pt x="339" y="73"/>
                        <a:pt x="341" y="73"/>
                      </a:cubicBezTo>
                      <a:cubicBezTo>
                        <a:pt x="343" y="73"/>
                        <a:pt x="345" y="72"/>
                        <a:pt x="347" y="70"/>
                      </a:cubicBezTo>
                      <a:cubicBezTo>
                        <a:pt x="365" y="47"/>
                        <a:pt x="365" y="47"/>
                        <a:pt x="365" y="47"/>
                      </a:cubicBezTo>
                      <a:cubicBezTo>
                        <a:pt x="368" y="43"/>
                        <a:pt x="367" y="38"/>
                        <a:pt x="364" y="35"/>
                      </a:cubicBezTo>
                      <a:cubicBezTo>
                        <a:pt x="360" y="33"/>
                        <a:pt x="355" y="33"/>
                        <a:pt x="353" y="37"/>
                      </a:cubicBezTo>
                      <a:cubicBezTo>
                        <a:pt x="334" y="61"/>
                        <a:pt x="334" y="61"/>
                        <a:pt x="334" y="61"/>
                      </a:cubicBezTo>
                      <a:cubicBezTo>
                        <a:pt x="332" y="64"/>
                        <a:pt x="332" y="69"/>
                        <a:pt x="336" y="72"/>
                      </a:cubicBezTo>
                      <a:moveTo>
                        <a:pt x="292" y="49"/>
                      </a:moveTo>
                      <a:cubicBezTo>
                        <a:pt x="292" y="50"/>
                        <a:pt x="293" y="50"/>
                        <a:pt x="294" y="50"/>
                      </a:cubicBezTo>
                      <a:cubicBezTo>
                        <a:pt x="297" y="50"/>
                        <a:pt x="300" y="47"/>
                        <a:pt x="301" y="44"/>
                      </a:cubicBezTo>
                      <a:cubicBezTo>
                        <a:pt x="309" y="15"/>
                        <a:pt x="309" y="15"/>
                        <a:pt x="309" y="15"/>
                      </a:cubicBezTo>
                      <a:cubicBezTo>
                        <a:pt x="310" y="11"/>
                        <a:pt x="308" y="7"/>
                        <a:pt x="304" y="5"/>
                      </a:cubicBezTo>
                      <a:cubicBezTo>
                        <a:pt x="299" y="4"/>
                        <a:pt x="295" y="7"/>
                        <a:pt x="294" y="11"/>
                      </a:cubicBezTo>
                      <a:cubicBezTo>
                        <a:pt x="286" y="40"/>
                        <a:pt x="286" y="40"/>
                        <a:pt x="286" y="40"/>
                      </a:cubicBezTo>
                      <a:cubicBezTo>
                        <a:pt x="285" y="44"/>
                        <a:pt x="287" y="48"/>
                        <a:pt x="292" y="49"/>
                      </a:cubicBezTo>
                      <a:moveTo>
                        <a:pt x="300" y="399"/>
                      </a:moveTo>
                      <a:cubicBezTo>
                        <a:pt x="300" y="399"/>
                        <a:pt x="300" y="399"/>
                        <a:pt x="299" y="399"/>
                      </a:cubicBezTo>
                      <a:cubicBezTo>
                        <a:pt x="299" y="399"/>
                        <a:pt x="299" y="399"/>
                        <a:pt x="299" y="399"/>
                      </a:cubicBezTo>
                      <a:cubicBezTo>
                        <a:pt x="299" y="398"/>
                        <a:pt x="299" y="398"/>
                        <a:pt x="299" y="398"/>
                      </a:cubicBezTo>
                      <a:cubicBezTo>
                        <a:pt x="299" y="398"/>
                        <a:pt x="298" y="397"/>
                        <a:pt x="298" y="397"/>
                      </a:cubicBezTo>
                      <a:cubicBezTo>
                        <a:pt x="287" y="388"/>
                        <a:pt x="265" y="381"/>
                        <a:pt x="262" y="383"/>
                      </a:cubicBezTo>
                      <a:cubicBezTo>
                        <a:pt x="260" y="386"/>
                        <a:pt x="268" y="408"/>
                        <a:pt x="276" y="419"/>
                      </a:cubicBezTo>
                      <a:cubicBezTo>
                        <a:pt x="277" y="419"/>
                        <a:pt x="277" y="420"/>
                        <a:pt x="277" y="420"/>
                      </a:cubicBezTo>
                      <a:cubicBezTo>
                        <a:pt x="277" y="420"/>
                        <a:pt x="278" y="420"/>
                        <a:pt x="278" y="420"/>
                      </a:cubicBezTo>
                      <a:cubicBezTo>
                        <a:pt x="278" y="420"/>
                        <a:pt x="278" y="420"/>
                        <a:pt x="278" y="420"/>
                      </a:cubicBezTo>
                      <a:cubicBezTo>
                        <a:pt x="278" y="420"/>
                        <a:pt x="278" y="421"/>
                        <a:pt x="278" y="421"/>
                      </a:cubicBezTo>
                      <a:cubicBezTo>
                        <a:pt x="284" y="426"/>
                        <a:pt x="293" y="426"/>
                        <a:pt x="299" y="420"/>
                      </a:cubicBezTo>
                      <a:cubicBezTo>
                        <a:pt x="305" y="414"/>
                        <a:pt x="305" y="406"/>
                        <a:pt x="300" y="400"/>
                      </a:cubicBezTo>
                      <a:cubicBezTo>
                        <a:pt x="300" y="399"/>
                        <a:pt x="300" y="399"/>
                        <a:pt x="300" y="399"/>
                      </a:cubicBezTo>
                      <a:moveTo>
                        <a:pt x="219" y="399"/>
                      </a:moveTo>
                      <a:cubicBezTo>
                        <a:pt x="219" y="399"/>
                        <a:pt x="219" y="399"/>
                        <a:pt x="219" y="399"/>
                      </a:cubicBezTo>
                      <a:cubicBezTo>
                        <a:pt x="218" y="399"/>
                        <a:pt x="218" y="399"/>
                        <a:pt x="218" y="399"/>
                      </a:cubicBezTo>
                      <a:cubicBezTo>
                        <a:pt x="218" y="398"/>
                        <a:pt x="218" y="398"/>
                        <a:pt x="218" y="398"/>
                      </a:cubicBezTo>
                      <a:cubicBezTo>
                        <a:pt x="218" y="398"/>
                        <a:pt x="217" y="397"/>
                        <a:pt x="217" y="397"/>
                      </a:cubicBezTo>
                      <a:cubicBezTo>
                        <a:pt x="206" y="388"/>
                        <a:pt x="184" y="381"/>
                        <a:pt x="182" y="383"/>
                      </a:cubicBezTo>
                      <a:cubicBezTo>
                        <a:pt x="179" y="386"/>
                        <a:pt x="187" y="408"/>
                        <a:pt x="195" y="419"/>
                      </a:cubicBezTo>
                      <a:cubicBezTo>
                        <a:pt x="196" y="419"/>
                        <a:pt x="196" y="420"/>
                        <a:pt x="197" y="420"/>
                      </a:cubicBezTo>
                      <a:cubicBezTo>
                        <a:pt x="197" y="420"/>
                        <a:pt x="197" y="420"/>
                        <a:pt x="197" y="420"/>
                      </a:cubicBezTo>
                      <a:cubicBezTo>
                        <a:pt x="197" y="420"/>
                        <a:pt x="197" y="420"/>
                        <a:pt x="197" y="420"/>
                      </a:cubicBezTo>
                      <a:cubicBezTo>
                        <a:pt x="197" y="420"/>
                        <a:pt x="197" y="421"/>
                        <a:pt x="197" y="421"/>
                      </a:cubicBezTo>
                      <a:cubicBezTo>
                        <a:pt x="203" y="426"/>
                        <a:pt x="212" y="426"/>
                        <a:pt x="218" y="420"/>
                      </a:cubicBezTo>
                      <a:cubicBezTo>
                        <a:pt x="224" y="414"/>
                        <a:pt x="224" y="406"/>
                        <a:pt x="219" y="400"/>
                      </a:cubicBezTo>
                      <a:cubicBezTo>
                        <a:pt x="219" y="399"/>
                        <a:pt x="219" y="399"/>
                        <a:pt x="219" y="399"/>
                      </a:cubicBezTo>
                      <a:moveTo>
                        <a:pt x="138" y="400"/>
                      </a:moveTo>
                      <a:cubicBezTo>
                        <a:pt x="138" y="399"/>
                        <a:pt x="138" y="399"/>
                        <a:pt x="138" y="399"/>
                      </a:cubicBezTo>
                      <a:cubicBezTo>
                        <a:pt x="138" y="399"/>
                        <a:pt x="138" y="399"/>
                        <a:pt x="138" y="399"/>
                      </a:cubicBezTo>
                      <a:cubicBezTo>
                        <a:pt x="138" y="399"/>
                        <a:pt x="138" y="399"/>
                        <a:pt x="138" y="399"/>
                      </a:cubicBezTo>
                      <a:cubicBezTo>
                        <a:pt x="137" y="398"/>
                        <a:pt x="137" y="398"/>
                        <a:pt x="137" y="398"/>
                      </a:cubicBezTo>
                      <a:cubicBezTo>
                        <a:pt x="137" y="398"/>
                        <a:pt x="136" y="397"/>
                        <a:pt x="136" y="397"/>
                      </a:cubicBezTo>
                      <a:cubicBezTo>
                        <a:pt x="125" y="388"/>
                        <a:pt x="103" y="381"/>
                        <a:pt x="101" y="383"/>
                      </a:cubicBezTo>
                      <a:cubicBezTo>
                        <a:pt x="98" y="386"/>
                        <a:pt x="106" y="408"/>
                        <a:pt x="114" y="419"/>
                      </a:cubicBezTo>
                      <a:cubicBezTo>
                        <a:pt x="115" y="419"/>
                        <a:pt x="115" y="420"/>
                        <a:pt x="116" y="420"/>
                      </a:cubicBezTo>
                      <a:cubicBezTo>
                        <a:pt x="116" y="420"/>
                        <a:pt x="116" y="420"/>
                        <a:pt x="116" y="420"/>
                      </a:cubicBezTo>
                      <a:cubicBezTo>
                        <a:pt x="116" y="420"/>
                        <a:pt x="116" y="420"/>
                        <a:pt x="116" y="420"/>
                      </a:cubicBezTo>
                      <a:cubicBezTo>
                        <a:pt x="116" y="420"/>
                        <a:pt x="116" y="421"/>
                        <a:pt x="116" y="421"/>
                      </a:cubicBezTo>
                      <a:cubicBezTo>
                        <a:pt x="122" y="426"/>
                        <a:pt x="132" y="426"/>
                        <a:pt x="137" y="420"/>
                      </a:cubicBezTo>
                      <a:cubicBezTo>
                        <a:pt x="143" y="414"/>
                        <a:pt x="143" y="406"/>
                        <a:pt x="138" y="400"/>
                      </a:cubicBezTo>
                      <a:close/>
                      <a:moveTo>
                        <a:pt x="109" y="356"/>
                      </a:moveTo>
                      <a:cubicBezTo>
                        <a:pt x="109" y="348"/>
                        <a:pt x="109" y="348"/>
                        <a:pt x="109" y="348"/>
                      </a:cubicBezTo>
                      <a:cubicBezTo>
                        <a:pt x="116" y="352"/>
                        <a:pt x="116" y="352"/>
                        <a:pt x="116" y="352"/>
                      </a:cubicBezTo>
                      <a:cubicBezTo>
                        <a:pt x="117" y="353"/>
                        <a:pt x="119" y="353"/>
                        <a:pt x="120" y="353"/>
                      </a:cubicBezTo>
                      <a:cubicBezTo>
                        <a:pt x="123" y="353"/>
                        <a:pt x="126" y="351"/>
                        <a:pt x="127" y="349"/>
                      </a:cubicBezTo>
                      <a:cubicBezTo>
                        <a:pt x="129" y="345"/>
                        <a:pt x="128" y="340"/>
                        <a:pt x="124" y="338"/>
                      </a:cubicBezTo>
                      <a:cubicBezTo>
                        <a:pt x="117" y="334"/>
                        <a:pt x="117" y="334"/>
                        <a:pt x="117" y="334"/>
                      </a:cubicBezTo>
                      <a:cubicBezTo>
                        <a:pt x="124" y="330"/>
                        <a:pt x="124" y="330"/>
                        <a:pt x="124" y="330"/>
                      </a:cubicBezTo>
                      <a:cubicBezTo>
                        <a:pt x="128" y="328"/>
                        <a:pt x="129" y="323"/>
                        <a:pt x="127" y="319"/>
                      </a:cubicBezTo>
                      <a:cubicBezTo>
                        <a:pt x="125" y="315"/>
                        <a:pt x="120" y="314"/>
                        <a:pt x="116" y="316"/>
                      </a:cubicBezTo>
                      <a:cubicBezTo>
                        <a:pt x="109" y="320"/>
                        <a:pt x="109" y="320"/>
                        <a:pt x="109" y="320"/>
                      </a:cubicBezTo>
                      <a:cubicBezTo>
                        <a:pt x="109" y="312"/>
                        <a:pt x="109" y="312"/>
                        <a:pt x="109" y="312"/>
                      </a:cubicBezTo>
                      <a:cubicBezTo>
                        <a:pt x="109" y="308"/>
                        <a:pt x="106" y="304"/>
                        <a:pt x="101" y="304"/>
                      </a:cubicBezTo>
                      <a:cubicBezTo>
                        <a:pt x="97" y="304"/>
                        <a:pt x="93" y="308"/>
                        <a:pt x="93" y="312"/>
                      </a:cubicBezTo>
                      <a:cubicBezTo>
                        <a:pt x="93" y="320"/>
                        <a:pt x="93" y="320"/>
                        <a:pt x="93" y="320"/>
                      </a:cubicBezTo>
                      <a:cubicBezTo>
                        <a:pt x="86" y="316"/>
                        <a:pt x="86" y="316"/>
                        <a:pt x="86" y="316"/>
                      </a:cubicBezTo>
                      <a:cubicBezTo>
                        <a:pt x="83" y="314"/>
                        <a:pt x="78" y="315"/>
                        <a:pt x="75" y="319"/>
                      </a:cubicBezTo>
                      <a:cubicBezTo>
                        <a:pt x="73" y="323"/>
                        <a:pt x="75" y="328"/>
                        <a:pt x="78" y="330"/>
                      </a:cubicBezTo>
                      <a:cubicBezTo>
                        <a:pt x="85" y="334"/>
                        <a:pt x="85" y="334"/>
                        <a:pt x="85" y="334"/>
                      </a:cubicBezTo>
                      <a:cubicBezTo>
                        <a:pt x="78" y="338"/>
                        <a:pt x="78" y="338"/>
                        <a:pt x="78" y="338"/>
                      </a:cubicBezTo>
                      <a:cubicBezTo>
                        <a:pt x="75" y="340"/>
                        <a:pt x="73" y="345"/>
                        <a:pt x="75" y="349"/>
                      </a:cubicBezTo>
                      <a:cubicBezTo>
                        <a:pt x="77" y="351"/>
                        <a:pt x="80" y="353"/>
                        <a:pt x="82" y="353"/>
                      </a:cubicBezTo>
                      <a:cubicBezTo>
                        <a:pt x="84" y="353"/>
                        <a:pt x="85" y="353"/>
                        <a:pt x="86" y="352"/>
                      </a:cubicBezTo>
                      <a:cubicBezTo>
                        <a:pt x="93" y="348"/>
                        <a:pt x="93" y="348"/>
                        <a:pt x="93" y="348"/>
                      </a:cubicBezTo>
                      <a:cubicBezTo>
                        <a:pt x="93" y="356"/>
                        <a:pt x="93" y="356"/>
                        <a:pt x="93" y="356"/>
                      </a:cubicBezTo>
                      <a:cubicBezTo>
                        <a:pt x="93" y="360"/>
                        <a:pt x="97" y="364"/>
                        <a:pt x="101" y="364"/>
                      </a:cubicBezTo>
                      <a:cubicBezTo>
                        <a:pt x="106" y="364"/>
                        <a:pt x="109" y="360"/>
                        <a:pt x="109" y="356"/>
                      </a:cubicBezTo>
                      <a:moveTo>
                        <a:pt x="190" y="356"/>
                      </a:moveTo>
                      <a:cubicBezTo>
                        <a:pt x="190" y="348"/>
                        <a:pt x="190" y="348"/>
                        <a:pt x="190" y="348"/>
                      </a:cubicBezTo>
                      <a:cubicBezTo>
                        <a:pt x="197" y="352"/>
                        <a:pt x="197" y="352"/>
                        <a:pt x="197" y="352"/>
                      </a:cubicBezTo>
                      <a:cubicBezTo>
                        <a:pt x="198" y="353"/>
                        <a:pt x="199" y="353"/>
                        <a:pt x="201" y="353"/>
                      </a:cubicBezTo>
                      <a:cubicBezTo>
                        <a:pt x="204" y="353"/>
                        <a:pt x="206" y="351"/>
                        <a:pt x="208" y="349"/>
                      </a:cubicBezTo>
                      <a:cubicBezTo>
                        <a:pt x="210" y="345"/>
                        <a:pt x="209" y="340"/>
                        <a:pt x="205" y="338"/>
                      </a:cubicBezTo>
                      <a:cubicBezTo>
                        <a:pt x="198" y="334"/>
                        <a:pt x="198" y="334"/>
                        <a:pt x="198" y="334"/>
                      </a:cubicBezTo>
                      <a:cubicBezTo>
                        <a:pt x="205" y="330"/>
                        <a:pt x="205" y="330"/>
                        <a:pt x="205" y="330"/>
                      </a:cubicBezTo>
                      <a:cubicBezTo>
                        <a:pt x="209" y="328"/>
                        <a:pt x="210" y="323"/>
                        <a:pt x="208" y="319"/>
                      </a:cubicBezTo>
                      <a:cubicBezTo>
                        <a:pt x="205" y="315"/>
                        <a:pt x="201" y="314"/>
                        <a:pt x="197" y="316"/>
                      </a:cubicBezTo>
                      <a:cubicBezTo>
                        <a:pt x="190" y="320"/>
                        <a:pt x="190" y="320"/>
                        <a:pt x="190" y="320"/>
                      </a:cubicBezTo>
                      <a:cubicBezTo>
                        <a:pt x="190" y="312"/>
                        <a:pt x="190" y="312"/>
                        <a:pt x="190" y="312"/>
                      </a:cubicBezTo>
                      <a:cubicBezTo>
                        <a:pt x="190" y="308"/>
                        <a:pt x="186" y="304"/>
                        <a:pt x="182" y="304"/>
                      </a:cubicBezTo>
                      <a:cubicBezTo>
                        <a:pt x="177" y="304"/>
                        <a:pt x="174" y="308"/>
                        <a:pt x="174" y="312"/>
                      </a:cubicBezTo>
                      <a:cubicBezTo>
                        <a:pt x="174" y="320"/>
                        <a:pt x="174" y="320"/>
                        <a:pt x="174" y="320"/>
                      </a:cubicBezTo>
                      <a:cubicBezTo>
                        <a:pt x="167" y="316"/>
                        <a:pt x="167" y="316"/>
                        <a:pt x="167" y="316"/>
                      </a:cubicBezTo>
                      <a:cubicBezTo>
                        <a:pt x="163" y="314"/>
                        <a:pt x="158" y="315"/>
                        <a:pt x="156" y="319"/>
                      </a:cubicBezTo>
                      <a:cubicBezTo>
                        <a:pt x="154" y="323"/>
                        <a:pt x="155" y="328"/>
                        <a:pt x="159" y="330"/>
                      </a:cubicBezTo>
                      <a:cubicBezTo>
                        <a:pt x="166" y="334"/>
                        <a:pt x="166" y="334"/>
                        <a:pt x="166" y="334"/>
                      </a:cubicBezTo>
                      <a:cubicBezTo>
                        <a:pt x="159" y="338"/>
                        <a:pt x="159" y="338"/>
                        <a:pt x="159" y="338"/>
                      </a:cubicBezTo>
                      <a:cubicBezTo>
                        <a:pt x="155" y="340"/>
                        <a:pt x="154" y="345"/>
                        <a:pt x="156" y="349"/>
                      </a:cubicBezTo>
                      <a:cubicBezTo>
                        <a:pt x="158" y="351"/>
                        <a:pt x="160" y="353"/>
                        <a:pt x="163" y="353"/>
                      </a:cubicBezTo>
                      <a:cubicBezTo>
                        <a:pt x="164" y="353"/>
                        <a:pt x="166" y="353"/>
                        <a:pt x="167" y="352"/>
                      </a:cubicBezTo>
                      <a:cubicBezTo>
                        <a:pt x="174" y="348"/>
                        <a:pt x="174" y="348"/>
                        <a:pt x="174" y="348"/>
                      </a:cubicBezTo>
                      <a:cubicBezTo>
                        <a:pt x="174" y="356"/>
                        <a:pt x="174" y="356"/>
                        <a:pt x="174" y="356"/>
                      </a:cubicBezTo>
                      <a:cubicBezTo>
                        <a:pt x="174" y="360"/>
                        <a:pt x="177" y="364"/>
                        <a:pt x="182" y="364"/>
                      </a:cubicBezTo>
                      <a:cubicBezTo>
                        <a:pt x="186" y="364"/>
                        <a:pt x="190" y="360"/>
                        <a:pt x="190" y="356"/>
                      </a:cubicBezTo>
                      <a:moveTo>
                        <a:pt x="271" y="356"/>
                      </a:moveTo>
                      <a:cubicBezTo>
                        <a:pt x="271" y="348"/>
                        <a:pt x="271" y="348"/>
                        <a:pt x="271" y="348"/>
                      </a:cubicBezTo>
                      <a:cubicBezTo>
                        <a:pt x="277" y="352"/>
                        <a:pt x="277" y="352"/>
                        <a:pt x="277" y="352"/>
                      </a:cubicBezTo>
                      <a:cubicBezTo>
                        <a:pt x="279" y="353"/>
                        <a:pt x="280" y="353"/>
                        <a:pt x="281" y="353"/>
                      </a:cubicBezTo>
                      <a:cubicBezTo>
                        <a:pt x="284" y="353"/>
                        <a:pt x="287" y="351"/>
                        <a:pt x="288" y="349"/>
                      </a:cubicBezTo>
                      <a:cubicBezTo>
                        <a:pt x="291" y="345"/>
                        <a:pt x="289" y="340"/>
                        <a:pt x="285" y="338"/>
                      </a:cubicBezTo>
                      <a:cubicBezTo>
                        <a:pt x="279" y="334"/>
                        <a:pt x="279" y="334"/>
                        <a:pt x="279" y="334"/>
                      </a:cubicBezTo>
                      <a:cubicBezTo>
                        <a:pt x="285" y="330"/>
                        <a:pt x="285" y="330"/>
                        <a:pt x="285" y="330"/>
                      </a:cubicBezTo>
                      <a:cubicBezTo>
                        <a:pt x="289" y="328"/>
                        <a:pt x="291" y="323"/>
                        <a:pt x="288" y="319"/>
                      </a:cubicBezTo>
                      <a:cubicBezTo>
                        <a:pt x="286" y="315"/>
                        <a:pt x="281" y="314"/>
                        <a:pt x="277" y="316"/>
                      </a:cubicBezTo>
                      <a:cubicBezTo>
                        <a:pt x="271" y="320"/>
                        <a:pt x="271" y="320"/>
                        <a:pt x="271" y="320"/>
                      </a:cubicBezTo>
                      <a:cubicBezTo>
                        <a:pt x="271" y="312"/>
                        <a:pt x="271" y="312"/>
                        <a:pt x="271" y="312"/>
                      </a:cubicBezTo>
                      <a:cubicBezTo>
                        <a:pt x="271" y="308"/>
                        <a:pt x="267" y="304"/>
                        <a:pt x="263" y="304"/>
                      </a:cubicBezTo>
                      <a:cubicBezTo>
                        <a:pt x="258" y="304"/>
                        <a:pt x="255" y="308"/>
                        <a:pt x="255" y="312"/>
                      </a:cubicBezTo>
                      <a:cubicBezTo>
                        <a:pt x="255" y="320"/>
                        <a:pt x="255" y="320"/>
                        <a:pt x="255" y="320"/>
                      </a:cubicBezTo>
                      <a:cubicBezTo>
                        <a:pt x="248" y="316"/>
                        <a:pt x="248" y="316"/>
                        <a:pt x="248" y="316"/>
                      </a:cubicBezTo>
                      <a:cubicBezTo>
                        <a:pt x="244" y="314"/>
                        <a:pt x="239" y="315"/>
                        <a:pt x="237" y="319"/>
                      </a:cubicBezTo>
                      <a:cubicBezTo>
                        <a:pt x="235" y="323"/>
                        <a:pt x="236" y="328"/>
                        <a:pt x="240" y="330"/>
                      </a:cubicBezTo>
                      <a:cubicBezTo>
                        <a:pt x="247" y="334"/>
                        <a:pt x="247" y="334"/>
                        <a:pt x="247" y="334"/>
                      </a:cubicBezTo>
                      <a:cubicBezTo>
                        <a:pt x="240" y="338"/>
                        <a:pt x="240" y="338"/>
                        <a:pt x="240" y="338"/>
                      </a:cubicBezTo>
                      <a:cubicBezTo>
                        <a:pt x="236" y="340"/>
                        <a:pt x="235" y="345"/>
                        <a:pt x="237" y="349"/>
                      </a:cubicBezTo>
                      <a:cubicBezTo>
                        <a:pt x="238" y="351"/>
                        <a:pt x="241" y="353"/>
                        <a:pt x="244" y="353"/>
                      </a:cubicBezTo>
                      <a:cubicBezTo>
                        <a:pt x="245" y="353"/>
                        <a:pt x="246" y="353"/>
                        <a:pt x="248" y="352"/>
                      </a:cubicBezTo>
                      <a:cubicBezTo>
                        <a:pt x="255" y="348"/>
                        <a:pt x="255" y="348"/>
                        <a:pt x="255" y="348"/>
                      </a:cubicBezTo>
                      <a:cubicBezTo>
                        <a:pt x="255" y="356"/>
                        <a:pt x="255" y="356"/>
                        <a:pt x="255" y="356"/>
                      </a:cubicBezTo>
                      <a:cubicBezTo>
                        <a:pt x="255" y="360"/>
                        <a:pt x="258" y="364"/>
                        <a:pt x="263" y="364"/>
                      </a:cubicBezTo>
                      <a:cubicBezTo>
                        <a:pt x="267" y="364"/>
                        <a:pt x="271" y="360"/>
                        <a:pt x="271" y="35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grpSp>
          <p:grpSp>
            <p:nvGrpSpPr>
              <p:cNvPr id="340" name="Grupp 339"/>
              <p:cNvGrpSpPr/>
              <p:nvPr/>
            </p:nvGrpSpPr>
            <p:grpSpPr>
              <a:xfrm>
                <a:off x="4276860" y="3280181"/>
                <a:ext cx="161339" cy="561346"/>
                <a:chOff x="3933960" y="2137181"/>
                <a:chExt cx="161339" cy="561346"/>
              </a:xfrm>
              <a:grpFill/>
            </p:grpSpPr>
            <p:sp>
              <p:nvSpPr>
                <p:cNvPr id="341" name="Freeform 3"/>
                <p:cNvSpPr>
                  <a:spLocks noChangeAspect="1" noEditPoints="1"/>
                </p:cNvSpPr>
                <p:nvPr/>
              </p:nvSpPr>
              <p:spPr bwMode="auto">
                <a:xfrm>
                  <a:off x="3982806" y="2365430"/>
                  <a:ext cx="74732" cy="180393"/>
                </a:xfrm>
                <a:custGeom>
                  <a:avLst/>
                  <a:gdLst>
                    <a:gd name="T0" fmla="*/ 2147483647 w 189"/>
                    <a:gd name="T1" fmla="*/ 2147483647 h 466"/>
                    <a:gd name="T2" fmla="*/ 2147483647 w 189"/>
                    <a:gd name="T3" fmla="*/ 2147483647 h 466"/>
                    <a:gd name="T4" fmla="*/ 2147483647 w 189"/>
                    <a:gd name="T5" fmla="*/ 2147483647 h 466"/>
                    <a:gd name="T6" fmla="*/ 2147483647 w 189"/>
                    <a:gd name="T7" fmla="*/ 2147483647 h 466"/>
                    <a:gd name="T8" fmla="*/ 2147483647 w 189"/>
                    <a:gd name="T9" fmla="*/ 2147483647 h 466"/>
                    <a:gd name="T10" fmla="*/ 2147483647 w 189"/>
                    <a:gd name="T11" fmla="*/ 2147483647 h 466"/>
                    <a:gd name="T12" fmla="*/ 2147483647 w 189"/>
                    <a:gd name="T13" fmla="*/ 2147483647 h 466"/>
                    <a:gd name="T14" fmla="*/ 2147483647 w 189"/>
                    <a:gd name="T15" fmla="*/ 2147483647 h 466"/>
                    <a:gd name="T16" fmla="*/ 2147483647 w 189"/>
                    <a:gd name="T17" fmla="*/ 2147483647 h 466"/>
                    <a:gd name="T18" fmla="*/ 2147483647 w 189"/>
                    <a:gd name="T19" fmla="*/ 2147483647 h 466"/>
                    <a:gd name="T20" fmla="*/ 2147483647 w 189"/>
                    <a:gd name="T21" fmla="*/ 2147483647 h 466"/>
                    <a:gd name="T22" fmla="*/ 2147483647 w 189"/>
                    <a:gd name="T23" fmla="*/ 2147483647 h 466"/>
                    <a:gd name="T24" fmla="*/ 2147483647 w 189"/>
                    <a:gd name="T25" fmla="*/ 2147483647 h 466"/>
                    <a:gd name="T26" fmla="*/ 2147483647 w 189"/>
                    <a:gd name="T27" fmla="*/ 2147483647 h 466"/>
                    <a:gd name="T28" fmla="*/ 2147483647 w 189"/>
                    <a:gd name="T29" fmla="*/ 2147483647 h 466"/>
                    <a:gd name="T30" fmla="*/ 2147483647 w 189"/>
                    <a:gd name="T31" fmla="*/ 2147483647 h 466"/>
                    <a:gd name="T32" fmla="*/ 2147483647 w 189"/>
                    <a:gd name="T33" fmla="*/ 2147483647 h 466"/>
                    <a:gd name="T34" fmla="*/ 2147483647 w 189"/>
                    <a:gd name="T35" fmla="*/ 2147483647 h 466"/>
                    <a:gd name="T36" fmla="*/ 2147483647 w 189"/>
                    <a:gd name="T37" fmla="*/ 2147483647 h 466"/>
                    <a:gd name="T38" fmla="*/ 2147483647 w 189"/>
                    <a:gd name="T39" fmla="*/ 2147483647 h 466"/>
                    <a:gd name="T40" fmla="*/ 2147483647 w 189"/>
                    <a:gd name="T41" fmla="*/ 2147483647 h 466"/>
                    <a:gd name="T42" fmla="*/ 2147483647 w 189"/>
                    <a:gd name="T43" fmla="*/ 2147483647 h 466"/>
                    <a:gd name="T44" fmla="*/ 2147483647 w 189"/>
                    <a:gd name="T45" fmla="*/ 2147483647 h 466"/>
                    <a:gd name="T46" fmla="*/ 2147483647 w 189"/>
                    <a:gd name="T47" fmla="*/ 2147483647 h 466"/>
                    <a:gd name="T48" fmla="*/ 2147483647 w 189"/>
                    <a:gd name="T49" fmla="*/ 2147483647 h 466"/>
                    <a:gd name="T50" fmla="*/ 2147483647 w 189"/>
                    <a:gd name="T51" fmla="*/ 2147483647 h 466"/>
                    <a:gd name="T52" fmla="*/ 2147483647 w 189"/>
                    <a:gd name="T53" fmla="*/ 2147483647 h 466"/>
                    <a:gd name="T54" fmla="*/ 2147483647 w 189"/>
                    <a:gd name="T55" fmla="*/ 2147483647 h 466"/>
                    <a:gd name="T56" fmla="*/ 2147483647 w 189"/>
                    <a:gd name="T57" fmla="*/ 2147483647 h 466"/>
                    <a:gd name="T58" fmla="*/ 2147483647 w 189"/>
                    <a:gd name="T59" fmla="*/ 2147483647 h 466"/>
                    <a:gd name="T60" fmla="*/ 2147483647 w 189"/>
                    <a:gd name="T61" fmla="*/ 2147483647 h 466"/>
                    <a:gd name="T62" fmla="*/ 2147483647 w 189"/>
                    <a:gd name="T63" fmla="*/ 2147483647 h 466"/>
                    <a:gd name="T64" fmla="*/ 2147483647 w 189"/>
                    <a:gd name="T65" fmla="*/ 2147483647 h 466"/>
                    <a:gd name="T66" fmla="*/ 2147483647 w 189"/>
                    <a:gd name="T67" fmla="*/ 2147483647 h 466"/>
                    <a:gd name="T68" fmla="*/ 2147483647 w 189"/>
                    <a:gd name="T69" fmla="*/ 2147483647 h 466"/>
                    <a:gd name="T70" fmla="*/ 2147483647 w 189"/>
                    <a:gd name="T71" fmla="*/ 2147483647 h 466"/>
                    <a:gd name="T72" fmla="*/ 2147483647 w 189"/>
                    <a:gd name="T73" fmla="*/ 2147483647 h 466"/>
                    <a:gd name="T74" fmla="*/ 2147483647 w 189"/>
                    <a:gd name="T75" fmla="*/ 2147483647 h 466"/>
                    <a:gd name="T76" fmla="*/ 2147483647 w 189"/>
                    <a:gd name="T77" fmla="*/ 2147483647 h 466"/>
                    <a:gd name="T78" fmla="*/ 2147483647 w 189"/>
                    <a:gd name="T79" fmla="*/ 2147483647 h 466"/>
                    <a:gd name="T80" fmla="*/ 2147483647 w 189"/>
                    <a:gd name="T81" fmla="*/ 0 h 466"/>
                    <a:gd name="T82" fmla="*/ 2147483647 w 189"/>
                    <a:gd name="T83" fmla="*/ 0 h 466"/>
                    <a:gd name="T84" fmla="*/ 2147483647 w 189"/>
                    <a:gd name="T85" fmla="*/ 2147483647 h 466"/>
                    <a:gd name="T86" fmla="*/ 2147483647 w 189"/>
                    <a:gd name="T87" fmla="*/ 2147483647 h 466"/>
                    <a:gd name="T88" fmla="*/ 0 w 189"/>
                    <a:gd name="T89" fmla="*/ 2147483647 h 466"/>
                    <a:gd name="T90" fmla="*/ 2147483647 w 189"/>
                    <a:gd name="T91" fmla="*/ 2147483647 h 466"/>
                    <a:gd name="T92" fmla="*/ 2147483647 w 189"/>
                    <a:gd name="T93" fmla="*/ 2147483647 h 466"/>
                    <a:gd name="T94" fmla="*/ 2147483647 w 189"/>
                    <a:gd name="T95" fmla="*/ 2147483647 h 466"/>
                    <a:gd name="T96" fmla="*/ 2147483647 w 189"/>
                    <a:gd name="T97" fmla="*/ 2147483647 h 466"/>
                    <a:gd name="T98" fmla="*/ 2147483647 w 189"/>
                    <a:gd name="T99" fmla="*/ 2147483647 h 466"/>
                    <a:gd name="T100" fmla="*/ 2147483647 w 189"/>
                    <a:gd name="T101" fmla="*/ 2147483647 h 466"/>
                    <a:gd name="T102" fmla="*/ 2147483647 w 189"/>
                    <a:gd name="T103" fmla="*/ 2147483647 h 466"/>
                    <a:gd name="T104" fmla="*/ 2147483647 w 189"/>
                    <a:gd name="T105" fmla="*/ 2147483647 h 466"/>
                    <a:gd name="T106" fmla="*/ 2147483647 w 189"/>
                    <a:gd name="T107" fmla="*/ 2147483647 h 466"/>
                    <a:gd name="T108" fmla="*/ 2147483647 w 189"/>
                    <a:gd name="T109" fmla="*/ 2147483647 h 46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89" h="466">
                      <a:moveTo>
                        <a:pt x="144" y="292"/>
                      </a:moveTo>
                      <a:cubicBezTo>
                        <a:pt x="144" y="83"/>
                        <a:pt x="144" y="83"/>
                        <a:pt x="144" y="83"/>
                      </a:cubicBezTo>
                      <a:cubicBezTo>
                        <a:pt x="144" y="79"/>
                        <a:pt x="141" y="75"/>
                        <a:pt x="136" y="75"/>
                      </a:cubicBezTo>
                      <a:cubicBezTo>
                        <a:pt x="132" y="75"/>
                        <a:pt x="128" y="79"/>
                        <a:pt x="128" y="83"/>
                      </a:cubicBezTo>
                      <a:cubicBezTo>
                        <a:pt x="128" y="107"/>
                        <a:pt x="128" y="107"/>
                        <a:pt x="128" y="107"/>
                      </a:cubicBezTo>
                      <a:cubicBezTo>
                        <a:pt x="94" y="107"/>
                        <a:pt x="94" y="107"/>
                        <a:pt x="94" y="107"/>
                      </a:cubicBezTo>
                      <a:cubicBezTo>
                        <a:pt x="90" y="107"/>
                        <a:pt x="86" y="110"/>
                        <a:pt x="86" y="115"/>
                      </a:cubicBezTo>
                      <a:cubicBezTo>
                        <a:pt x="86" y="119"/>
                        <a:pt x="90" y="123"/>
                        <a:pt x="94" y="123"/>
                      </a:cubicBezTo>
                      <a:cubicBezTo>
                        <a:pt x="128" y="123"/>
                        <a:pt x="128" y="123"/>
                        <a:pt x="128" y="123"/>
                      </a:cubicBezTo>
                      <a:cubicBezTo>
                        <a:pt x="128" y="146"/>
                        <a:pt x="128" y="146"/>
                        <a:pt x="128" y="146"/>
                      </a:cubicBezTo>
                      <a:cubicBezTo>
                        <a:pt x="94" y="146"/>
                        <a:pt x="94" y="146"/>
                        <a:pt x="94" y="146"/>
                      </a:cubicBezTo>
                      <a:cubicBezTo>
                        <a:pt x="90" y="146"/>
                        <a:pt x="86" y="150"/>
                        <a:pt x="86" y="154"/>
                      </a:cubicBezTo>
                      <a:cubicBezTo>
                        <a:pt x="86" y="159"/>
                        <a:pt x="90" y="162"/>
                        <a:pt x="94" y="162"/>
                      </a:cubicBezTo>
                      <a:cubicBezTo>
                        <a:pt x="128" y="162"/>
                        <a:pt x="128" y="162"/>
                        <a:pt x="128" y="162"/>
                      </a:cubicBezTo>
                      <a:cubicBezTo>
                        <a:pt x="128" y="186"/>
                        <a:pt x="128" y="186"/>
                        <a:pt x="128" y="186"/>
                      </a:cubicBezTo>
                      <a:cubicBezTo>
                        <a:pt x="94" y="186"/>
                        <a:pt x="94" y="186"/>
                        <a:pt x="94" y="186"/>
                      </a:cubicBezTo>
                      <a:cubicBezTo>
                        <a:pt x="90" y="186"/>
                        <a:pt x="86" y="190"/>
                        <a:pt x="86" y="194"/>
                      </a:cubicBezTo>
                      <a:cubicBezTo>
                        <a:pt x="86" y="199"/>
                        <a:pt x="90" y="202"/>
                        <a:pt x="94" y="202"/>
                      </a:cubicBezTo>
                      <a:cubicBezTo>
                        <a:pt x="128" y="202"/>
                        <a:pt x="128" y="202"/>
                        <a:pt x="128" y="202"/>
                      </a:cubicBezTo>
                      <a:cubicBezTo>
                        <a:pt x="128" y="226"/>
                        <a:pt x="128" y="226"/>
                        <a:pt x="128" y="226"/>
                      </a:cubicBezTo>
                      <a:cubicBezTo>
                        <a:pt x="94" y="226"/>
                        <a:pt x="94" y="226"/>
                        <a:pt x="94" y="226"/>
                      </a:cubicBezTo>
                      <a:cubicBezTo>
                        <a:pt x="90" y="226"/>
                        <a:pt x="86" y="230"/>
                        <a:pt x="86" y="234"/>
                      </a:cubicBezTo>
                      <a:cubicBezTo>
                        <a:pt x="86" y="239"/>
                        <a:pt x="90" y="242"/>
                        <a:pt x="94" y="242"/>
                      </a:cubicBezTo>
                      <a:cubicBezTo>
                        <a:pt x="128" y="242"/>
                        <a:pt x="128" y="242"/>
                        <a:pt x="128" y="242"/>
                      </a:cubicBezTo>
                      <a:cubicBezTo>
                        <a:pt x="128" y="266"/>
                        <a:pt x="128" y="266"/>
                        <a:pt x="128" y="266"/>
                      </a:cubicBezTo>
                      <a:cubicBezTo>
                        <a:pt x="94" y="266"/>
                        <a:pt x="94" y="266"/>
                        <a:pt x="94" y="266"/>
                      </a:cubicBezTo>
                      <a:cubicBezTo>
                        <a:pt x="90" y="266"/>
                        <a:pt x="86" y="270"/>
                        <a:pt x="86" y="274"/>
                      </a:cubicBezTo>
                      <a:cubicBezTo>
                        <a:pt x="86" y="278"/>
                        <a:pt x="90" y="282"/>
                        <a:pt x="94" y="282"/>
                      </a:cubicBezTo>
                      <a:cubicBezTo>
                        <a:pt x="128" y="282"/>
                        <a:pt x="128" y="282"/>
                        <a:pt x="128" y="282"/>
                      </a:cubicBezTo>
                      <a:cubicBezTo>
                        <a:pt x="128" y="306"/>
                        <a:pt x="128" y="306"/>
                        <a:pt x="128" y="306"/>
                      </a:cubicBezTo>
                      <a:cubicBezTo>
                        <a:pt x="128" y="312"/>
                        <a:pt x="110" y="319"/>
                        <a:pt x="94" y="319"/>
                      </a:cubicBezTo>
                      <a:cubicBezTo>
                        <a:pt x="78" y="319"/>
                        <a:pt x="60" y="313"/>
                        <a:pt x="60" y="306"/>
                      </a:cubicBezTo>
                      <a:cubicBezTo>
                        <a:pt x="60" y="42"/>
                        <a:pt x="60" y="42"/>
                        <a:pt x="60" y="42"/>
                      </a:cubicBezTo>
                      <a:cubicBezTo>
                        <a:pt x="60" y="27"/>
                        <a:pt x="72" y="16"/>
                        <a:pt x="86" y="16"/>
                      </a:cubicBezTo>
                      <a:cubicBezTo>
                        <a:pt x="102" y="16"/>
                        <a:pt x="102" y="16"/>
                        <a:pt x="102" y="16"/>
                      </a:cubicBezTo>
                      <a:cubicBezTo>
                        <a:pt x="117" y="16"/>
                        <a:pt x="128" y="27"/>
                        <a:pt x="128" y="42"/>
                      </a:cubicBezTo>
                      <a:cubicBezTo>
                        <a:pt x="128" y="51"/>
                        <a:pt x="128" y="51"/>
                        <a:pt x="128" y="51"/>
                      </a:cubicBezTo>
                      <a:cubicBezTo>
                        <a:pt x="128" y="56"/>
                        <a:pt x="132" y="59"/>
                        <a:pt x="136" y="59"/>
                      </a:cubicBezTo>
                      <a:cubicBezTo>
                        <a:pt x="141" y="59"/>
                        <a:pt x="144" y="56"/>
                        <a:pt x="144" y="51"/>
                      </a:cubicBezTo>
                      <a:cubicBezTo>
                        <a:pt x="144" y="42"/>
                        <a:pt x="144" y="42"/>
                        <a:pt x="144" y="42"/>
                      </a:cubicBezTo>
                      <a:cubicBezTo>
                        <a:pt x="144" y="18"/>
                        <a:pt x="126" y="0"/>
                        <a:pt x="102" y="0"/>
                      </a:cubicBezTo>
                      <a:cubicBezTo>
                        <a:pt x="86" y="0"/>
                        <a:pt x="86" y="0"/>
                        <a:pt x="86" y="0"/>
                      </a:cubicBezTo>
                      <a:cubicBezTo>
                        <a:pt x="63" y="0"/>
                        <a:pt x="44" y="18"/>
                        <a:pt x="44" y="42"/>
                      </a:cubicBezTo>
                      <a:cubicBezTo>
                        <a:pt x="44" y="292"/>
                        <a:pt x="44" y="292"/>
                        <a:pt x="44" y="292"/>
                      </a:cubicBezTo>
                      <a:cubicBezTo>
                        <a:pt x="18" y="308"/>
                        <a:pt x="1" y="337"/>
                        <a:pt x="0" y="370"/>
                      </a:cubicBezTo>
                      <a:cubicBezTo>
                        <a:pt x="0" y="422"/>
                        <a:pt x="41" y="465"/>
                        <a:pt x="93" y="466"/>
                      </a:cubicBezTo>
                      <a:cubicBezTo>
                        <a:pt x="145" y="466"/>
                        <a:pt x="188" y="425"/>
                        <a:pt x="188" y="373"/>
                      </a:cubicBezTo>
                      <a:cubicBezTo>
                        <a:pt x="189" y="339"/>
                        <a:pt x="171" y="309"/>
                        <a:pt x="144" y="292"/>
                      </a:cubicBezTo>
                      <a:close/>
                      <a:moveTo>
                        <a:pt x="94" y="446"/>
                      </a:moveTo>
                      <a:cubicBezTo>
                        <a:pt x="90" y="446"/>
                        <a:pt x="86" y="442"/>
                        <a:pt x="86" y="438"/>
                      </a:cubicBezTo>
                      <a:cubicBezTo>
                        <a:pt x="86" y="434"/>
                        <a:pt x="90" y="430"/>
                        <a:pt x="94" y="430"/>
                      </a:cubicBezTo>
                      <a:cubicBezTo>
                        <a:pt x="126" y="430"/>
                        <a:pt x="153" y="404"/>
                        <a:pt x="153" y="372"/>
                      </a:cubicBezTo>
                      <a:cubicBezTo>
                        <a:pt x="153" y="367"/>
                        <a:pt x="156" y="364"/>
                        <a:pt x="161" y="364"/>
                      </a:cubicBezTo>
                      <a:cubicBezTo>
                        <a:pt x="165" y="364"/>
                        <a:pt x="169" y="367"/>
                        <a:pt x="169" y="372"/>
                      </a:cubicBezTo>
                      <a:cubicBezTo>
                        <a:pt x="169" y="413"/>
                        <a:pt x="135" y="446"/>
                        <a:pt x="94" y="4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42" name="Freeform 3"/>
                <p:cNvSpPr>
                  <a:spLocks noChangeAspect="1" noEditPoints="1"/>
                </p:cNvSpPr>
                <p:nvPr/>
              </p:nvSpPr>
              <p:spPr bwMode="auto">
                <a:xfrm>
                  <a:off x="3959072" y="2588158"/>
                  <a:ext cx="136227" cy="110369"/>
                </a:xfrm>
                <a:custGeom>
                  <a:avLst/>
                  <a:gdLst>
                    <a:gd name="T0" fmla="*/ 2147483647 w 344"/>
                    <a:gd name="T1" fmla="*/ 2147483647 h 285"/>
                    <a:gd name="T2" fmla="*/ 2147483647 w 344"/>
                    <a:gd name="T3" fmla="*/ 2147483647 h 285"/>
                    <a:gd name="T4" fmla="*/ 2147483647 w 344"/>
                    <a:gd name="T5" fmla="*/ 2147483647 h 285"/>
                    <a:gd name="T6" fmla="*/ 2147483647 w 344"/>
                    <a:gd name="T7" fmla="*/ 2147483647 h 285"/>
                    <a:gd name="T8" fmla="*/ 2147483647 w 344"/>
                    <a:gd name="T9" fmla="*/ 2147483647 h 285"/>
                    <a:gd name="T10" fmla="*/ 2147483647 w 344"/>
                    <a:gd name="T11" fmla="*/ 2147483647 h 285"/>
                    <a:gd name="T12" fmla="*/ 2147483647 w 344"/>
                    <a:gd name="T13" fmla="*/ 2147483647 h 285"/>
                    <a:gd name="T14" fmla="*/ 2147483647 w 344"/>
                    <a:gd name="T15" fmla="*/ 2147483647 h 285"/>
                    <a:gd name="T16" fmla="*/ 2147483647 w 344"/>
                    <a:gd name="T17" fmla="*/ 2147483647 h 285"/>
                    <a:gd name="T18" fmla="*/ 2147483647 w 344"/>
                    <a:gd name="T19" fmla="*/ 2147483647 h 285"/>
                    <a:gd name="T20" fmla="*/ 2147483647 w 344"/>
                    <a:gd name="T21" fmla="*/ 2147483647 h 285"/>
                    <a:gd name="T22" fmla="*/ 2147483647 w 344"/>
                    <a:gd name="T23" fmla="*/ 2147483647 h 285"/>
                    <a:gd name="T24" fmla="*/ 2147483647 w 344"/>
                    <a:gd name="T25" fmla="*/ 2147483647 h 285"/>
                    <a:gd name="T26" fmla="*/ 2147483647 w 344"/>
                    <a:gd name="T27" fmla="*/ 2147483647 h 285"/>
                    <a:gd name="T28" fmla="*/ 2147483647 w 344"/>
                    <a:gd name="T29" fmla="*/ 2147483647 h 285"/>
                    <a:gd name="T30" fmla="*/ 2147483647 w 344"/>
                    <a:gd name="T31" fmla="*/ 2147483647 h 285"/>
                    <a:gd name="T32" fmla="*/ 2147483647 w 344"/>
                    <a:gd name="T33" fmla="*/ 2147483647 h 285"/>
                    <a:gd name="T34" fmla="*/ 2147483647 w 344"/>
                    <a:gd name="T35" fmla="*/ 2147483647 h 285"/>
                    <a:gd name="T36" fmla="*/ 2147483647 w 344"/>
                    <a:gd name="T37" fmla="*/ 2147483647 h 285"/>
                    <a:gd name="T38" fmla="*/ 2147483647 w 344"/>
                    <a:gd name="T39" fmla="*/ 2147483647 h 285"/>
                    <a:gd name="T40" fmla="*/ 2147483647 w 344"/>
                    <a:gd name="T41" fmla="*/ 2147483647 h 285"/>
                    <a:gd name="T42" fmla="*/ 2147483647 w 344"/>
                    <a:gd name="T43" fmla="*/ 2147483647 h 285"/>
                    <a:gd name="T44" fmla="*/ 2147483647 w 344"/>
                    <a:gd name="T45" fmla="*/ 2147483647 h 285"/>
                    <a:gd name="T46" fmla="*/ 2147483647 w 344"/>
                    <a:gd name="T47" fmla="*/ 2147483647 h 285"/>
                    <a:gd name="T48" fmla="*/ 2147483647 w 344"/>
                    <a:gd name="T49" fmla="*/ 2147483647 h 285"/>
                    <a:gd name="T50" fmla="*/ 2147483647 w 344"/>
                    <a:gd name="T51" fmla="*/ 2147483647 h 285"/>
                    <a:gd name="T52" fmla="*/ 2147483647 w 344"/>
                    <a:gd name="T53" fmla="*/ 2147483647 h 285"/>
                    <a:gd name="T54" fmla="*/ 2147483647 w 344"/>
                    <a:gd name="T55" fmla="*/ 2147483647 h 285"/>
                    <a:gd name="T56" fmla="*/ 2147483647 w 344"/>
                    <a:gd name="T57" fmla="*/ 2147483647 h 285"/>
                    <a:gd name="T58" fmla="*/ 2147483647 w 344"/>
                    <a:gd name="T59" fmla="*/ 2147483647 h 285"/>
                    <a:gd name="T60" fmla="*/ 2147483647 w 344"/>
                    <a:gd name="T61" fmla="*/ 2147483647 h 285"/>
                    <a:gd name="T62" fmla="*/ 2147483647 w 344"/>
                    <a:gd name="T63" fmla="*/ 2147483647 h 285"/>
                    <a:gd name="T64" fmla="*/ 2147483647 w 344"/>
                    <a:gd name="T65" fmla="*/ 2147483647 h 285"/>
                    <a:gd name="T66" fmla="*/ 2147483647 w 344"/>
                    <a:gd name="T67" fmla="*/ 2147483647 h 285"/>
                    <a:gd name="T68" fmla="*/ 2147483647 w 344"/>
                    <a:gd name="T69" fmla="*/ 2147483647 h 285"/>
                    <a:gd name="T70" fmla="*/ 2147483647 w 344"/>
                    <a:gd name="T71" fmla="*/ 2147483647 h 285"/>
                    <a:gd name="T72" fmla="*/ 2147483647 w 344"/>
                    <a:gd name="T73" fmla="*/ 2147483647 h 285"/>
                    <a:gd name="T74" fmla="*/ 2147483647 w 344"/>
                    <a:gd name="T75" fmla="*/ 2147483647 h 285"/>
                    <a:gd name="T76" fmla="*/ 2147483647 w 344"/>
                    <a:gd name="T77" fmla="*/ 2147483647 h 285"/>
                    <a:gd name="T78" fmla="*/ 2147483647 w 344"/>
                    <a:gd name="T79" fmla="*/ 2147483647 h 285"/>
                    <a:gd name="T80" fmla="*/ 2147483647 w 344"/>
                    <a:gd name="T81" fmla="*/ 2147483647 h 285"/>
                    <a:gd name="T82" fmla="*/ 2147483647 w 344"/>
                    <a:gd name="T83" fmla="*/ 2147483647 h 285"/>
                    <a:gd name="T84" fmla="*/ 2147483647 w 344"/>
                    <a:gd name="T85" fmla="*/ 2147483647 h 285"/>
                    <a:gd name="T86" fmla="*/ 2147483647 w 344"/>
                    <a:gd name="T87" fmla="*/ 2147483647 h 285"/>
                    <a:gd name="T88" fmla="*/ 2147483647 w 344"/>
                    <a:gd name="T89" fmla="*/ 2147483647 h 285"/>
                    <a:gd name="T90" fmla="*/ 2147483647 w 344"/>
                    <a:gd name="T91" fmla="*/ 2147483647 h 285"/>
                    <a:gd name="T92" fmla="*/ 2147483647 w 344"/>
                    <a:gd name="T93" fmla="*/ 2147483647 h 285"/>
                    <a:gd name="T94" fmla="*/ 2147483647 w 344"/>
                    <a:gd name="T95" fmla="*/ 2147483647 h 285"/>
                    <a:gd name="T96" fmla="*/ 2147483647 w 344"/>
                    <a:gd name="T97" fmla="*/ 2147483647 h 285"/>
                    <a:gd name="T98" fmla="*/ 2147483647 w 344"/>
                    <a:gd name="T99" fmla="*/ 2147483647 h 285"/>
                    <a:gd name="T100" fmla="*/ 2147483647 w 344"/>
                    <a:gd name="T101" fmla="*/ 2147483647 h 285"/>
                    <a:gd name="T102" fmla="*/ 2147483647 w 344"/>
                    <a:gd name="T103" fmla="*/ 2147483647 h 285"/>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344" h="285">
                      <a:moveTo>
                        <a:pt x="131" y="2"/>
                      </a:moveTo>
                      <a:cubicBezTo>
                        <a:pt x="127" y="0"/>
                        <a:pt x="122" y="2"/>
                        <a:pt x="120" y="6"/>
                      </a:cubicBezTo>
                      <a:cubicBezTo>
                        <a:pt x="2" y="273"/>
                        <a:pt x="2" y="273"/>
                        <a:pt x="2" y="273"/>
                      </a:cubicBezTo>
                      <a:cubicBezTo>
                        <a:pt x="0" y="278"/>
                        <a:pt x="2" y="282"/>
                        <a:pt x="6" y="284"/>
                      </a:cubicBezTo>
                      <a:cubicBezTo>
                        <a:pt x="7" y="285"/>
                        <a:pt x="8" y="285"/>
                        <a:pt x="9" y="285"/>
                      </a:cubicBezTo>
                      <a:cubicBezTo>
                        <a:pt x="12" y="285"/>
                        <a:pt x="15" y="283"/>
                        <a:pt x="16" y="280"/>
                      </a:cubicBezTo>
                      <a:cubicBezTo>
                        <a:pt x="135" y="12"/>
                        <a:pt x="135" y="12"/>
                        <a:pt x="135" y="12"/>
                      </a:cubicBezTo>
                      <a:cubicBezTo>
                        <a:pt x="137" y="8"/>
                        <a:pt x="135" y="3"/>
                        <a:pt x="131" y="2"/>
                      </a:cubicBezTo>
                      <a:close/>
                      <a:moveTo>
                        <a:pt x="172" y="1"/>
                      </a:moveTo>
                      <a:cubicBezTo>
                        <a:pt x="168" y="1"/>
                        <a:pt x="164" y="4"/>
                        <a:pt x="164" y="9"/>
                      </a:cubicBezTo>
                      <a:cubicBezTo>
                        <a:pt x="164" y="25"/>
                        <a:pt x="164" y="25"/>
                        <a:pt x="164" y="25"/>
                      </a:cubicBezTo>
                      <a:cubicBezTo>
                        <a:pt x="164" y="29"/>
                        <a:pt x="168" y="33"/>
                        <a:pt x="172" y="33"/>
                      </a:cubicBezTo>
                      <a:cubicBezTo>
                        <a:pt x="177" y="33"/>
                        <a:pt x="180" y="29"/>
                        <a:pt x="180" y="25"/>
                      </a:cubicBezTo>
                      <a:cubicBezTo>
                        <a:pt x="180" y="9"/>
                        <a:pt x="180" y="9"/>
                        <a:pt x="180" y="9"/>
                      </a:cubicBezTo>
                      <a:cubicBezTo>
                        <a:pt x="180" y="4"/>
                        <a:pt x="177" y="1"/>
                        <a:pt x="172" y="1"/>
                      </a:cubicBezTo>
                      <a:close/>
                      <a:moveTo>
                        <a:pt x="172" y="159"/>
                      </a:moveTo>
                      <a:cubicBezTo>
                        <a:pt x="168" y="159"/>
                        <a:pt x="164" y="162"/>
                        <a:pt x="164" y="167"/>
                      </a:cubicBezTo>
                      <a:cubicBezTo>
                        <a:pt x="164" y="202"/>
                        <a:pt x="164" y="202"/>
                        <a:pt x="164" y="202"/>
                      </a:cubicBezTo>
                      <a:cubicBezTo>
                        <a:pt x="164" y="207"/>
                        <a:pt x="168" y="210"/>
                        <a:pt x="172" y="210"/>
                      </a:cubicBezTo>
                      <a:cubicBezTo>
                        <a:pt x="177" y="210"/>
                        <a:pt x="180" y="207"/>
                        <a:pt x="180" y="202"/>
                      </a:cubicBezTo>
                      <a:cubicBezTo>
                        <a:pt x="180" y="167"/>
                        <a:pt x="180" y="167"/>
                        <a:pt x="180" y="167"/>
                      </a:cubicBezTo>
                      <a:cubicBezTo>
                        <a:pt x="180" y="162"/>
                        <a:pt x="177" y="159"/>
                        <a:pt x="172" y="159"/>
                      </a:cubicBezTo>
                      <a:close/>
                      <a:moveTo>
                        <a:pt x="172" y="70"/>
                      </a:moveTo>
                      <a:cubicBezTo>
                        <a:pt x="168" y="70"/>
                        <a:pt x="164" y="74"/>
                        <a:pt x="164" y="78"/>
                      </a:cubicBezTo>
                      <a:cubicBezTo>
                        <a:pt x="164" y="114"/>
                        <a:pt x="164" y="114"/>
                        <a:pt x="164" y="114"/>
                      </a:cubicBezTo>
                      <a:cubicBezTo>
                        <a:pt x="164" y="118"/>
                        <a:pt x="168" y="122"/>
                        <a:pt x="172" y="122"/>
                      </a:cubicBezTo>
                      <a:cubicBezTo>
                        <a:pt x="177" y="122"/>
                        <a:pt x="180" y="118"/>
                        <a:pt x="180" y="114"/>
                      </a:cubicBezTo>
                      <a:cubicBezTo>
                        <a:pt x="180" y="78"/>
                        <a:pt x="180" y="78"/>
                        <a:pt x="180" y="78"/>
                      </a:cubicBezTo>
                      <a:cubicBezTo>
                        <a:pt x="180" y="74"/>
                        <a:pt x="177" y="70"/>
                        <a:pt x="172" y="70"/>
                      </a:cubicBezTo>
                      <a:close/>
                      <a:moveTo>
                        <a:pt x="172" y="247"/>
                      </a:moveTo>
                      <a:cubicBezTo>
                        <a:pt x="168" y="247"/>
                        <a:pt x="164" y="251"/>
                        <a:pt x="164" y="255"/>
                      </a:cubicBezTo>
                      <a:cubicBezTo>
                        <a:pt x="164" y="271"/>
                        <a:pt x="164" y="271"/>
                        <a:pt x="164" y="271"/>
                      </a:cubicBezTo>
                      <a:cubicBezTo>
                        <a:pt x="164" y="276"/>
                        <a:pt x="168" y="279"/>
                        <a:pt x="172" y="279"/>
                      </a:cubicBezTo>
                      <a:cubicBezTo>
                        <a:pt x="177" y="279"/>
                        <a:pt x="180" y="276"/>
                        <a:pt x="180" y="271"/>
                      </a:cubicBezTo>
                      <a:cubicBezTo>
                        <a:pt x="180" y="255"/>
                        <a:pt x="180" y="255"/>
                        <a:pt x="180" y="255"/>
                      </a:cubicBezTo>
                      <a:cubicBezTo>
                        <a:pt x="180" y="251"/>
                        <a:pt x="177" y="247"/>
                        <a:pt x="172" y="247"/>
                      </a:cubicBezTo>
                      <a:close/>
                      <a:moveTo>
                        <a:pt x="235" y="30"/>
                      </a:moveTo>
                      <a:cubicBezTo>
                        <a:pt x="224" y="6"/>
                        <a:pt x="224" y="6"/>
                        <a:pt x="224" y="6"/>
                      </a:cubicBezTo>
                      <a:cubicBezTo>
                        <a:pt x="222" y="2"/>
                        <a:pt x="218" y="0"/>
                        <a:pt x="213" y="2"/>
                      </a:cubicBezTo>
                      <a:cubicBezTo>
                        <a:pt x="209" y="3"/>
                        <a:pt x="208" y="8"/>
                        <a:pt x="209" y="12"/>
                      </a:cubicBezTo>
                      <a:cubicBezTo>
                        <a:pt x="220" y="36"/>
                        <a:pt x="220" y="36"/>
                        <a:pt x="220" y="36"/>
                      </a:cubicBezTo>
                      <a:cubicBezTo>
                        <a:pt x="222" y="39"/>
                        <a:pt x="224" y="41"/>
                        <a:pt x="227" y="41"/>
                      </a:cubicBezTo>
                      <a:cubicBezTo>
                        <a:pt x="229" y="41"/>
                        <a:pt x="230" y="41"/>
                        <a:pt x="231" y="41"/>
                      </a:cubicBezTo>
                      <a:cubicBezTo>
                        <a:pt x="235" y="39"/>
                        <a:pt x="237" y="34"/>
                        <a:pt x="235" y="30"/>
                      </a:cubicBezTo>
                      <a:close/>
                      <a:moveTo>
                        <a:pt x="343" y="273"/>
                      </a:moveTo>
                      <a:cubicBezTo>
                        <a:pt x="248" y="60"/>
                        <a:pt x="248" y="60"/>
                        <a:pt x="248" y="60"/>
                      </a:cubicBezTo>
                      <a:cubicBezTo>
                        <a:pt x="246" y="56"/>
                        <a:pt x="241" y="54"/>
                        <a:pt x="237" y="56"/>
                      </a:cubicBezTo>
                      <a:cubicBezTo>
                        <a:pt x="233" y="58"/>
                        <a:pt x="232" y="62"/>
                        <a:pt x="233" y="66"/>
                      </a:cubicBezTo>
                      <a:cubicBezTo>
                        <a:pt x="328" y="280"/>
                        <a:pt x="328" y="280"/>
                        <a:pt x="328" y="280"/>
                      </a:cubicBezTo>
                      <a:cubicBezTo>
                        <a:pt x="329" y="283"/>
                        <a:pt x="332" y="285"/>
                        <a:pt x="335" y="285"/>
                      </a:cubicBezTo>
                      <a:cubicBezTo>
                        <a:pt x="336" y="285"/>
                        <a:pt x="337" y="285"/>
                        <a:pt x="339" y="284"/>
                      </a:cubicBezTo>
                      <a:cubicBezTo>
                        <a:pt x="343" y="282"/>
                        <a:pt x="344" y="278"/>
                        <a:pt x="343" y="2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43" name="Freeform 3"/>
                <p:cNvSpPr>
                  <a:spLocks noChangeAspect="1" noEditPoints="1"/>
                </p:cNvSpPr>
                <p:nvPr/>
              </p:nvSpPr>
              <p:spPr bwMode="auto">
                <a:xfrm>
                  <a:off x="3933960" y="2137181"/>
                  <a:ext cx="138992" cy="134693"/>
                </a:xfrm>
                <a:custGeom>
                  <a:avLst/>
                  <a:gdLst>
                    <a:gd name="T0" fmla="*/ 2147483647 w 430"/>
                    <a:gd name="T1" fmla="*/ 2147483647 h 426"/>
                    <a:gd name="T2" fmla="*/ 2147483647 w 430"/>
                    <a:gd name="T3" fmla="*/ 2147483647 h 426"/>
                    <a:gd name="T4" fmla="*/ 2147483647 w 430"/>
                    <a:gd name="T5" fmla="*/ 2147483647 h 426"/>
                    <a:gd name="T6" fmla="*/ 2147483647 w 430"/>
                    <a:gd name="T7" fmla="*/ 2147483647 h 426"/>
                    <a:gd name="T8" fmla="*/ 2147483647 w 430"/>
                    <a:gd name="T9" fmla="*/ 2147483647 h 426"/>
                    <a:gd name="T10" fmla="*/ 2147483647 w 430"/>
                    <a:gd name="T11" fmla="*/ 2147483647 h 426"/>
                    <a:gd name="T12" fmla="*/ 2147483647 w 430"/>
                    <a:gd name="T13" fmla="*/ 2147483647 h 426"/>
                    <a:gd name="T14" fmla="*/ 2147483647 w 430"/>
                    <a:gd name="T15" fmla="*/ 2147483647 h 426"/>
                    <a:gd name="T16" fmla="*/ 2147483647 w 430"/>
                    <a:gd name="T17" fmla="*/ 2147483647 h 426"/>
                    <a:gd name="T18" fmla="*/ 2147483647 w 430"/>
                    <a:gd name="T19" fmla="*/ 2147483647 h 426"/>
                    <a:gd name="T20" fmla="*/ 2147483647 w 430"/>
                    <a:gd name="T21" fmla="*/ 2147483647 h 426"/>
                    <a:gd name="T22" fmla="*/ 2147483647 w 430"/>
                    <a:gd name="T23" fmla="*/ 2147483647 h 426"/>
                    <a:gd name="T24" fmla="*/ 2147483647 w 430"/>
                    <a:gd name="T25" fmla="*/ 2147483647 h 426"/>
                    <a:gd name="T26" fmla="*/ 2147483647 w 430"/>
                    <a:gd name="T27" fmla="*/ 2147483647 h 426"/>
                    <a:gd name="T28" fmla="*/ 2147483647 w 430"/>
                    <a:gd name="T29" fmla="*/ 2147483647 h 426"/>
                    <a:gd name="T30" fmla="*/ 2147483647 w 430"/>
                    <a:gd name="T31" fmla="*/ 2147483647 h 426"/>
                    <a:gd name="T32" fmla="*/ 2147483647 w 430"/>
                    <a:gd name="T33" fmla="*/ 2147483647 h 426"/>
                    <a:gd name="T34" fmla="*/ 2147483647 w 430"/>
                    <a:gd name="T35" fmla="*/ 2147483647 h 426"/>
                    <a:gd name="T36" fmla="*/ 2147483647 w 430"/>
                    <a:gd name="T37" fmla="*/ 2147483647 h 426"/>
                    <a:gd name="T38" fmla="*/ 2147483647 w 430"/>
                    <a:gd name="T39" fmla="*/ 2147483647 h 426"/>
                    <a:gd name="T40" fmla="*/ 2147483647 w 430"/>
                    <a:gd name="T41" fmla="*/ 2147483647 h 426"/>
                    <a:gd name="T42" fmla="*/ 2147483647 w 430"/>
                    <a:gd name="T43" fmla="*/ 2147483647 h 426"/>
                    <a:gd name="T44" fmla="*/ 2147483647 w 430"/>
                    <a:gd name="T45" fmla="*/ 2147483647 h 426"/>
                    <a:gd name="T46" fmla="*/ 2147483647 w 430"/>
                    <a:gd name="T47" fmla="*/ 2147483647 h 426"/>
                    <a:gd name="T48" fmla="*/ 2147483647 w 430"/>
                    <a:gd name="T49" fmla="*/ 2147483647 h 426"/>
                    <a:gd name="T50" fmla="*/ 2147483647 w 430"/>
                    <a:gd name="T51" fmla="*/ 2147483647 h 426"/>
                    <a:gd name="T52" fmla="*/ 2147483647 w 430"/>
                    <a:gd name="T53" fmla="*/ 2147483647 h 426"/>
                    <a:gd name="T54" fmla="*/ 2147483647 w 430"/>
                    <a:gd name="T55" fmla="*/ 2147483647 h 426"/>
                    <a:gd name="T56" fmla="*/ 2147483647 w 430"/>
                    <a:gd name="T57" fmla="*/ 2147483647 h 426"/>
                    <a:gd name="T58" fmla="*/ 2147483647 w 430"/>
                    <a:gd name="T59" fmla="*/ 2147483647 h 426"/>
                    <a:gd name="T60" fmla="*/ 2147483647 w 430"/>
                    <a:gd name="T61" fmla="*/ 2147483647 h 426"/>
                    <a:gd name="T62" fmla="*/ 2147483647 w 430"/>
                    <a:gd name="T63" fmla="*/ 2147483647 h 426"/>
                    <a:gd name="T64" fmla="*/ 2147483647 w 430"/>
                    <a:gd name="T65" fmla="*/ 2147483647 h 426"/>
                    <a:gd name="T66" fmla="*/ 2147483647 w 430"/>
                    <a:gd name="T67" fmla="*/ 2147483647 h 426"/>
                    <a:gd name="T68" fmla="*/ 2147483647 w 430"/>
                    <a:gd name="T69" fmla="*/ 2147483647 h 426"/>
                    <a:gd name="T70" fmla="*/ 2147483647 w 430"/>
                    <a:gd name="T71" fmla="*/ 2147483647 h 426"/>
                    <a:gd name="T72" fmla="*/ 2147483647 w 430"/>
                    <a:gd name="T73" fmla="*/ 2147483647 h 426"/>
                    <a:gd name="T74" fmla="*/ 2147483647 w 430"/>
                    <a:gd name="T75" fmla="*/ 2147483647 h 426"/>
                    <a:gd name="T76" fmla="*/ 2147483647 w 430"/>
                    <a:gd name="T77" fmla="*/ 2147483647 h 426"/>
                    <a:gd name="T78" fmla="*/ 2147483647 w 430"/>
                    <a:gd name="T79" fmla="*/ 2147483647 h 426"/>
                    <a:gd name="T80" fmla="*/ 2147483647 w 430"/>
                    <a:gd name="T81" fmla="*/ 2147483647 h 426"/>
                    <a:gd name="T82" fmla="*/ 2147483647 w 430"/>
                    <a:gd name="T83" fmla="*/ 2147483647 h 426"/>
                    <a:gd name="T84" fmla="*/ 2147483647 w 430"/>
                    <a:gd name="T85" fmla="*/ 2147483647 h 426"/>
                    <a:gd name="T86" fmla="*/ 2147483647 w 430"/>
                    <a:gd name="T87" fmla="*/ 2147483647 h 426"/>
                    <a:gd name="T88" fmla="*/ 2147483647 w 430"/>
                    <a:gd name="T89" fmla="*/ 2147483647 h 426"/>
                    <a:gd name="T90" fmla="*/ 2147483647 w 430"/>
                    <a:gd name="T91" fmla="*/ 2147483647 h 426"/>
                    <a:gd name="T92" fmla="*/ 2147483647 w 430"/>
                    <a:gd name="T93" fmla="*/ 2147483647 h 426"/>
                    <a:gd name="T94" fmla="*/ 2147483647 w 430"/>
                    <a:gd name="T95" fmla="*/ 2147483647 h 426"/>
                    <a:gd name="T96" fmla="*/ 2147483647 w 430"/>
                    <a:gd name="T97" fmla="*/ 2147483647 h 426"/>
                    <a:gd name="T98" fmla="*/ 2147483647 w 430"/>
                    <a:gd name="T99" fmla="*/ 2147483647 h 426"/>
                    <a:gd name="T100" fmla="*/ 2147483647 w 430"/>
                    <a:gd name="T101" fmla="*/ 2147483647 h 426"/>
                    <a:gd name="T102" fmla="*/ 2147483647 w 430"/>
                    <a:gd name="T103" fmla="*/ 2147483647 h 426"/>
                    <a:gd name="T104" fmla="*/ 2147483647 w 430"/>
                    <a:gd name="T105" fmla="*/ 2147483647 h 426"/>
                    <a:gd name="T106" fmla="*/ 2147483647 w 430"/>
                    <a:gd name="T107" fmla="*/ 2147483647 h 426"/>
                    <a:gd name="T108" fmla="*/ 2147483647 w 430"/>
                    <a:gd name="T109" fmla="*/ 2147483647 h 426"/>
                    <a:gd name="T110" fmla="*/ 2147483647 w 430"/>
                    <a:gd name="T111" fmla="*/ 2147483647 h 426"/>
                    <a:gd name="T112" fmla="*/ 2147483647 w 430"/>
                    <a:gd name="T113" fmla="*/ 2147483647 h 426"/>
                    <a:gd name="T114" fmla="*/ 2147483647 w 430"/>
                    <a:gd name="T115" fmla="*/ 2147483647 h 426"/>
                    <a:gd name="T116" fmla="*/ 2147483647 w 430"/>
                    <a:gd name="T117" fmla="*/ 2147483647 h 426"/>
                    <a:gd name="T118" fmla="*/ 2147483647 w 430"/>
                    <a:gd name="T119" fmla="*/ 2147483647 h 426"/>
                    <a:gd name="T120" fmla="*/ 2147483647 w 430"/>
                    <a:gd name="T121" fmla="*/ 2147483647 h 4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430" h="426">
                      <a:moveTo>
                        <a:pt x="366" y="169"/>
                      </a:moveTo>
                      <a:cubicBezTo>
                        <a:pt x="366" y="165"/>
                        <a:pt x="366" y="160"/>
                        <a:pt x="366" y="155"/>
                      </a:cubicBezTo>
                      <a:cubicBezTo>
                        <a:pt x="363" y="133"/>
                        <a:pt x="353" y="113"/>
                        <a:pt x="339" y="97"/>
                      </a:cubicBezTo>
                      <a:cubicBezTo>
                        <a:pt x="336" y="94"/>
                        <a:pt x="331" y="94"/>
                        <a:pt x="328" y="97"/>
                      </a:cubicBezTo>
                      <a:cubicBezTo>
                        <a:pt x="325" y="100"/>
                        <a:pt x="324" y="105"/>
                        <a:pt x="327" y="108"/>
                      </a:cubicBezTo>
                      <a:cubicBezTo>
                        <a:pt x="339" y="121"/>
                        <a:pt x="347" y="138"/>
                        <a:pt x="350" y="157"/>
                      </a:cubicBezTo>
                      <a:cubicBezTo>
                        <a:pt x="350" y="161"/>
                        <a:pt x="350" y="165"/>
                        <a:pt x="350" y="169"/>
                      </a:cubicBezTo>
                      <a:cubicBezTo>
                        <a:pt x="350" y="195"/>
                        <a:pt x="340" y="218"/>
                        <a:pt x="323" y="235"/>
                      </a:cubicBezTo>
                      <a:cubicBezTo>
                        <a:pt x="321" y="234"/>
                        <a:pt x="320" y="233"/>
                        <a:pt x="318" y="232"/>
                      </a:cubicBezTo>
                      <a:cubicBezTo>
                        <a:pt x="321" y="226"/>
                        <a:pt x="322" y="219"/>
                        <a:pt x="322" y="211"/>
                      </a:cubicBezTo>
                      <a:cubicBezTo>
                        <a:pt x="322" y="183"/>
                        <a:pt x="300" y="161"/>
                        <a:pt x="272" y="161"/>
                      </a:cubicBezTo>
                      <a:cubicBezTo>
                        <a:pt x="263" y="161"/>
                        <a:pt x="254" y="163"/>
                        <a:pt x="247" y="168"/>
                      </a:cubicBezTo>
                      <a:cubicBezTo>
                        <a:pt x="233" y="143"/>
                        <a:pt x="210" y="124"/>
                        <a:pt x="183" y="116"/>
                      </a:cubicBezTo>
                      <a:cubicBezTo>
                        <a:pt x="197" y="96"/>
                        <a:pt x="220" y="81"/>
                        <a:pt x="246" y="78"/>
                      </a:cubicBezTo>
                      <a:cubicBezTo>
                        <a:pt x="252" y="77"/>
                        <a:pt x="257" y="77"/>
                        <a:pt x="261" y="77"/>
                      </a:cubicBezTo>
                      <a:cubicBezTo>
                        <a:pt x="277" y="77"/>
                        <a:pt x="290" y="80"/>
                        <a:pt x="303" y="88"/>
                      </a:cubicBezTo>
                      <a:cubicBezTo>
                        <a:pt x="307" y="90"/>
                        <a:pt x="312" y="89"/>
                        <a:pt x="314" y="85"/>
                      </a:cubicBezTo>
                      <a:cubicBezTo>
                        <a:pt x="317" y="81"/>
                        <a:pt x="315" y="76"/>
                        <a:pt x="312" y="74"/>
                      </a:cubicBezTo>
                      <a:cubicBezTo>
                        <a:pt x="312" y="74"/>
                        <a:pt x="312" y="74"/>
                        <a:pt x="312" y="74"/>
                      </a:cubicBezTo>
                      <a:cubicBezTo>
                        <a:pt x="296" y="65"/>
                        <a:pt x="279" y="61"/>
                        <a:pt x="261" y="61"/>
                      </a:cubicBezTo>
                      <a:cubicBezTo>
                        <a:pt x="256" y="61"/>
                        <a:pt x="250" y="61"/>
                        <a:pt x="244" y="62"/>
                      </a:cubicBezTo>
                      <a:cubicBezTo>
                        <a:pt x="210" y="66"/>
                        <a:pt x="182" y="86"/>
                        <a:pt x="166" y="113"/>
                      </a:cubicBezTo>
                      <a:cubicBezTo>
                        <a:pt x="162" y="113"/>
                        <a:pt x="158" y="112"/>
                        <a:pt x="154" y="112"/>
                      </a:cubicBezTo>
                      <a:cubicBezTo>
                        <a:pt x="102" y="112"/>
                        <a:pt x="59" y="151"/>
                        <a:pt x="51" y="201"/>
                      </a:cubicBezTo>
                      <a:cubicBezTo>
                        <a:pt x="22" y="209"/>
                        <a:pt x="0" y="236"/>
                        <a:pt x="0" y="268"/>
                      </a:cubicBezTo>
                      <a:cubicBezTo>
                        <a:pt x="0" y="298"/>
                        <a:pt x="18" y="323"/>
                        <a:pt x="44" y="333"/>
                      </a:cubicBezTo>
                      <a:cubicBezTo>
                        <a:pt x="45" y="334"/>
                        <a:pt x="46" y="334"/>
                        <a:pt x="47" y="334"/>
                      </a:cubicBezTo>
                      <a:cubicBezTo>
                        <a:pt x="50" y="334"/>
                        <a:pt x="53" y="332"/>
                        <a:pt x="54" y="329"/>
                      </a:cubicBezTo>
                      <a:cubicBezTo>
                        <a:pt x="56" y="325"/>
                        <a:pt x="54" y="320"/>
                        <a:pt x="50" y="318"/>
                      </a:cubicBezTo>
                      <a:cubicBezTo>
                        <a:pt x="30" y="310"/>
                        <a:pt x="16" y="291"/>
                        <a:pt x="16" y="268"/>
                      </a:cubicBezTo>
                      <a:cubicBezTo>
                        <a:pt x="16" y="242"/>
                        <a:pt x="35" y="220"/>
                        <a:pt x="60" y="215"/>
                      </a:cubicBezTo>
                      <a:cubicBezTo>
                        <a:pt x="63" y="215"/>
                        <a:pt x="66" y="212"/>
                        <a:pt x="66" y="208"/>
                      </a:cubicBezTo>
                      <a:cubicBezTo>
                        <a:pt x="71" y="163"/>
                        <a:pt x="108" y="128"/>
                        <a:pt x="154" y="128"/>
                      </a:cubicBezTo>
                      <a:cubicBezTo>
                        <a:pt x="191" y="128"/>
                        <a:pt x="223" y="151"/>
                        <a:pt x="236" y="183"/>
                      </a:cubicBezTo>
                      <a:cubicBezTo>
                        <a:pt x="237" y="185"/>
                        <a:pt x="239" y="187"/>
                        <a:pt x="242" y="187"/>
                      </a:cubicBezTo>
                      <a:cubicBezTo>
                        <a:pt x="244" y="188"/>
                        <a:pt x="247" y="187"/>
                        <a:pt x="249" y="186"/>
                      </a:cubicBezTo>
                      <a:cubicBezTo>
                        <a:pt x="255" y="180"/>
                        <a:pt x="263" y="177"/>
                        <a:pt x="272" y="177"/>
                      </a:cubicBezTo>
                      <a:cubicBezTo>
                        <a:pt x="291" y="177"/>
                        <a:pt x="306" y="192"/>
                        <a:pt x="306" y="211"/>
                      </a:cubicBezTo>
                      <a:cubicBezTo>
                        <a:pt x="306" y="219"/>
                        <a:pt x="304" y="227"/>
                        <a:pt x="299" y="232"/>
                      </a:cubicBezTo>
                      <a:cubicBezTo>
                        <a:pt x="297" y="235"/>
                        <a:pt x="297" y="238"/>
                        <a:pt x="298" y="240"/>
                      </a:cubicBezTo>
                      <a:cubicBezTo>
                        <a:pt x="299" y="243"/>
                        <a:pt x="301" y="245"/>
                        <a:pt x="304" y="245"/>
                      </a:cubicBezTo>
                      <a:cubicBezTo>
                        <a:pt x="323" y="248"/>
                        <a:pt x="337" y="264"/>
                        <a:pt x="337" y="284"/>
                      </a:cubicBezTo>
                      <a:cubicBezTo>
                        <a:pt x="337" y="299"/>
                        <a:pt x="329" y="312"/>
                        <a:pt x="317" y="318"/>
                      </a:cubicBezTo>
                      <a:cubicBezTo>
                        <a:pt x="313" y="320"/>
                        <a:pt x="311" y="325"/>
                        <a:pt x="313" y="329"/>
                      </a:cubicBezTo>
                      <a:cubicBezTo>
                        <a:pt x="315" y="333"/>
                        <a:pt x="320" y="334"/>
                        <a:pt x="324" y="332"/>
                      </a:cubicBezTo>
                      <a:cubicBezTo>
                        <a:pt x="324" y="332"/>
                        <a:pt x="324" y="332"/>
                        <a:pt x="324" y="332"/>
                      </a:cubicBezTo>
                      <a:cubicBezTo>
                        <a:pt x="342" y="323"/>
                        <a:pt x="353" y="305"/>
                        <a:pt x="353" y="284"/>
                      </a:cubicBezTo>
                      <a:cubicBezTo>
                        <a:pt x="353" y="268"/>
                        <a:pt x="347" y="254"/>
                        <a:pt x="336" y="244"/>
                      </a:cubicBezTo>
                      <a:cubicBezTo>
                        <a:pt x="355" y="224"/>
                        <a:pt x="366" y="198"/>
                        <a:pt x="366" y="169"/>
                      </a:cubicBezTo>
                      <a:moveTo>
                        <a:pt x="233" y="39"/>
                      </a:moveTo>
                      <a:cubicBezTo>
                        <a:pt x="234" y="43"/>
                        <a:pt x="237" y="46"/>
                        <a:pt x="241" y="46"/>
                      </a:cubicBezTo>
                      <a:cubicBezTo>
                        <a:pt x="242" y="46"/>
                        <a:pt x="242" y="46"/>
                        <a:pt x="242" y="46"/>
                      </a:cubicBezTo>
                      <a:cubicBezTo>
                        <a:pt x="247" y="45"/>
                        <a:pt x="250" y="41"/>
                        <a:pt x="249" y="37"/>
                      </a:cubicBezTo>
                      <a:cubicBezTo>
                        <a:pt x="245" y="8"/>
                        <a:pt x="245" y="8"/>
                        <a:pt x="245" y="8"/>
                      </a:cubicBezTo>
                      <a:cubicBezTo>
                        <a:pt x="245" y="3"/>
                        <a:pt x="241" y="0"/>
                        <a:pt x="236" y="1"/>
                      </a:cubicBezTo>
                      <a:cubicBezTo>
                        <a:pt x="232" y="1"/>
                        <a:pt x="229" y="5"/>
                        <a:pt x="229" y="10"/>
                      </a:cubicBezTo>
                      <a:lnTo>
                        <a:pt x="233" y="39"/>
                      </a:lnTo>
                      <a:close/>
                      <a:moveTo>
                        <a:pt x="185" y="60"/>
                      </a:moveTo>
                      <a:cubicBezTo>
                        <a:pt x="186" y="62"/>
                        <a:pt x="189" y="64"/>
                        <a:pt x="192" y="64"/>
                      </a:cubicBezTo>
                      <a:cubicBezTo>
                        <a:pt x="193" y="64"/>
                        <a:pt x="194" y="63"/>
                        <a:pt x="196" y="63"/>
                      </a:cubicBezTo>
                      <a:cubicBezTo>
                        <a:pt x="199" y="60"/>
                        <a:pt x="201" y="56"/>
                        <a:pt x="199" y="52"/>
                      </a:cubicBezTo>
                      <a:cubicBezTo>
                        <a:pt x="183" y="25"/>
                        <a:pt x="183" y="25"/>
                        <a:pt x="183" y="25"/>
                      </a:cubicBezTo>
                      <a:cubicBezTo>
                        <a:pt x="181" y="21"/>
                        <a:pt x="176" y="20"/>
                        <a:pt x="173" y="22"/>
                      </a:cubicBezTo>
                      <a:cubicBezTo>
                        <a:pt x="169" y="24"/>
                        <a:pt x="167" y="29"/>
                        <a:pt x="170" y="33"/>
                      </a:cubicBezTo>
                      <a:lnTo>
                        <a:pt x="185" y="60"/>
                      </a:lnTo>
                      <a:close/>
                      <a:moveTo>
                        <a:pt x="394" y="266"/>
                      </a:moveTo>
                      <a:cubicBezTo>
                        <a:pt x="366" y="245"/>
                        <a:pt x="366" y="245"/>
                        <a:pt x="366" y="245"/>
                      </a:cubicBezTo>
                      <a:cubicBezTo>
                        <a:pt x="363" y="242"/>
                        <a:pt x="358" y="243"/>
                        <a:pt x="355" y="247"/>
                      </a:cubicBezTo>
                      <a:cubicBezTo>
                        <a:pt x="352" y="250"/>
                        <a:pt x="353" y="255"/>
                        <a:pt x="357" y="258"/>
                      </a:cubicBezTo>
                      <a:cubicBezTo>
                        <a:pt x="384" y="279"/>
                        <a:pt x="384" y="279"/>
                        <a:pt x="384" y="279"/>
                      </a:cubicBezTo>
                      <a:cubicBezTo>
                        <a:pt x="385" y="280"/>
                        <a:pt x="387" y="280"/>
                        <a:pt x="389" y="280"/>
                      </a:cubicBezTo>
                      <a:cubicBezTo>
                        <a:pt x="391" y="280"/>
                        <a:pt x="393" y="279"/>
                        <a:pt x="395" y="277"/>
                      </a:cubicBezTo>
                      <a:cubicBezTo>
                        <a:pt x="398" y="274"/>
                        <a:pt x="397" y="269"/>
                        <a:pt x="394" y="266"/>
                      </a:cubicBezTo>
                      <a:moveTo>
                        <a:pt x="123" y="78"/>
                      </a:moveTo>
                      <a:cubicBezTo>
                        <a:pt x="148" y="97"/>
                        <a:pt x="148" y="97"/>
                        <a:pt x="148" y="97"/>
                      </a:cubicBezTo>
                      <a:cubicBezTo>
                        <a:pt x="150" y="98"/>
                        <a:pt x="151" y="99"/>
                        <a:pt x="153" y="99"/>
                      </a:cubicBezTo>
                      <a:cubicBezTo>
                        <a:pt x="156" y="99"/>
                        <a:pt x="158" y="98"/>
                        <a:pt x="159" y="96"/>
                      </a:cubicBezTo>
                      <a:cubicBezTo>
                        <a:pt x="162" y="92"/>
                        <a:pt x="162" y="87"/>
                        <a:pt x="158" y="84"/>
                      </a:cubicBezTo>
                      <a:cubicBezTo>
                        <a:pt x="133" y="65"/>
                        <a:pt x="133" y="65"/>
                        <a:pt x="133" y="65"/>
                      </a:cubicBezTo>
                      <a:cubicBezTo>
                        <a:pt x="130" y="62"/>
                        <a:pt x="125" y="63"/>
                        <a:pt x="122" y="67"/>
                      </a:cubicBezTo>
                      <a:cubicBezTo>
                        <a:pt x="119" y="70"/>
                        <a:pt x="120" y="75"/>
                        <a:pt x="123" y="78"/>
                      </a:cubicBezTo>
                      <a:moveTo>
                        <a:pt x="419" y="207"/>
                      </a:moveTo>
                      <a:cubicBezTo>
                        <a:pt x="387" y="199"/>
                        <a:pt x="387" y="199"/>
                        <a:pt x="387" y="199"/>
                      </a:cubicBezTo>
                      <a:cubicBezTo>
                        <a:pt x="383" y="198"/>
                        <a:pt x="379" y="200"/>
                        <a:pt x="378" y="204"/>
                      </a:cubicBezTo>
                      <a:cubicBezTo>
                        <a:pt x="377" y="209"/>
                        <a:pt x="379" y="213"/>
                        <a:pt x="383" y="214"/>
                      </a:cubicBezTo>
                      <a:cubicBezTo>
                        <a:pt x="415" y="223"/>
                        <a:pt x="415" y="223"/>
                        <a:pt x="415" y="223"/>
                      </a:cubicBezTo>
                      <a:cubicBezTo>
                        <a:pt x="416" y="223"/>
                        <a:pt x="417" y="223"/>
                        <a:pt x="417" y="223"/>
                      </a:cubicBezTo>
                      <a:cubicBezTo>
                        <a:pt x="421" y="223"/>
                        <a:pt x="424" y="221"/>
                        <a:pt x="425" y="217"/>
                      </a:cubicBezTo>
                      <a:cubicBezTo>
                        <a:pt x="426" y="213"/>
                        <a:pt x="424" y="208"/>
                        <a:pt x="419" y="207"/>
                      </a:cubicBezTo>
                      <a:moveTo>
                        <a:pt x="430" y="150"/>
                      </a:moveTo>
                      <a:cubicBezTo>
                        <a:pt x="429" y="145"/>
                        <a:pt x="425" y="142"/>
                        <a:pt x="421" y="143"/>
                      </a:cubicBezTo>
                      <a:cubicBezTo>
                        <a:pt x="389" y="147"/>
                        <a:pt x="389" y="147"/>
                        <a:pt x="389" y="147"/>
                      </a:cubicBezTo>
                      <a:cubicBezTo>
                        <a:pt x="385" y="148"/>
                        <a:pt x="382" y="152"/>
                        <a:pt x="382" y="156"/>
                      </a:cubicBezTo>
                      <a:cubicBezTo>
                        <a:pt x="383" y="160"/>
                        <a:pt x="386" y="163"/>
                        <a:pt x="390" y="163"/>
                      </a:cubicBezTo>
                      <a:cubicBezTo>
                        <a:pt x="390" y="163"/>
                        <a:pt x="391" y="163"/>
                        <a:pt x="391" y="163"/>
                      </a:cubicBezTo>
                      <a:cubicBezTo>
                        <a:pt x="423" y="159"/>
                        <a:pt x="423" y="159"/>
                        <a:pt x="423" y="159"/>
                      </a:cubicBezTo>
                      <a:cubicBezTo>
                        <a:pt x="427" y="158"/>
                        <a:pt x="430" y="154"/>
                        <a:pt x="430" y="150"/>
                      </a:cubicBezTo>
                      <a:moveTo>
                        <a:pt x="367" y="109"/>
                      </a:moveTo>
                      <a:cubicBezTo>
                        <a:pt x="369" y="112"/>
                        <a:pt x="372" y="113"/>
                        <a:pt x="374" y="113"/>
                      </a:cubicBezTo>
                      <a:cubicBezTo>
                        <a:pt x="376" y="113"/>
                        <a:pt x="377" y="113"/>
                        <a:pt x="378" y="112"/>
                      </a:cubicBezTo>
                      <a:cubicBezTo>
                        <a:pt x="405" y="97"/>
                        <a:pt x="405" y="97"/>
                        <a:pt x="405" y="97"/>
                      </a:cubicBezTo>
                      <a:cubicBezTo>
                        <a:pt x="409" y="95"/>
                        <a:pt x="410" y="90"/>
                        <a:pt x="408" y="86"/>
                      </a:cubicBezTo>
                      <a:cubicBezTo>
                        <a:pt x="406" y="82"/>
                        <a:pt x="401" y="81"/>
                        <a:pt x="397" y="83"/>
                      </a:cubicBezTo>
                      <a:cubicBezTo>
                        <a:pt x="370" y="98"/>
                        <a:pt x="370" y="98"/>
                        <a:pt x="370" y="98"/>
                      </a:cubicBezTo>
                      <a:cubicBezTo>
                        <a:pt x="367" y="100"/>
                        <a:pt x="365" y="105"/>
                        <a:pt x="367" y="109"/>
                      </a:cubicBezTo>
                      <a:moveTo>
                        <a:pt x="336" y="72"/>
                      </a:moveTo>
                      <a:cubicBezTo>
                        <a:pt x="337" y="73"/>
                        <a:pt x="339" y="73"/>
                        <a:pt x="341" y="73"/>
                      </a:cubicBezTo>
                      <a:cubicBezTo>
                        <a:pt x="343" y="73"/>
                        <a:pt x="345" y="72"/>
                        <a:pt x="347" y="70"/>
                      </a:cubicBezTo>
                      <a:cubicBezTo>
                        <a:pt x="365" y="47"/>
                        <a:pt x="365" y="47"/>
                        <a:pt x="365" y="47"/>
                      </a:cubicBezTo>
                      <a:cubicBezTo>
                        <a:pt x="368" y="43"/>
                        <a:pt x="367" y="38"/>
                        <a:pt x="364" y="35"/>
                      </a:cubicBezTo>
                      <a:cubicBezTo>
                        <a:pt x="360" y="33"/>
                        <a:pt x="355" y="33"/>
                        <a:pt x="353" y="37"/>
                      </a:cubicBezTo>
                      <a:cubicBezTo>
                        <a:pt x="334" y="61"/>
                        <a:pt x="334" y="61"/>
                        <a:pt x="334" y="61"/>
                      </a:cubicBezTo>
                      <a:cubicBezTo>
                        <a:pt x="332" y="64"/>
                        <a:pt x="332" y="69"/>
                        <a:pt x="336" y="72"/>
                      </a:cubicBezTo>
                      <a:moveTo>
                        <a:pt x="292" y="49"/>
                      </a:moveTo>
                      <a:cubicBezTo>
                        <a:pt x="292" y="50"/>
                        <a:pt x="293" y="50"/>
                        <a:pt x="294" y="50"/>
                      </a:cubicBezTo>
                      <a:cubicBezTo>
                        <a:pt x="297" y="50"/>
                        <a:pt x="300" y="47"/>
                        <a:pt x="301" y="44"/>
                      </a:cubicBezTo>
                      <a:cubicBezTo>
                        <a:pt x="309" y="15"/>
                        <a:pt x="309" y="15"/>
                        <a:pt x="309" y="15"/>
                      </a:cubicBezTo>
                      <a:cubicBezTo>
                        <a:pt x="310" y="11"/>
                        <a:pt x="308" y="7"/>
                        <a:pt x="304" y="5"/>
                      </a:cubicBezTo>
                      <a:cubicBezTo>
                        <a:pt x="299" y="4"/>
                        <a:pt x="295" y="7"/>
                        <a:pt x="294" y="11"/>
                      </a:cubicBezTo>
                      <a:cubicBezTo>
                        <a:pt x="286" y="40"/>
                        <a:pt x="286" y="40"/>
                        <a:pt x="286" y="40"/>
                      </a:cubicBezTo>
                      <a:cubicBezTo>
                        <a:pt x="285" y="44"/>
                        <a:pt x="287" y="48"/>
                        <a:pt x="292" y="49"/>
                      </a:cubicBezTo>
                      <a:moveTo>
                        <a:pt x="300" y="399"/>
                      </a:moveTo>
                      <a:cubicBezTo>
                        <a:pt x="300" y="399"/>
                        <a:pt x="300" y="399"/>
                        <a:pt x="299" y="399"/>
                      </a:cubicBezTo>
                      <a:cubicBezTo>
                        <a:pt x="299" y="399"/>
                        <a:pt x="299" y="399"/>
                        <a:pt x="299" y="399"/>
                      </a:cubicBezTo>
                      <a:cubicBezTo>
                        <a:pt x="299" y="398"/>
                        <a:pt x="299" y="398"/>
                        <a:pt x="299" y="398"/>
                      </a:cubicBezTo>
                      <a:cubicBezTo>
                        <a:pt x="299" y="398"/>
                        <a:pt x="298" y="397"/>
                        <a:pt x="298" y="397"/>
                      </a:cubicBezTo>
                      <a:cubicBezTo>
                        <a:pt x="287" y="388"/>
                        <a:pt x="265" y="381"/>
                        <a:pt x="262" y="383"/>
                      </a:cubicBezTo>
                      <a:cubicBezTo>
                        <a:pt x="260" y="386"/>
                        <a:pt x="268" y="408"/>
                        <a:pt x="276" y="419"/>
                      </a:cubicBezTo>
                      <a:cubicBezTo>
                        <a:pt x="277" y="419"/>
                        <a:pt x="277" y="420"/>
                        <a:pt x="277" y="420"/>
                      </a:cubicBezTo>
                      <a:cubicBezTo>
                        <a:pt x="277" y="420"/>
                        <a:pt x="278" y="420"/>
                        <a:pt x="278" y="420"/>
                      </a:cubicBezTo>
                      <a:cubicBezTo>
                        <a:pt x="278" y="420"/>
                        <a:pt x="278" y="420"/>
                        <a:pt x="278" y="420"/>
                      </a:cubicBezTo>
                      <a:cubicBezTo>
                        <a:pt x="278" y="420"/>
                        <a:pt x="278" y="421"/>
                        <a:pt x="278" y="421"/>
                      </a:cubicBezTo>
                      <a:cubicBezTo>
                        <a:pt x="284" y="426"/>
                        <a:pt x="293" y="426"/>
                        <a:pt x="299" y="420"/>
                      </a:cubicBezTo>
                      <a:cubicBezTo>
                        <a:pt x="305" y="414"/>
                        <a:pt x="305" y="406"/>
                        <a:pt x="300" y="400"/>
                      </a:cubicBezTo>
                      <a:cubicBezTo>
                        <a:pt x="300" y="399"/>
                        <a:pt x="300" y="399"/>
                        <a:pt x="300" y="399"/>
                      </a:cubicBezTo>
                      <a:moveTo>
                        <a:pt x="219" y="399"/>
                      </a:moveTo>
                      <a:cubicBezTo>
                        <a:pt x="219" y="399"/>
                        <a:pt x="219" y="399"/>
                        <a:pt x="219" y="399"/>
                      </a:cubicBezTo>
                      <a:cubicBezTo>
                        <a:pt x="218" y="399"/>
                        <a:pt x="218" y="399"/>
                        <a:pt x="218" y="399"/>
                      </a:cubicBezTo>
                      <a:cubicBezTo>
                        <a:pt x="218" y="398"/>
                        <a:pt x="218" y="398"/>
                        <a:pt x="218" y="398"/>
                      </a:cubicBezTo>
                      <a:cubicBezTo>
                        <a:pt x="218" y="398"/>
                        <a:pt x="217" y="397"/>
                        <a:pt x="217" y="397"/>
                      </a:cubicBezTo>
                      <a:cubicBezTo>
                        <a:pt x="206" y="388"/>
                        <a:pt x="184" y="381"/>
                        <a:pt x="182" y="383"/>
                      </a:cubicBezTo>
                      <a:cubicBezTo>
                        <a:pt x="179" y="386"/>
                        <a:pt x="187" y="408"/>
                        <a:pt x="195" y="419"/>
                      </a:cubicBezTo>
                      <a:cubicBezTo>
                        <a:pt x="196" y="419"/>
                        <a:pt x="196" y="420"/>
                        <a:pt x="197" y="420"/>
                      </a:cubicBezTo>
                      <a:cubicBezTo>
                        <a:pt x="197" y="420"/>
                        <a:pt x="197" y="420"/>
                        <a:pt x="197" y="420"/>
                      </a:cubicBezTo>
                      <a:cubicBezTo>
                        <a:pt x="197" y="420"/>
                        <a:pt x="197" y="420"/>
                        <a:pt x="197" y="420"/>
                      </a:cubicBezTo>
                      <a:cubicBezTo>
                        <a:pt x="197" y="420"/>
                        <a:pt x="197" y="421"/>
                        <a:pt x="197" y="421"/>
                      </a:cubicBezTo>
                      <a:cubicBezTo>
                        <a:pt x="203" y="426"/>
                        <a:pt x="212" y="426"/>
                        <a:pt x="218" y="420"/>
                      </a:cubicBezTo>
                      <a:cubicBezTo>
                        <a:pt x="224" y="414"/>
                        <a:pt x="224" y="406"/>
                        <a:pt x="219" y="400"/>
                      </a:cubicBezTo>
                      <a:cubicBezTo>
                        <a:pt x="219" y="399"/>
                        <a:pt x="219" y="399"/>
                        <a:pt x="219" y="399"/>
                      </a:cubicBezTo>
                      <a:moveTo>
                        <a:pt x="138" y="400"/>
                      </a:moveTo>
                      <a:cubicBezTo>
                        <a:pt x="138" y="399"/>
                        <a:pt x="138" y="399"/>
                        <a:pt x="138" y="399"/>
                      </a:cubicBezTo>
                      <a:cubicBezTo>
                        <a:pt x="138" y="399"/>
                        <a:pt x="138" y="399"/>
                        <a:pt x="138" y="399"/>
                      </a:cubicBezTo>
                      <a:cubicBezTo>
                        <a:pt x="138" y="399"/>
                        <a:pt x="138" y="399"/>
                        <a:pt x="138" y="399"/>
                      </a:cubicBezTo>
                      <a:cubicBezTo>
                        <a:pt x="137" y="398"/>
                        <a:pt x="137" y="398"/>
                        <a:pt x="137" y="398"/>
                      </a:cubicBezTo>
                      <a:cubicBezTo>
                        <a:pt x="137" y="398"/>
                        <a:pt x="136" y="397"/>
                        <a:pt x="136" y="397"/>
                      </a:cubicBezTo>
                      <a:cubicBezTo>
                        <a:pt x="125" y="388"/>
                        <a:pt x="103" y="381"/>
                        <a:pt x="101" y="383"/>
                      </a:cubicBezTo>
                      <a:cubicBezTo>
                        <a:pt x="98" y="386"/>
                        <a:pt x="106" y="408"/>
                        <a:pt x="114" y="419"/>
                      </a:cubicBezTo>
                      <a:cubicBezTo>
                        <a:pt x="115" y="419"/>
                        <a:pt x="115" y="420"/>
                        <a:pt x="116" y="420"/>
                      </a:cubicBezTo>
                      <a:cubicBezTo>
                        <a:pt x="116" y="420"/>
                        <a:pt x="116" y="420"/>
                        <a:pt x="116" y="420"/>
                      </a:cubicBezTo>
                      <a:cubicBezTo>
                        <a:pt x="116" y="420"/>
                        <a:pt x="116" y="420"/>
                        <a:pt x="116" y="420"/>
                      </a:cubicBezTo>
                      <a:cubicBezTo>
                        <a:pt x="116" y="420"/>
                        <a:pt x="116" y="421"/>
                        <a:pt x="116" y="421"/>
                      </a:cubicBezTo>
                      <a:cubicBezTo>
                        <a:pt x="122" y="426"/>
                        <a:pt x="132" y="426"/>
                        <a:pt x="137" y="420"/>
                      </a:cubicBezTo>
                      <a:cubicBezTo>
                        <a:pt x="143" y="414"/>
                        <a:pt x="143" y="406"/>
                        <a:pt x="138" y="400"/>
                      </a:cubicBezTo>
                      <a:close/>
                      <a:moveTo>
                        <a:pt x="109" y="356"/>
                      </a:moveTo>
                      <a:cubicBezTo>
                        <a:pt x="109" y="348"/>
                        <a:pt x="109" y="348"/>
                        <a:pt x="109" y="348"/>
                      </a:cubicBezTo>
                      <a:cubicBezTo>
                        <a:pt x="116" y="352"/>
                        <a:pt x="116" y="352"/>
                        <a:pt x="116" y="352"/>
                      </a:cubicBezTo>
                      <a:cubicBezTo>
                        <a:pt x="117" y="353"/>
                        <a:pt x="119" y="353"/>
                        <a:pt x="120" y="353"/>
                      </a:cubicBezTo>
                      <a:cubicBezTo>
                        <a:pt x="123" y="353"/>
                        <a:pt x="126" y="351"/>
                        <a:pt x="127" y="349"/>
                      </a:cubicBezTo>
                      <a:cubicBezTo>
                        <a:pt x="129" y="345"/>
                        <a:pt x="128" y="340"/>
                        <a:pt x="124" y="338"/>
                      </a:cubicBezTo>
                      <a:cubicBezTo>
                        <a:pt x="117" y="334"/>
                        <a:pt x="117" y="334"/>
                        <a:pt x="117" y="334"/>
                      </a:cubicBezTo>
                      <a:cubicBezTo>
                        <a:pt x="124" y="330"/>
                        <a:pt x="124" y="330"/>
                        <a:pt x="124" y="330"/>
                      </a:cubicBezTo>
                      <a:cubicBezTo>
                        <a:pt x="128" y="328"/>
                        <a:pt x="129" y="323"/>
                        <a:pt x="127" y="319"/>
                      </a:cubicBezTo>
                      <a:cubicBezTo>
                        <a:pt x="125" y="315"/>
                        <a:pt x="120" y="314"/>
                        <a:pt x="116" y="316"/>
                      </a:cubicBezTo>
                      <a:cubicBezTo>
                        <a:pt x="109" y="320"/>
                        <a:pt x="109" y="320"/>
                        <a:pt x="109" y="320"/>
                      </a:cubicBezTo>
                      <a:cubicBezTo>
                        <a:pt x="109" y="312"/>
                        <a:pt x="109" y="312"/>
                        <a:pt x="109" y="312"/>
                      </a:cubicBezTo>
                      <a:cubicBezTo>
                        <a:pt x="109" y="308"/>
                        <a:pt x="106" y="304"/>
                        <a:pt x="101" y="304"/>
                      </a:cubicBezTo>
                      <a:cubicBezTo>
                        <a:pt x="97" y="304"/>
                        <a:pt x="93" y="308"/>
                        <a:pt x="93" y="312"/>
                      </a:cubicBezTo>
                      <a:cubicBezTo>
                        <a:pt x="93" y="320"/>
                        <a:pt x="93" y="320"/>
                        <a:pt x="93" y="320"/>
                      </a:cubicBezTo>
                      <a:cubicBezTo>
                        <a:pt x="86" y="316"/>
                        <a:pt x="86" y="316"/>
                        <a:pt x="86" y="316"/>
                      </a:cubicBezTo>
                      <a:cubicBezTo>
                        <a:pt x="83" y="314"/>
                        <a:pt x="78" y="315"/>
                        <a:pt x="75" y="319"/>
                      </a:cubicBezTo>
                      <a:cubicBezTo>
                        <a:pt x="73" y="323"/>
                        <a:pt x="75" y="328"/>
                        <a:pt x="78" y="330"/>
                      </a:cubicBezTo>
                      <a:cubicBezTo>
                        <a:pt x="85" y="334"/>
                        <a:pt x="85" y="334"/>
                        <a:pt x="85" y="334"/>
                      </a:cubicBezTo>
                      <a:cubicBezTo>
                        <a:pt x="78" y="338"/>
                        <a:pt x="78" y="338"/>
                        <a:pt x="78" y="338"/>
                      </a:cubicBezTo>
                      <a:cubicBezTo>
                        <a:pt x="75" y="340"/>
                        <a:pt x="73" y="345"/>
                        <a:pt x="75" y="349"/>
                      </a:cubicBezTo>
                      <a:cubicBezTo>
                        <a:pt x="77" y="351"/>
                        <a:pt x="80" y="353"/>
                        <a:pt x="82" y="353"/>
                      </a:cubicBezTo>
                      <a:cubicBezTo>
                        <a:pt x="84" y="353"/>
                        <a:pt x="85" y="353"/>
                        <a:pt x="86" y="352"/>
                      </a:cubicBezTo>
                      <a:cubicBezTo>
                        <a:pt x="93" y="348"/>
                        <a:pt x="93" y="348"/>
                        <a:pt x="93" y="348"/>
                      </a:cubicBezTo>
                      <a:cubicBezTo>
                        <a:pt x="93" y="356"/>
                        <a:pt x="93" y="356"/>
                        <a:pt x="93" y="356"/>
                      </a:cubicBezTo>
                      <a:cubicBezTo>
                        <a:pt x="93" y="360"/>
                        <a:pt x="97" y="364"/>
                        <a:pt x="101" y="364"/>
                      </a:cubicBezTo>
                      <a:cubicBezTo>
                        <a:pt x="106" y="364"/>
                        <a:pt x="109" y="360"/>
                        <a:pt x="109" y="356"/>
                      </a:cubicBezTo>
                      <a:moveTo>
                        <a:pt x="190" y="356"/>
                      </a:moveTo>
                      <a:cubicBezTo>
                        <a:pt x="190" y="348"/>
                        <a:pt x="190" y="348"/>
                        <a:pt x="190" y="348"/>
                      </a:cubicBezTo>
                      <a:cubicBezTo>
                        <a:pt x="197" y="352"/>
                        <a:pt x="197" y="352"/>
                        <a:pt x="197" y="352"/>
                      </a:cubicBezTo>
                      <a:cubicBezTo>
                        <a:pt x="198" y="353"/>
                        <a:pt x="199" y="353"/>
                        <a:pt x="201" y="353"/>
                      </a:cubicBezTo>
                      <a:cubicBezTo>
                        <a:pt x="204" y="353"/>
                        <a:pt x="206" y="351"/>
                        <a:pt x="208" y="349"/>
                      </a:cubicBezTo>
                      <a:cubicBezTo>
                        <a:pt x="210" y="345"/>
                        <a:pt x="209" y="340"/>
                        <a:pt x="205" y="338"/>
                      </a:cubicBezTo>
                      <a:cubicBezTo>
                        <a:pt x="198" y="334"/>
                        <a:pt x="198" y="334"/>
                        <a:pt x="198" y="334"/>
                      </a:cubicBezTo>
                      <a:cubicBezTo>
                        <a:pt x="205" y="330"/>
                        <a:pt x="205" y="330"/>
                        <a:pt x="205" y="330"/>
                      </a:cubicBezTo>
                      <a:cubicBezTo>
                        <a:pt x="209" y="328"/>
                        <a:pt x="210" y="323"/>
                        <a:pt x="208" y="319"/>
                      </a:cubicBezTo>
                      <a:cubicBezTo>
                        <a:pt x="205" y="315"/>
                        <a:pt x="201" y="314"/>
                        <a:pt x="197" y="316"/>
                      </a:cubicBezTo>
                      <a:cubicBezTo>
                        <a:pt x="190" y="320"/>
                        <a:pt x="190" y="320"/>
                        <a:pt x="190" y="320"/>
                      </a:cubicBezTo>
                      <a:cubicBezTo>
                        <a:pt x="190" y="312"/>
                        <a:pt x="190" y="312"/>
                        <a:pt x="190" y="312"/>
                      </a:cubicBezTo>
                      <a:cubicBezTo>
                        <a:pt x="190" y="308"/>
                        <a:pt x="186" y="304"/>
                        <a:pt x="182" y="304"/>
                      </a:cubicBezTo>
                      <a:cubicBezTo>
                        <a:pt x="177" y="304"/>
                        <a:pt x="174" y="308"/>
                        <a:pt x="174" y="312"/>
                      </a:cubicBezTo>
                      <a:cubicBezTo>
                        <a:pt x="174" y="320"/>
                        <a:pt x="174" y="320"/>
                        <a:pt x="174" y="320"/>
                      </a:cubicBezTo>
                      <a:cubicBezTo>
                        <a:pt x="167" y="316"/>
                        <a:pt x="167" y="316"/>
                        <a:pt x="167" y="316"/>
                      </a:cubicBezTo>
                      <a:cubicBezTo>
                        <a:pt x="163" y="314"/>
                        <a:pt x="158" y="315"/>
                        <a:pt x="156" y="319"/>
                      </a:cubicBezTo>
                      <a:cubicBezTo>
                        <a:pt x="154" y="323"/>
                        <a:pt x="155" y="328"/>
                        <a:pt x="159" y="330"/>
                      </a:cubicBezTo>
                      <a:cubicBezTo>
                        <a:pt x="166" y="334"/>
                        <a:pt x="166" y="334"/>
                        <a:pt x="166" y="334"/>
                      </a:cubicBezTo>
                      <a:cubicBezTo>
                        <a:pt x="159" y="338"/>
                        <a:pt x="159" y="338"/>
                        <a:pt x="159" y="338"/>
                      </a:cubicBezTo>
                      <a:cubicBezTo>
                        <a:pt x="155" y="340"/>
                        <a:pt x="154" y="345"/>
                        <a:pt x="156" y="349"/>
                      </a:cubicBezTo>
                      <a:cubicBezTo>
                        <a:pt x="158" y="351"/>
                        <a:pt x="160" y="353"/>
                        <a:pt x="163" y="353"/>
                      </a:cubicBezTo>
                      <a:cubicBezTo>
                        <a:pt x="164" y="353"/>
                        <a:pt x="166" y="353"/>
                        <a:pt x="167" y="352"/>
                      </a:cubicBezTo>
                      <a:cubicBezTo>
                        <a:pt x="174" y="348"/>
                        <a:pt x="174" y="348"/>
                        <a:pt x="174" y="348"/>
                      </a:cubicBezTo>
                      <a:cubicBezTo>
                        <a:pt x="174" y="356"/>
                        <a:pt x="174" y="356"/>
                        <a:pt x="174" y="356"/>
                      </a:cubicBezTo>
                      <a:cubicBezTo>
                        <a:pt x="174" y="360"/>
                        <a:pt x="177" y="364"/>
                        <a:pt x="182" y="364"/>
                      </a:cubicBezTo>
                      <a:cubicBezTo>
                        <a:pt x="186" y="364"/>
                        <a:pt x="190" y="360"/>
                        <a:pt x="190" y="356"/>
                      </a:cubicBezTo>
                      <a:moveTo>
                        <a:pt x="271" y="356"/>
                      </a:moveTo>
                      <a:cubicBezTo>
                        <a:pt x="271" y="348"/>
                        <a:pt x="271" y="348"/>
                        <a:pt x="271" y="348"/>
                      </a:cubicBezTo>
                      <a:cubicBezTo>
                        <a:pt x="277" y="352"/>
                        <a:pt x="277" y="352"/>
                        <a:pt x="277" y="352"/>
                      </a:cubicBezTo>
                      <a:cubicBezTo>
                        <a:pt x="279" y="353"/>
                        <a:pt x="280" y="353"/>
                        <a:pt x="281" y="353"/>
                      </a:cubicBezTo>
                      <a:cubicBezTo>
                        <a:pt x="284" y="353"/>
                        <a:pt x="287" y="351"/>
                        <a:pt x="288" y="349"/>
                      </a:cubicBezTo>
                      <a:cubicBezTo>
                        <a:pt x="291" y="345"/>
                        <a:pt x="289" y="340"/>
                        <a:pt x="285" y="338"/>
                      </a:cubicBezTo>
                      <a:cubicBezTo>
                        <a:pt x="279" y="334"/>
                        <a:pt x="279" y="334"/>
                        <a:pt x="279" y="334"/>
                      </a:cubicBezTo>
                      <a:cubicBezTo>
                        <a:pt x="285" y="330"/>
                        <a:pt x="285" y="330"/>
                        <a:pt x="285" y="330"/>
                      </a:cubicBezTo>
                      <a:cubicBezTo>
                        <a:pt x="289" y="328"/>
                        <a:pt x="291" y="323"/>
                        <a:pt x="288" y="319"/>
                      </a:cubicBezTo>
                      <a:cubicBezTo>
                        <a:pt x="286" y="315"/>
                        <a:pt x="281" y="314"/>
                        <a:pt x="277" y="316"/>
                      </a:cubicBezTo>
                      <a:cubicBezTo>
                        <a:pt x="271" y="320"/>
                        <a:pt x="271" y="320"/>
                        <a:pt x="271" y="320"/>
                      </a:cubicBezTo>
                      <a:cubicBezTo>
                        <a:pt x="271" y="312"/>
                        <a:pt x="271" y="312"/>
                        <a:pt x="271" y="312"/>
                      </a:cubicBezTo>
                      <a:cubicBezTo>
                        <a:pt x="271" y="308"/>
                        <a:pt x="267" y="304"/>
                        <a:pt x="263" y="304"/>
                      </a:cubicBezTo>
                      <a:cubicBezTo>
                        <a:pt x="258" y="304"/>
                        <a:pt x="255" y="308"/>
                        <a:pt x="255" y="312"/>
                      </a:cubicBezTo>
                      <a:cubicBezTo>
                        <a:pt x="255" y="320"/>
                        <a:pt x="255" y="320"/>
                        <a:pt x="255" y="320"/>
                      </a:cubicBezTo>
                      <a:cubicBezTo>
                        <a:pt x="248" y="316"/>
                        <a:pt x="248" y="316"/>
                        <a:pt x="248" y="316"/>
                      </a:cubicBezTo>
                      <a:cubicBezTo>
                        <a:pt x="244" y="314"/>
                        <a:pt x="239" y="315"/>
                        <a:pt x="237" y="319"/>
                      </a:cubicBezTo>
                      <a:cubicBezTo>
                        <a:pt x="235" y="323"/>
                        <a:pt x="236" y="328"/>
                        <a:pt x="240" y="330"/>
                      </a:cubicBezTo>
                      <a:cubicBezTo>
                        <a:pt x="247" y="334"/>
                        <a:pt x="247" y="334"/>
                        <a:pt x="247" y="334"/>
                      </a:cubicBezTo>
                      <a:cubicBezTo>
                        <a:pt x="240" y="338"/>
                        <a:pt x="240" y="338"/>
                        <a:pt x="240" y="338"/>
                      </a:cubicBezTo>
                      <a:cubicBezTo>
                        <a:pt x="236" y="340"/>
                        <a:pt x="235" y="345"/>
                        <a:pt x="237" y="349"/>
                      </a:cubicBezTo>
                      <a:cubicBezTo>
                        <a:pt x="238" y="351"/>
                        <a:pt x="241" y="353"/>
                        <a:pt x="244" y="353"/>
                      </a:cubicBezTo>
                      <a:cubicBezTo>
                        <a:pt x="245" y="353"/>
                        <a:pt x="246" y="353"/>
                        <a:pt x="248" y="352"/>
                      </a:cubicBezTo>
                      <a:cubicBezTo>
                        <a:pt x="255" y="348"/>
                        <a:pt x="255" y="348"/>
                        <a:pt x="255" y="348"/>
                      </a:cubicBezTo>
                      <a:cubicBezTo>
                        <a:pt x="255" y="356"/>
                        <a:pt x="255" y="356"/>
                        <a:pt x="255" y="356"/>
                      </a:cubicBezTo>
                      <a:cubicBezTo>
                        <a:pt x="255" y="360"/>
                        <a:pt x="258" y="364"/>
                        <a:pt x="263" y="364"/>
                      </a:cubicBezTo>
                      <a:cubicBezTo>
                        <a:pt x="267" y="364"/>
                        <a:pt x="271" y="360"/>
                        <a:pt x="271" y="35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grpSp>
        </p:grpSp>
      </p:grpSp>
      <p:sp>
        <p:nvSpPr>
          <p:cNvPr id="5" name="Ellips 4"/>
          <p:cNvSpPr/>
          <p:nvPr/>
        </p:nvSpPr>
        <p:spPr bwMode="auto">
          <a:xfrm>
            <a:off x="381000" y="1727200"/>
            <a:ext cx="3848100" cy="3848100"/>
          </a:xfrm>
          <a:prstGeom prst="ellipse">
            <a:avLst/>
          </a:prstGeom>
          <a:noFill/>
          <a:ln w="12700" cap="flat" cmpd="sng" algn="ctr">
            <a:solidFill>
              <a:schemeClr val="bg1">
                <a:alpha val="39000"/>
              </a:schemeClr>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sv-SE" sz="2000" b="0" i="0" u="none" strike="noStrike" cap="none" normalizeH="0" baseline="0" dirty="0">
              <a:ln>
                <a:noFill/>
              </a:ln>
              <a:solidFill>
                <a:schemeClr val="tx1"/>
              </a:solidFill>
              <a:effectLst/>
              <a:latin typeface="Arial" charset="0"/>
            </a:endParaRPr>
          </a:p>
        </p:txBody>
      </p:sp>
      <p:sp>
        <p:nvSpPr>
          <p:cNvPr id="373" name="Freeform 3"/>
          <p:cNvSpPr>
            <a:spLocks noChangeAspect="1" noEditPoints="1"/>
          </p:cNvSpPr>
          <p:nvPr/>
        </p:nvSpPr>
        <p:spPr bwMode="auto">
          <a:xfrm>
            <a:off x="1305619" y="3180633"/>
            <a:ext cx="1897269" cy="942203"/>
          </a:xfrm>
          <a:custGeom>
            <a:avLst/>
            <a:gdLst>
              <a:gd name="T0" fmla="*/ 2147483647 w 464"/>
              <a:gd name="T1" fmla="*/ 2147483647 h 282"/>
              <a:gd name="T2" fmla="*/ 2147483647 w 464"/>
              <a:gd name="T3" fmla="*/ 0 h 282"/>
              <a:gd name="T4" fmla="*/ 2147483647 w 464"/>
              <a:gd name="T5" fmla="*/ 2147483647 h 282"/>
              <a:gd name="T6" fmla="*/ 2147483647 w 464"/>
              <a:gd name="T7" fmla="*/ 2147483647 h 282"/>
              <a:gd name="T8" fmla="*/ 2147483647 w 464"/>
              <a:gd name="T9" fmla="*/ 2147483647 h 282"/>
              <a:gd name="T10" fmla="*/ 0 w 464"/>
              <a:gd name="T11" fmla="*/ 2147483647 h 282"/>
              <a:gd name="T12" fmla="*/ 2147483647 w 464"/>
              <a:gd name="T13" fmla="*/ 2147483647 h 282"/>
              <a:gd name="T14" fmla="*/ 2147483647 w 464"/>
              <a:gd name="T15" fmla="*/ 2147483647 h 282"/>
              <a:gd name="T16" fmla="*/ 2147483647 w 464"/>
              <a:gd name="T17" fmla="*/ 2147483647 h 282"/>
              <a:gd name="T18" fmla="*/ 2147483647 w 464"/>
              <a:gd name="T19" fmla="*/ 2147483647 h 282"/>
              <a:gd name="T20" fmla="*/ 2147483647 w 464"/>
              <a:gd name="T21" fmla="*/ 2147483647 h 282"/>
              <a:gd name="T22" fmla="*/ 2147483647 w 464"/>
              <a:gd name="T23" fmla="*/ 2147483647 h 282"/>
              <a:gd name="T24" fmla="*/ 2147483647 w 464"/>
              <a:gd name="T25" fmla="*/ 2147483647 h 282"/>
              <a:gd name="T26" fmla="*/ 2147483647 w 464"/>
              <a:gd name="T27" fmla="*/ 2147483647 h 282"/>
              <a:gd name="T28" fmla="*/ 2147483647 w 464"/>
              <a:gd name="T29" fmla="*/ 2147483647 h 282"/>
              <a:gd name="T30" fmla="*/ 2147483647 w 464"/>
              <a:gd name="T31" fmla="*/ 2147483647 h 282"/>
              <a:gd name="T32" fmla="*/ 2147483647 w 464"/>
              <a:gd name="T33" fmla="*/ 2147483647 h 282"/>
              <a:gd name="T34" fmla="*/ 2147483647 w 464"/>
              <a:gd name="T35" fmla="*/ 2147483647 h 282"/>
              <a:gd name="T36" fmla="*/ 2147483647 w 464"/>
              <a:gd name="T37" fmla="*/ 2147483647 h 282"/>
              <a:gd name="T38" fmla="*/ 2147483647 w 464"/>
              <a:gd name="T39" fmla="*/ 2147483647 h 282"/>
              <a:gd name="T40" fmla="*/ 2147483647 w 464"/>
              <a:gd name="T41" fmla="*/ 2147483647 h 282"/>
              <a:gd name="T42" fmla="*/ 2147483647 w 464"/>
              <a:gd name="T43" fmla="*/ 2147483647 h 282"/>
              <a:gd name="T44" fmla="*/ 2147483647 w 464"/>
              <a:gd name="T45" fmla="*/ 2147483647 h 282"/>
              <a:gd name="T46" fmla="*/ 2147483647 w 464"/>
              <a:gd name="T47" fmla="*/ 2147483647 h 282"/>
              <a:gd name="T48" fmla="*/ 2147483647 w 464"/>
              <a:gd name="T49" fmla="*/ 2147483647 h 282"/>
              <a:gd name="T50" fmla="*/ 2147483647 w 464"/>
              <a:gd name="T51" fmla="*/ 2147483647 h 282"/>
              <a:gd name="T52" fmla="*/ 2147483647 w 464"/>
              <a:gd name="T53" fmla="*/ 2147483647 h 282"/>
              <a:gd name="T54" fmla="*/ 2147483647 w 464"/>
              <a:gd name="T55" fmla="*/ 2147483647 h 282"/>
              <a:gd name="T56" fmla="*/ 2147483647 w 464"/>
              <a:gd name="T57" fmla="*/ 2147483647 h 282"/>
              <a:gd name="T58" fmla="*/ 2147483647 w 464"/>
              <a:gd name="T59" fmla="*/ 2147483647 h 282"/>
              <a:gd name="T60" fmla="*/ 2147483647 w 464"/>
              <a:gd name="T61" fmla="*/ 2147483647 h 282"/>
              <a:gd name="T62" fmla="*/ 2147483647 w 464"/>
              <a:gd name="T63" fmla="*/ 2147483647 h 282"/>
              <a:gd name="T64" fmla="*/ 2147483647 w 464"/>
              <a:gd name="T65" fmla="*/ 2147483647 h 282"/>
              <a:gd name="T66" fmla="*/ 2147483647 w 464"/>
              <a:gd name="T67" fmla="*/ 2147483647 h 282"/>
              <a:gd name="T68" fmla="*/ 2147483647 w 464"/>
              <a:gd name="T69" fmla="*/ 2147483647 h 282"/>
              <a:gd name="T70" fmla="*/ 2147483647 w 464"/>
              <a:gd name="T71" fmla="*/ 2147483647 h 282"/>
              <a:gd name="T72" fmla="*/ 2147483647 w 464"/>
              <a:gd name="T73" fmla="*/ 2147483647 h 282"/>
              <a:gd name="T74" fmla="*/ 2147483647 w 464"/>
              <a:gd name="T75" fmla="*/ 2147483647 h 282"/>
              <a:gd name="T76" fmla="*/ 2147483647 w 464"/>
              <a:gd name="T77" fmla="*/ 2147483647 h 282"/>
              <a:gd name="T78" fmla="*/ 2147483647 w 464"/>
              <a:gd name="T79" fmla="*/ 2147483647 h 282"/>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464" h="282">
                <a:moveTo>
                  <a:pt x="456" y="52"/>
                </a:moveTo>
                <a:cubicBezTo>
                  <a:pt x="461" y="52"/>
                  <a:pt x="464" y="49"/>
                  <a:pt x="464" y="44"/>
                </a:cubicBezTo>
                <a:cubicBezTo>
                  <a:pt x="464" y="17"/>
                  <a:pt x="464" y="17"/>
                  <a:pt x="464" y="17"/>
                </a:cubicBezTo>
                <a:cubicBezTo>
                  <a:pt x="464" y="8"/>
                  <a:pt x="456" y="0"/>
                  <a:pt x="447" y="0"/>
                </a:cubicBezTo>
                <a:cubicBezTo>
                  <a:pt x="196" y="0"/>
                  <a:pt x="196" y="0"/>
                  <a:pt x="196" y="0"/>
                </a:cubicBezTo>
                <a:cubicBezTo>
                  <a:pt x="187" y="0"/>
                  <a:pt x="179" y="8"/>
                  <a:pt x="179" y="17"/>
                </a:cubicBezTo>
                <a:cubicBezTo>
                  <a:pt x="179" y="71"/>
                  <a:pt x="179" y="71"/>
                  <a:pt x="179" y="71"/>
                </a:cubicBezTo>
                <a:cubicBezTo>
                  <a:pt x="156" y="71"/>
                  <a:pt x="156" y="71"/>
                  <a:pt x="156" y="71"/>
                </a:cubicBezTo>
                <a:cubicBezTo>
                  <a:pt x="156" y="63"/>
                  <a:pt x="156" y="63"/>
                  <a:pt x="156" y="63"/>
                </a:cubicBezTo>
                <a:cubicBezTo>
                  <a:pt x="156" y="53"/>
                  <a:pt x="148" y="45"/>
                  <a:pt x="138" y="45"/>
                </a:cubicBezTo>
                <a:cubicBezTo>
                  <a:pt x="59" y="45"/>
                  <a:pt x="59" y="45"/>
                  <a:pt x="59" y="45"/>
                </a:cubicBezTo>
                <a:cubicBezTo>
                  <a:pt x="24" y="45"/>
                  <a:pt x="0" y="101"/>
                  <a:pt x="0" y="153"/>
                </a:cubicBezTo>
                <a:cubicBezTo>
                  <a:pt x="0" y="240"/>
                  <a:pt x="0" y="240"/>
                  <a:pt x="0" y="240"/>
                </a:cubicBezTo>
                <a:cubicBezTo>
                  <a:pt x="0" y="242"/>
                  <a:pt x="1" y="244"/>
                  <a:pt x="2" y="246"/>
                </a:cubicBezTo>
                <a:cubicBezTo>
                  <a:pt x="4" y="247"/>
                  <a:pt x="6" y="248"/>
                  <a:pt x="8" y="248"/>
                </a:cubicBezTo>
                <a:cubicBezTo>
                  <a:pt x="40" y="248"/>
                  <a:pt x="40" y="248"/>
                  <a:pt x="40" y="248"/>
                </a:cubicBezTo>
                <a:cubicBezTo>
                  <a:pt x="44" y="267"/>
                  <a:pt x="61" y="282"/>
                  <a:pt x="81" y="282"/>
                </a:cubicBezTo>
                <a:cubicBezTo>
                  <a:pt x="101" y="282"/>
                  <a:pt x="118" y="267"/>
                  <a:pt x="122" y="248"/>
                </a:cubicBezTo>
                <a:cubicBezTo>
                  <a:pt x="148" y="248"/>
                  <a:pt x="148" y="248"/>
                  <a:pt x="148" y="248"/>
                </a:cubicBezTo>
                <a:cubicBezTo>
                  <a:pt x="152" y="248"/>
                  <a:pt x="155" y="245"/>
                  <a:pt x="156" y="241"/>
                </a:cubicBezTo>
                <a:cubicBezTo>
                  <a:pt x="319" y="241"/>
                  <a:pt x="319" y="241"/>
                  <a:pt x="319" y="241"/>
                </a:cubicBezTo>
                <a:cubicBezTo>
                  <a:pt x="319" y="263"/>
                  <a:pt x="338" y="282"/>
                  <a:pt x="360" y="282"/>
                </a:cubicBezTo>
                <a:cubicBezTo>
                  <a:pt x="383" y="282"/>
                  <a:pt x="402" y="263"/>
                  <a:pt x="402" y="241"/>
                </a:cubicBezTo>
                <a:cubicBezTo>
                  <a:pt x="447" y="241"/>
                  <a:pt x="447" y="241"/>
                  <a:pt x="447" y="241"/>
                </a:cubicBezTo>
                <a:cubicBezTo>
                  <a:pt x="456" y="241"/>
                  <a:pt x="464" y="233"/>
                  <a:pt x="464" y="223"/>
                </a:cubicBezTo>
                <a:cubicBezTo>
                  <a:pt x="464" y="76"/>
                  <a:pt x="464" y="76"/>
                  <a:pt x="464" y="76"/>
                </a:cubicBezTo>
                <a:cubicBezTo>
                  <a:pt x="464" y="71"/>
                  <a:pt x="461" y="68"/>
                  <a:pt x="456" y="68"/>
                </a:cubicBezTo>
                <a:cubicBezTo>
                  <a:pt x="452" y="68"/>
                  <a:pt x="448" y="71"/>
                  <a:pt x="448" y="76"/>
                </a:cubicBezTo>
                <a:cubicBezTo>
                  <a:pt x="448" y="168"/>
                  <a:pt x="448" y="168"/>
                  <a:pt x="448" y="168"/>
                </a:cubicBezTo>
                <a:cubicBezTo>
                  <a:pt x="195" y="168"/>
                  <a:pt x="195" y="168"/>
                  <a:pt x="195" y="168"/>
                </a:cubicBezTo>
                <a:cubicBezTo>
                  <a:pt x="195" y="17"/>
                  <a:pt x="195" y="17"/>
                  <a:pt x="195" y="17"/>
                </a:cubicBezTo>
                <a:cubicBezTo>
                  <a:pt x="195" y="17"/>
                  <a:pt x="195" y="16"/>
                  <a:pt x="196" y="16"/>
                </a:cubicBezTo>
                <a:cubicBezTo>
                  <a:pt x="447" y="16"/>
                  <a:pt x="447" y="16"/>
                  <a:pt x="447" y="16"/>
                </a:cubicBezTo>
                <a:cubicBezTo>
                  <a:pt x="448" y="16"/>
                  <a:pt x="448" y="17"/>
                  <a:pt x="448" y="17"/>
                </a:cubicBezTo>
                <a:cubicBezTo>
                  <a:pt x="448" y="44"/>
                  <a:pt x="448" y="44"/>
                  <a:pt x="448" y="44"/>
                </a:cubicBezTo>
                <a:cubicBezTo>
                  <a:pt x="448" y="49"/>
                  <a:pt x="452" y="52"/>
                  <a:pt x="456" y="52"/>
                </a:cubicBezTo>
                <a:close/>
                <a:moveTo>
                  <a:pt x="27" y="95"/>
                </a:moveTo>
                <a:cubicBezTo>
                  <a:pt x="27" y="95"/>
                  <a:pt x="28" y="95"/>
                  <a:pt x="28" y="95"/>
                </a:cubicBezTo>
                <a:cubicBezTo>
                  <a:pt x="86" y="95"/>
                  <a:pt x="86" y="95"/>
                  <a:pt x="86" y="95"/>
                </a:cubicBezTo>
                <a:cubicBezTo>
                  <a:pt x="86" y="145"/>
                  <a:pt x="86" y="145"/>
                  <a:pt x="86" y="145"/>
                </a:cubicBezTo>
                <a:cubicBezTo>
                  <a:pt x="16" y="145"/>
                  <a:pt x="16" y="145"/>
                  <a:pt x="16" y="145"/>
                </a:cubicBezTo>
                <a:cubicBezTo>
                  <a:pt x="17" y="127"/>
                  <a:pt x="21" y="109"/>
                  <a:pt x="27" y="95"/>
                </a:cubicBezTo>
                <a:close/>
                <a:moveTo>
                  <a:pt x="81" y="266"/>
                </a:moveTo>
                <a:cubicBezTo>
                  <a:pt x="67" y="266"/>
                  <a:pt x="55" y="254"/>
                  <a:pt x="55" y="240"/>
                </a:cubicBezTo>
                <a:cubicBezTo>
                  <a:pt x="55" y="226"/>
                  <a:pt x="67" y="214"/>
                  <a:pt x="81" y="214"/>
                </a:cubicBezTo>
                <a:cubicBezTo>
                  <a:pt x="95" y="214"/>
                  <a:pt x="107" y="226"/>
                  <a:pt x="107" y="240"/>
                </a:cubicBezTo>
                <a:cubicBezTo>
                  <a:pt x="107" y="254"/>
                  <a:pt x="95" y="266"/>
                  <a:pt x="81" y="266"/>
                </a:cubicBezTo>
                <a:close/>
                <a:moveTo>
                  <a:pt x="140" y="232"/>
                </a:moveTo>
                <a:cubicBezTo>
                  <a:pt x="122" y="232"/>
                  <a:pt x="122" y="232"/>
                  <a:pt x="122" y="232"/>
                </a:cubicBezTo>
                <a:cubicBezTo>
                  <a:pt x="118" y="213"/>
                  <a:pt x="101" y="198"/>
                  <a:pt x="81" y="198"/>
                </a:cubicBezTo>
                <a:cubicBezTo>
                  <a:pt x="61" y="198"/>
                  <a:pt x="44" y="213"/>
                  <a:pt x="40" y="232"/>
                </a:cubicBezTo>
                <a:cubicBezTo>
                  <a:pt x="16" y="232"/>
                  <a:pt x="16" y="232"/>
                  <a:pt x="16" y="232"/>
                </a:cubicBezTo>
                <a:cubicBezTo>
                  <a:pt x="16" y="161"/>
                  <a:pt x="16" y="161"/>
                  <a:pt x="16" y="161"/>
                </a:cubicBezTo>
                <a:cubicBezTo>
                  <a:pt x="94" y="161"/>
                  <a:pt x="94" y="161"/>
                  <a:pt x="94" y="161"/>
                </a:cubicBezTo>
                <a:cubicBezTo>
                  <a:pt x="99" y="161"/>
                  <a:pt x="102" y="157"/>
                  <a:pt x="102" y="153"/>
                </a:cubicBezTo>
                <a:cubicBezTo>
                  <a:pt x="102" y="87"/>
                  <a:pt x="102" y="87"/>
                  <a:pt x="102" y="87"/>
                </a:cubicBezTo>
                <a:cubicBezTo>
                  <a:pt x="102" y="83"/>
                  <a:pt x="99" y="79"/>
                  <a:pt x="94" y="79"/>
                </a:cubicBezTo>
                <a:cubicBezTo>
                  <a:pt x="35" y="79"/>
                  <a:pt x="35" y="79"/>
                  <a:pt x="35" y="79"/>
                </a:cubicBezTo>
                <a:cubicBezTo>
                  <a:pt x="42" y="68"/>
                  <a:pt x="50" y="61"/>
                  <a:pt x="59" y="61"/>
                </a:cubicBezTo>
                <a:cubicBezTo>
                  <a:pt x="138" y="61"/>
                  <a:pt x="138" y="61"/>
                  <a:pt x="138" y="61"/>
                </a:cubicBezTo>
                <a:cubicBezTo>
                  <a:pt x="139" y="61"/>
                  <a:pt x="140" y="62"/>
                  <a:pt x="140" y="63"/>
                </a:cubicBezTo>
                <a:lnTo>
                  <a:pt x="140" y="232"/>
                </a:lnTo>
                <a:close/>
                <a:moveTo>
                  <a:pt x="179" y="225"/>
                </a:moveTo>
                <a:cubicBezTo>
                  <a:pt x="156" y="225"/>
                  <a:pt x="156" y="225"/>
                  <a:pt x="156" y="225"/>
                </a:cubicBezTo>
                <a:cubicBezTo>
                  <a:pt x="156" y="87"/>
                  <a:pt x="156" y="87"/>
                  <a:pt x="156" y="87"/>
                </a:cubicBezTo>
                <a:cubicBezTo>
                  <a:pt x="179" y="87"/>
                  <a:pt x="179" y="87"/>
                  <a:pt x="179" y="87"/>
                </a:cubicBezTo>
                <a:lnTo>
                  <a:pt x="179" y="225"/>
                </a:lnTo>
                <a:close/>
                <a:moveTo>
                  <a:pt x="360" y="266"/>
                </a:moveTo>
                <a:cubicBezTo>
                  <a:pt x="346" y="266"/>
                  <a:pt x="335" y="254"/>
                  <a:pt x="335" y="240"/>
                </a:cubicBezTo>
                <a:cubicBezTo>
                  <a:pt x="335" y="226"/>
                  <a:pt x="346" y="214"/>
                  <a:pt x="360" y="214"/>
                </a:cubicBezTo>
                <a:cubicBezTo>
                  <a:pt x="375" y="214"/>
                  <a:pt x="386" y="226"/>
                  <a:pt x="386" y="240"/>
                </a:cubicBezTo>
                <a:cubicBezTo>
                  <a:pt x="386" y="254"/>
                  <a:pt x="375" y="266"/>
                  <a:pt x="360" y="266"/>
                </a:cubicBezTo>
                <a:close/>
                <a:moveTo>
                  <a:pt x="448" y="184"/>
                </a:moveTo>
                <a:cubicBezTo>
                  <a:pt x="448" y="223"/>
                  <a:pt x="448" y="223"/>
                  <a:pt x="448" y="223"/>
                </a:cubicBezTo>
                <a:cubicBezTo>
                  <a:pt x="448" y="224"/>
                  <a:pt x="448" y="225"/>
                  <a:pt x="447" y="225"/>
                </a:cubicBezTo>
                <a:cubicBezTo>
                  <a:pt x="399" y="225"/>
                  <a:pt x="399" y="225"/>
                  <a:pt x="399" y="225"/>
                </a:cubicBezTo>
                <a:cubicBezTo>
                  <a:pt x="393" y="209"/>
                  <a:pt x="378" y="198"/>
                  <a:pt x="360" y="198"/>
                </a:cubicBezTo>
                <a:cubicBezTo>
                  <a:pt x="343" y="198"/>
                  <a:pt x="327" y="209"/>
                  <a:pt x="321" y="225"/>
                </a:cubicBezTo>
                <a:cubicBezTo>
                  <a:pt x="195" y="225"/>
                  <a:pt x="195" y="225"/>
                  <a:pt x="195" y="225"/>
                </a:cubicBezTo>
                <a:cubicBezTo>
                  <a:pt x="195" y="184"/>
                  <a:pt x="195" y="184"/>
                  <a:pt x="195" y="184"/>
                </a:cubicBezTo>
                <a:lnTo>
                  <a:pt x="448" y="184"/>
                </a:lnTo>
                <a:close/>
              </a:path>
            </a:pathLst>
          </a:custGeom>
          <a:solidFill>
            <a:srgbClr val="FFFFFF"/>
          </a:solidFill>
          <a:ln>
            <a:noFill/>
          </a:ln>
        </p:spPr>
        <p:txBody>
          <a:bodyPr/>
          <a:lstStyle/>
          <a:p>
            <a:pPr algn="ctr"/>
            <a:endParaRPr lang="sv-SE" b="1" dirty="0"/>
          </a:p>
        </p:txBody>
      </p:sp>
      <p:cxnSp>
        <p:nvCxnSpPr>
          <p:cNvPr id="485" name="Rak 484"/>
          <p:cNvCxnSpPr>
            <a:cxnSpLocks/>
          </p:cNvCxnSpPr>
          <p:nvPr/>
        </p:nvCxnSpPr>
        <p:spPr bwMode="auto">
          <a:xfrm>
            <a:off x="7552096" y="3249232"/>
            <a:ext cx="13053" cy="877699"/>
          </a:xfrm>
          <a:prstGeom prst="line">
            <a:avLst/>
          </a:prstGeom>
          <a:solidFill>
            <a:schemeClr val="accent1"/>
          </a:solidFill>
          <a:ln w="6350" cap="flat" cmpd="sng" algn="ctr">
            <a:solidFill>
              <a:schemeClr val="bg1">
                <a:alpha val="50000"/>
              </a:schemeClr>
            </a:solidFill>
            <a:prstDash val="solid"/>
            <a:round/>
            <a:headEnd type="none" w="med" len="med"/>
            <a:tailEnd type="none" w="med" len="med"/>
          </a:ln>
          <a:effectLst/>
        </p:spPr>
      </p:cxnSp>
      <p:cxnSp>
        <p:nvCxnSpPr>
          <p:cNvPr id="486" name="Rak 485"/>
          <p:cNvCxnSpPr/>
          <p:nvPr/>
        </p:nvCxnSpPr>
        <p:spPr bwMode="auto">
          <a:xfrm>
            <a:off x="6555456" y="2174928"/>
            <a:ext cx="0" cy="787400"/>
          </a:xfrm>
          <a:prstGeom prst="line">
            <a:avLst/>
          </a:prstGeom>
          <a:solidFill>
            <a:schemeClr val="accent1"/>
          </a:solidFill>
          <a:ln w="6350" cap="flat" cmpd="sng" algn="ctr">
            <a:solidFill>
              <a:schemeClr val="bg1">
                <a:alpha val="50000"/>
              </a:schemeClr>
            </a:solidFill>
            <a:prstDash val="solid"/>
            <a:round/>
            <a:headEnd type="none" w="med" len="med"/>
            <a:tailEnd type="none" w="med" len="med"/>
          </a:ln>
          <a:effectLst/>
        </p:spPr>
      </p:cxnSp>
      <p:cxnSp>
        <p:nvCxnSpPr>
          <p:cNvPr id="487" name="Rak 486"/>
          <p:cNvCxnSpPr>
            <a:cxnSpLocks/>
          </p:cNvCxnSpPr>
          <p:nvPr/>
        </p:nvCxnSpPr>
        <p:spPr bwMode="auto">
          <a:xfrm>
            <a:off x="5192463" y="5478500"/>
            <a:ext cx="0" cy="1241756"/>
          </a:xfrm>
          <a:prstGeom prst="line">
            <a:avLst/>
          </a:prstGeom>
          <a:solidFill>
            <a:schemeClr val="accent1"/>
          </a:solidFill>
          <a:ln w="6350" cap="flat" cmpd="sng" algn="ctr">
            <a:solidFill>
              <a:schemeClr val="bg1">
                <a:alpha val="50000"/>
              </a:schemeClr>
            </a:solidFill>
            <a:prstDash val="solid"/>
            <a:round/>
            <a:headEnd type="none" w="med" len="med"/>
            <a:tailEnd type="none" w="med" len="med"/>
          </a:ln>
          <a:effectLst/>
        </p:spPr>
      </p:cxnSp>
      <p:sp>
        <p:nvSpPr>
          <p:cNvPr id="161" name="Freeform 7"/>
          <p:cNvSpPr>
            <a:spLocks noChangeAspect="1" noEditPoints="1"/>
          </p:cNvSpPr>
          <p:nvPr/>
        </p:nvSpPr>
        <p:spPr bwMode="auto">
          <a:xfrm>
            <a:off x="6937248" y="4545555"/>
            <a:ext cx="578242" cy="622311"/>
          </a:xfrm>
          <a:custGeom>
            <a:avLst/>
            <a:gdLst>
              <a:gd name="T0" fmla="*/ 2147483647 w 367"/>
              <a:gd name="T1" fmla="*/ 2147483647 h 395"/>
              <a:gd name="T2" fmla="*/ 2147483647 w 367"/>
              <a:gd name="T3" fmla="*/ 2147483647 h 395"/>
              <a:gd name="T4" fmla="*/ 2147483647 w 367"/>
              <a:gd name="T5" fmla="*/ 2147483647 h 395"/>
              <a:gd name="T6" fmla="*/ 2147483647 w 367"/>
              <a:gd name="T7" fmla="*/ 2147483647 h 395"/>
              <a:gd name="T8" fmla="*/ 2147483647 w 367"/>
              <a:gd name="T9" fmla="*/ 2147483647 h 395"/>
              <a:gd name="T10" fmla="*/ 2147483647 w 367"/>
              <a:gd name="T11" fmla="*/ 2147483647 h 395"/>
              <a:gd name="T12" fmla="*/ 2147483647 w 367"/>
              <a:gd name="T13" fmla="*/ 2147483647 h 395"/>
              <a:gd name="T14" fmla="*/ 2147483647 w 367"/>
              <a:gd name="T15" fmla="*/ 2147483647 h 395"/>
              <a:gd name="T16" fmla="*/ 2147483647 w 367"/>
              <a:gd name="T17" fmla="*/ 2147483647 h 395"/>
              <a:gd name="T18" fmla="*/ 2147483647 w 367"/>
              <a:gd name="T19" fmla="*/ 2147483647 h 395"/>
              <a:gd name="T20" fmla="*/ 2147483647 w 367"/>
              <a:gd name="T21" fmla="*/ 2147483647 h 395"/>
              <a:gd name="T22" fmla="*/ 2147483647 w 367"/>
              <a:gd name="T23" fmla="*/ 2147483647 h 395"/>
              <a:gd name="T24" fmla="*/ 2147483647 w 367"/>
              <a:gd name="T25" fmla="*/ 2147483647 h 395"/>
              <a:gd name="T26" fmla="*/ 2147483647 w 367"/>
              <a:gd name="T27" fmla="*/ 2147483647 h 395"/>
              <a:gd name="T28" fmla="*/ 2147483647 w 367"/>
              <a:gd name="T29" fmla="*/ 2147483647 h 395"/>
              <a:gd name="T30" fmla="*/ 2147483647 w 367"/>
              <a:gd name="T31" fmla="*/ 2147483647 h 395"/>
              <a:gd name="T32" fmla="*/ 2147483647 w 367"/>
              <a:gd name="T33" fmla="*/ 2147483647 h 395"/>
              <a:gd name="T34" fmla="*/ 2147483647 w 367"/>
              <a:gd name="T35" fmla="*/ 2147483647 h 395"/>
              <a:gd name="T36" fmla="*/ 2147483647 w 367"/>
              <a:gd name="T37" fmla="*/ 2147483647 h 395"/>
              <a:gd name="T38" fmla="*/ 2147483647 w 367"/>
              <a:gd name="T39" fmla="*/ 2147483647 h 395"/>
              <a:gd name="T40" fmla="*/ 2147483647 w 367"/>
              <a:gd name="T41" fmla="*/ 2147483647 h 395"/>
              <a:gd name="T42" fmla="*/ 2147483647 w 367"/>
              <a:gd name="T43" fmla="*/ 2147483647 h 395"/>
              <a:gd name="T44" fmla="*/ 2147483647 w 367"/>
              <a:gd name="T45" fmla="*/ 2147483647 h 395"/>
              <a:gd name="T46" fmla="*/ 2147483647 w 367"/>
              <a:gd name="T47" fmla="*/ 2147483647 h 395"/>
              <a:gd name="T48" fmla="*/ 2147483647 w 367"/>
              <a:gd name="T49" fmla="*/ 2147483647 h 395"/>
              <a:gd name="T50" fmla="*/ 2147483647 w 367"/>
              <a:gd name="T51" fmla="*/ 2147483647 h 395"/>
              <a:gd name="T52" fmla="*/ 2147483647 w 367"/>
              <a:gd name="T53" fmla="*/ 2147483647 h 395"/>
              <a:gd name="T54" fmla="*/ 2147483647 w 367"/>
              <a:gd name="T55" fmla="*/ 2147483647 h 395"/>
              <a:gd name="T56" fmla="*/ 2147483647 w 367"/>
              <a:gd name="T57" fmla="*/ 2147483647 h 395"/>
              <a:gd name="T58" fmla="*/ 2147483647 w 367"/>
              <a:gd name="T59" fmla="*/ 2147483647 h 395"/>
              <a:gd name="T60" fmla="*/ 2147483647 w 367"/>
              <a:gd name="T61" fmla="*/ 2147483647 h 395"/>
              <a:gd name="T62" fmla="*/ 2147483647 w 367"/>
              <a:gd name="T63" fmla="*/ 2147483647 h 395"/>
              <a:gd name="T64" fmla="*/ 2147483647 w 367"/>
              <a:gd name="T65" fmla="*/ 2147483647 h 395"/>
              <a:gd name="T66" fmla="*/ 2147483647 w 367"/>
              <a:gd name="T67" fmla="*/ 2147483647 h 395"/>
              <a:gd name="T68" fmla="*/ 2147483647 w 367"/>
              <a:gd name="T69" fmla="*/ 2147483647 h 395"/>
              <a:gd name="T70" fmla="*/ 2147483647 w 367"/>
              <a:gd name="T71" fmla="*/ 2147483647 h 395"/>
              <a:gd name="T72" fmla="*/ 2147483647 w 367"/>
              <a:gd name="T73" fmla="*/ 2147483647 h 395"/>
              <a:gd name="T74" fmla="*/ 2147483647 w 367"/>
              <a:gd name="T75" fmla="*/ 2147483647 h 395"/>
              <a:gd name="T76" fmla="*/ 2147483647 w 367"/>
              <a:gd name="T77" fmla="*/ 2147483647 h 395"/>
              <a:gd name="T78" fmla="*/ 2147483647 w 367"/>
              <a:gd name="T79" fmla="*/ 2147483647 h 395"/>
              <a:gd name="T80" fmla="*/ 2147483647 w 367"/>
              <a:gd name="T81" fmla="*/ 2147483647 h 395"/>
              <a:gd name="T82" fmla="*/ 2147483647 w 367"/>
              <a:gd name="T83" fmla="*/ 2147483647 h 395"/>
              <a:gd name="T84" fmla="*/ 2147483647 w 367"/>
              <a:gd name="T85" fmla="*/ 2147483647 h 395"/>
              <a:gd name="T86" fmla="*/ 2147483647 w 367"/>
              <a:gd name="T87" fmla="*/ 2147483647 h 395"/>
              <a:gd name="T88" fmla="*/ 2147483647 w 367"/>
              <a:gd name="T89" fmla="*/ 2147483647 h 395"/>
              <a:gd name="T90" fmla="*/ 2147483647 w 367"/>
              <a:gd name="T91" fmla="*/ 2147483647 h 395"/>
              <a:gd name="T92" fmla="*/ 2147483647 w 367"/>
              <a:gd name="T93" fmla="*/ 2147483647 h 395"/>
              <a:gd name="T94" fmla="*/ 2147483647 w 367"/>
              <a:gd name="T95" fmla="*/ 2147483647 h 395"/>
              <a:gd name="T96" fmla="*/ 2147483647 w 367"/>
              <a:gd name="T97" fmla="*/ 2147483647 h 395"/>
              <a:gd name="T98" fmla="*/ 2147483647 w 367"/>
              <a:gd name="T99" fmla="*/ 2147483647 h 395"/>
              <a:gd name="T100" fmla="*/ 2147483647 w 367"/>
              <a:gd name="T101" fmla="*/ 2147483647 h 395"/>
              <a:gd name="T102" fmla="*/ 2147483647 w 367"/>
              <a:gd name="T103" fmla="*/ 2147483647 h 395"/>
              <a:gd name="T104" fmla="*/ 2147483647 w 367"/>
              <a:gd name="T105" fmla="*/ 2147483647 h 395"/>
              <a:gd name="T106" fmla="*/ 2147483647 w 367"/>
              <a:gd name="T107" fmla="*/ 2147483647 h 395"/>
              <a:gd name="T108" fmla="*/ 2147483647 w 367"/>
              <a:gd name="T109" fmla="*/ 2147483647 h 39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367" h="395">
                <a:moveTo>
                  <a:pt x="366" y="81"/>
                </a:moveTo>
                <a:cubicBezTo>
                  <a:pt x="366" y="89"/>
                  <a:pt x="366" y="97"/>
                  <a:pt x="365" y="104"/>
                </a:cubicBezTo>
                <a:cubicBezTo>
                  <a:pt x="365" y="109"/>
                  <a:pt x="361" y="112"/>
                  <a:pt x="356" y="112"/>
                </a:cubicBezTo>
                <a:cubicBezTo>
                  <a:pt x="352" y="112"/>
                  <a:pt x="349" y="108"/>
                  <a:pt x="349" y="103"/>
                </a:cubicBezTo>
                <a:cubicBezTo>
                  <a:pt x="350" y="96"/>
                  <a:pt x="350" y="88"/>
                  <a:pt x="350" y="80"/>
                </a:cubicBezTo>
                <a:cubicBezTo>
                  <a:pt x="350" y="73"/>
                  <a:pt x="341" y="72"/>
                  <a:pt x="339" y="72"/>
                </a:cubicBezTo>
                <a:cubicBezTo>
                  <a:pt x="312" y="70"/>
                  <a:pt x="257" y="60"/>
                  <a:pt x="189" y="20"/>
                </a:cubicBezTo>
                <a:cubicBezTo>
                  <a:pt x="183" y="17"/>
                  <a:pt x="178" y="21"/>
                  <a:pt x="178" y="22"/>
                </a:cubicBezTo>
                <a:cubicBezTo>
                  <a:pt x="156" y="37"/>
                  <a:pt x="99" y="73"/>
                  <a:pt x="26" y="74"/>
                </a:cubicBezTo>
                <a:cubicBezTo>
                  <a:pt x="23" y="74"/>
                  <a:pt x="20" y="74"/>
                  <a:pt x="19" y="76"/>
                </a:cubicBezTo>
                <a:cubicBezTo>
                  <a:pt x="17" y="77"/>
                  <a:pt x="17" y="79"/>
                  <a:pt x="17" y="79"/>
                </a:cubicBezTo>
                <a:cubicBezTo>
                  <a:pt x="17" y="79"/>
                  <a:pt x="17" y="79"/>
                  <a:pt x="17" y="79"/>
                </a:cubicBezTo>
                <a:cubicBezTo>
                  <a:pt x="16" y="129"/>
                  <a:pt x="25" y="298"/>
                  <a:pt x="176" y="376"/>
                </a:cubicBezTo>
                <a:cubicBezTo>
                  <a:pt x="177" y="376"/>
                  <a:pt x="177" y="376"/>
                  <a:pt x="177" y="377"/>
                </a:cubicBezTo>
                <a:cubicBezTo>
                  <a:pt x="178" y="377"/>
                  <a:pt x="186" y="382"/>
                  <a:pt x="194" y="377"/>
                </a:cubicBezTo>
                <a:cubicBezTo>
                  <a:pt x="277" y="331"/>
                  <a:pt x="331" y="245"/>
                  <a:pt x="346" y="136"/>
                </a:cubicBezTo>
                <a:cubicBezTo>
                  <a:pt x="346" y="131"/>
                  <a:pt x="350" y="128"/>
                  <a:pt x="355" y="129"/>
                </a:cubicBezTo>
                <a:cubicBezTo>
                  <a:pt x="359" y="129"/>
                  <a:pt x="362" y="133"/>
                  <a:pt x="362" y="138"/>
                </a:cubicBezTo>
                <a:cubicBezTo>
                  <a:pt x="346" y="253"/>
                  <a:pt x="289" y="343"/>
                  <a:pt x="202" y="391"/>
                </a:cubicBezTo>
                <a:cubicBezTo>
                  <a:pt x="197" y="394"/>
                  <a:pt x="191" y="395"/>
                  <a:pt x="187" y="395"/>
                </a:cubicBezTo>
                <a:cubicBezTo>
                  <a:pt x="178" y="395"/>
                  <a:pt x="171" y="391"/>
                  <a:pt x="169" y="390"/>
                </a:cubicBezTo>
                <a:cubicBezTo>
                  <a:pt x="10" y="307"/>
                  <a:pt x="0" y="132"/>
                  <a:pt x="1" y="79"/>
                </a:cubicBezTo>
                <a:cubicBezTo>
                  <a:pt x="1" y="77"/>
                  <a:pt x="2" y="70"/>
                  <a:pt x="7" y="65"/>
                </a:cubicBezTo>
                <a:cubicBezTo>
                  <a:pt x="10" y="61"/>
                  <a:pt x="16" y="58"/>
                  <a:pt x="25" y="58"/>
                </a:cubicBezTo>
                <a:cubicBezTo>
                  <a:pt x="95" y="57"/>
                  <a:pt x="148" y="23"/>
                  <a:pt x="168" y="9"/>
                </a:cubicBezTo>
                <a:cubicBezTo>
                  <a:pt x="173" y="5"/>
                  <a:pt x="185" y="0"/>
                  <a:pt x="197" y="7"/>
                </a:cubicBezTo>
                <a:cubicBezTo>
                  <a:pt x="262" y="44"/>
                  <a:pt x="315" y="54"/>
                  <a:pt x="341" y="56"/>
                </a:cubicBezTo>
                <a:cubicBezTo>
                  <a:pt x="350" y="57"/>
                  <a:pt x="367" y="63"/>
                  <a:pt x="366" y="81"/>
                </a:cubicBezTo>
                <a:close/>
                <a:moveTo>
                  <a:pt x="300" y="92"/>
                </a:moveTo>
                <a:cubicBezTo>
                  <a:pt x="310" y="93"/>
                  <a:pt x="320" y="99"/>
                  <a:pt x="320" y="112"/>
                </a:cubicBezTo>
                <a:cubicBezTo>
                  <a:pt x="317" y="255"/>
                  <a:pt x="242" y="318"/>
                  <a:pt x="198" y="342"/>
                </a:cubicBezTo>
                <a:cubicBezTo>
                  <a:pt x="194" y="345"/>
                  <a:pt x="190" y="346"/>
                  <a:pt x="186" y="346"/>
                </a:cubicBezTo>
                <a:cubicBezTo>
                  <a:pt x="179" y="346"/>
                  <a:pt x="173" y="343"/>
                  <a:pt x="172" y="342"/>
                </a:cubicBezTo>
                <a:cubicBezTo>
                  <a:pt x="54" y="280"/>
                  <a:pt x="47" y="150"/>
                  <a:pt x="47" y="111"/>
                </a:cubicBezTo>
                <a:cubicBezTo>
                  <a:pt x="47" y="109"/>
                  <a:pt x="48" y="103"/>
                  <a:pt x="52" y="99"/>
                </a:cubicBezTo>
                <a:cubicBezTo>
                  <a:pt x="54" y="96"/>
                  <a:pt x="59" y="93"/>
                  <a:pt x="67" y="93"/>
                </a:cubicBezTo>
                <a:cubicBezTo>
                  <a:pt x="117" y="93"/>
                  <a:pt x="156" y="68"/>
                  <a:pt x="171" y="57"/>
                </a:cubicBezTo>
                <a:cubicBezTo>
                  <a:pt x="172" y="57"/>
                  <a:pt x="177" y="53"/>
                  <a:pt x="184" y="53"/>
                </a:cubicBezTo>
                <a:cubicBezTo>
                  <a:pt x="188" y="53"/>
                  <a:pt x="191" y="54"/>
                  <a:pt x="194" y="56"/>
                </a:cubicBezTo>
                <a:cubicBezTo>
                  <a:pt x="242" y="83"/>
                  <a:pt x="281" y="90"/>
                  <a:pt x="300" y="92"/>
                </a:cubicBezTo>
                <a:close/>
                <a:moveTo>
                  <a:pt x="298" y="108"/>
                </a:moveTo>
                <a:cubicBezTo>
                  <a:pt x="278" y="106"/>
                  <a:pt x="237" y="99"/>
                  <a:pt x="186" y="69"/>
                </a:cubicBezTo>
                <a:cubicBezTo>
                  <a:pt x="184" y="68"/>
                  <a:pt x="181" y="70"/>
                  <a:pt x="180" y="70"/>
                </a:cubicBezTo>
                <a:cubicBezTo>
                  <a:pt x="165" y="82"/>
                  <a:pt x="122" y="109"/>
                  <a:pt x="67" y="109"/>
                </a:cubicBezTo>
                <a:cubicBezTo>
                  <a:pt x="65" y="109"/>
                  <a:pt x="64" y="109"/>
                  <a:pt x="64" y="110"/>
                </a:cubicBezTo>
                <a:cubicBezTo>
                  <a:pt x="63" y="110"/>
                  <a:pt x="63" y="110"/>
                  <a:pt x="63" y="110"/>
                </a:cubicBezTo>
                <a:cubicBezTo>
                  <a:pt x="63" y="111"/>
                  <a:pt x="63" y="111"/>
                  <a:pt x="63" y="111"/>
                </a:cubicBezTo>
                <a:cubicBezTo>
                  <a:pt x="63" y="147"/>
                  <a:pt x="69" y="270"/>
                  <a:pt x="179" y="328"/>
                </a:cubicBezTo>
                <a:cubicBezTo>
                  <a:pt x="180" y="328"/>
                  <a:pt x="180" y="328"/>
                  <a:pt x="180" y="328"/>
                </a:cubicBezTo>
                <a:cubicBezTo>
                  <a:pt x="180" y="328"/>
                  <a:pt x="183" y="330"/>
                  <a:pt x="186" y="330"/>
                </a:cubicBezTo>
                <a:cubicBezTo>
                  <a:pt x="187" y="330"/>
                  <a:pt x="189" y="329"/>
                  <a:pt x="190" y="328"/>
                </a:cubicBezTo>
                <a:cubicBezTo>
                  <a:pt x="231" y="306"/>
                  <a:pt x="301" y="247"/>
                  <a:pt x="304" y="112"/>
                </a:cubicBezTo>
                <a:cubicBezTo>
                  <a:pt x="304" y="108"/>
                  <a:pt x="298" y="108"/>
                  <a:pt x="298" y="108"/>
                </a:cubicBezTo>
                <a:close/>
                <a:moveTo>
                  <a:pt x="219" y="10"/>
                </a:moveTo>
                <a:cubicBezTo>
                  <a:pt x="219" y="10"/>
                  <a:pt x="219" y="10"/>
                  <a:pt x="219" y="10"/>
                </a:cubicBezTo>
              </a:path>
            </a:pathLst>
          </a:custGeom>
          <a:solidFill>
            <a:srgbClr val="FFFFFF"/>
          </a:solidFill>
          <a:ln>
            <a:noFill/>
          </a:ln>
        </p:spPr>
        <p:txBody>
          <a:bodyPr/>
          <a:lstStyle/>
          <a:p>
            <a:endParaRPr lang="en-US"/>
          </a:p>
        </p:txBody>
      </p:sp>
      <p:sp>
        <p:nvSpPr>
          <p:cNvPr id="163" name="Rektangel 101"/>
          <p:cNvSpPr/>
          <p:nvPr/>
        </p:nvSpPr>
        <p:spPr>
          <a:xfrm>
            <a:off x="6816112" y="5187381"/>
            <a:ext cx="1484702" cy="400110"/>
          </a:xfrm>
          <a:prstGeom prst="rect">
            <a:avLst/>
          </a:prstGeom>
        </p:spPr>
        <p:txBody>
          <a:bodyPr wrap="none">
            <a:spAutoFit/>
          </a:bodyPr>
          <a:lstStyle/>
          <a:p>
            <a:r>
              <a:rPr lang="sv-SE" b="1" dirty="0">
                <a:solidFill>
                  <a:schemeClr val="bg1"/>
                </a:solidFill>
                <a:latin typeface="+mn-lt"/>
                <a:ea typeface="Ericsson Capital" charset="0"/>
                <a:cs typeface="Ericsson Capital" charset="0"/>
              </a:rPr>
              <a:t>SECURITY</a:t>
            </a:r>
          </a:p>
        </p:txBody>
      </p:sp>
      <p:cxnSp>
        <p:nvCxnSpPr>
          <p:cNvPr id="164" name="Rak 484"/>
          <p:cNvCxnSpPr>
            <a:cxnSpLocks/>
          </p:cNvCxnSpPr>
          <p:nvPr/>
        </p:nvCxnSpPr>
        <p:spPr bwMode="auto">
          <a:xfrm flipH="1">
            <a:off x="6756580" y="4596007"/>
            <a:ext cx="14078" cy="818937"/>
          </a:xfrm>
          <a:prstGeom prst="line">
            <a:avLst/>
          </a:prstGeom>
          <a:solidFill>
            <a:schemeClr val="accent1"/>
          </a:solidFill>
          <a:ln w="6350" cap="flat" cmpd="sng" algn="ctr">
            <a:solidFill>
              <a:schemeClr val="bg1">
                <a:alpha val="50000"/>
              </a:schemeClr>
            </a:solidFill>
            <a:prstDash val="solid"/>
            <a:round/>
            <a:headEnd type="none" w="med" len="med"/>
            <a:tailEnd type="none" w="med" len="med"/>
          </a:ln>
          <a:effectLst/>
        </p:spPr>
      </p:cxnSp>
      <p:sp>
        <p:nvSpPr>
          <p:cNvPr id="170" name="Freeform 3"/>
          <p:cNvSpPr>
            <a:spLocks noChangeAspect="1" noEditPoints="1"/>
          </p:cNvSpPr>
          <p:nvPr/>
        </p:nvSpPr>
        <p:spPr bwMode="auto">
          <a:xfrm>
            <a:off x="5410310" y="5420092"/>
            <a:ext cx="788167" cy="634736"/>
          </a:xfrm>
          <a:custGeom>
            <a:avLst/>
            <a:gdLst>
              <a:gd name="T0" fmla="*/ 2147483647 w 524"/>
              <a:gd name="T1" fmla="*/ 2147483647 h 422"/>
              <a:gd name="T2" fmla="*/ 2147483647 w 524"/>
              <a:gd name="T3" fmla="*/ 2147483647 h 422"/>
              <a:gd name="T4" fmla="*/ 2147483647 w 524"/>
              <a:gd name="T5" fmla="*/ 2147483647 h 422"/>
              <a:gd name="T6" fmla="*/ 2147483647 w 524"/>
              <a:gd name="T7" fmla="*/ 2147483647 h 422"/>
              <a:gd name="T8" fmla="*/ 2147483647 w 524"/>
              <a:gd name="T9" fmla="*/ 2147483647 h 422"/>
              <a:gd name="T10" fmla="*/ 2147483647 w 524"/>
              <a:gd name="T11" fmla="*/ 2147483647 h 422"/>
              <a:gd name="T12" fmla="*/ 2147483647 w 524"/>
              <a:gd name="T13" fmla="*/ 2147483647 h 422"/>
              <a:gd name="T14" fmla="*/ 2147483647 w 524"/>
              <a:gd name="T15" fmla="*/ 2147483647 h 422"/>
              <a:gd name="T16" fmla="*/ 2147483647 w 524"/>
              <a:gd name="T17" fmla="*/ 2147483647 h 422"/>
              <a:gd name="T18" fmla="*/ 2147483647 w 524"/>
              <a:gd name="T19" fmla="*/ 2147483647 h 422"/>
              <a:gd name="T20" fmla="*/ 2147483647 w 524"/>
              <a:gd name="T21" fmla="*/ 2147483647 h 422"/>
              <a:gd name="T22" fmla="*/ 2147483647 w 524"/>
              <a:gd name="T23" fmla="*/ 2147483647 h 422"/>
              <a:gd name="T24" fmla="*/ 2147483647 w 524"/>
              <a:gd name="T25" fmla="*/ 2147483647 h 422"/>
              <a:gd name="T26" fmla="*/ 2147483647 w 524"/>
              <a:gd name="T27" fmla="*/ 2147483647 h 422"/>
              <a:gd name="T28" fmla="*/ 2147483647 w 524"/>
              <a:gd name="T29" fmla="*/ 2147483647 h 422"/>
              <a:gd name="T30" fmla="*/ 2147483647 w 524"/>
              <a:gd name="T31" fmla="*/ 2147483647 h 422"/>
              <a:gd name="T32" fmla="*/ 2147483647 w 524"/>
              <a:gd name="T33" fmla="*/ 2147483647 h 422"/>
              <a:gd name="T34" fmla="*/ 2147483647 w 524"/>
              <a:gd name="T35" fmla="*/ 2147483647 h 422"/>
              <a:gd name="T36" fmla="*/ 2147483647 w 524"/>
              <a:gd name="T37" fmla="*/ 2147483647 h 422"/>
              <a:gd name="T38" fmla="*/ 2147483647 w 524"/>
              <a:gd name="T39" fmla="*/ 2147483647 h 422"/>
              <a:gd name="T40" fmla="*/ 2147483647 w 524"/>
              <a:gd name="T41" fmla="*/ 2147483647 h 422"/>
              <a:gd name="T42" fmla="*/ 2147483647 w 524"/>
              <a:gd name="T43" fmla="*/ 2147483647 h 422"/>
              <a:gd name="T44" fmla="*/ 2147483647 w 524"/>
              <a:gd name="T45" fmla="*/ 2147483647 h 422"/>
              <a:gd name="T46" fmla="*/ 2147483647 w 524"/>
              <a:gd name="T47" fmla="*/ 2147483647 h 422"/>
              <a:gd name="T48" fmla="*/ 2147483647 w 524"/>
              <a:gd name="T49" fmla="*/ 2147483647 h 422"/>
              <a:gd name="T50" fmla="*/ 2147483647 w 524"/>
              <a:gd name="T51" fmla="*/ 2147483647 h 422"/>
              <a:gd name="T52" fmla="*/ 2147483647 w 524"/>
              <a:gd name="T53" fmla="*/ 2147483647 h 422"/>
              <a:gd name="T54" fmla="*/ 2147483647 w 524"/>
              <a:gd name="T55" fmla="*/ 2147483647 h 422"/>
              <a:gd name="T56" fmla="*/ 2147483647 w 524"/>
              <a:gd name="T57" fmla="*/ 2147483647 h 422"/>
              <a:gd name="T58" fmla="*/ 2147483647 w 524"/>
              <a:gd name="T59" fmla="*/ 2147483647 h 422"/>
              <a:gd name="T60" fmla="*/ 2147483647 w 524"/>
              <a:gd name="T61" fmla="*/ 2147483647 h 422"/>
              <a:gd name="T62" fmla="*/ 2147483647 w 524"/>
              <a:gd name="T63" fmla="*/ 2147483647 h 422"/>
              <a:gd name="T64" fmla="*/ 2147483647 w 524"/>
              <a:gd name="T65" fmla="*/ 2147483647 h 422"/>
              <a:gd name="T66" fmla="*/ 2147483647 w 524"/>
              <a:gd name="T67" fmla="*/ 2147483647 h 422"/>
              <a:gd name="T68" fmla="*/ 2147483647 w 524"/>
              <a:gd name="T69" fmla="*/ 2147483647 h 422"/>
              <a:gd name="T70" fmla="*/ 2147483647 w 524"/>
              <a:gd name="T71" fmla="*/ 2147483647 h 422"/>
              <a:gd name="T72" fmla="*/ 2147483647 w 524"/>
              <a:gd name="T73" fmla="*/ 2147483647 h 422"/>
              <a:gd name="T74" fmla="*/ 2147483647 w 524"/>
              <a:gd name="T75" fmla="*/ 2147483647 h 422"/>
              <a:gd name="T76" fmla="*/ 2147483647 w 524"/>
              <a:gd name="T77" fmla="*/ 2147483647 h 422"/>
              <a:gd name="T78" fmla="*/ 2147483647 w 524"/>
              <a:gd name="T79" fmla="*/ 2147483647 h 422"/>
              <a:gd name="T80" fmla="*/ 2147483647 w 524"/>
              <a:gd name="T81" fmla="*/ 2147483647 h 422"/>
              <a:gd name="T82" fmla="*/ 2147483647 w 524"/>
              <a:gd name="T83" fmla="*/ 2147483647 h 422"/>
              <a:gd name="T84" fmla="*/ 2147483647 w 524"/>
              <a:gd name="T85" fmla="*/ 2147483647 h 422"/>
              <a:gd name="T86" fmla="*/ 2147483647 w 524"/>
              <a:gd name="T87" fmla="*/ 2147483647 h 422"/>
              <a:gd name="T88" fmla="*/ 2147483647 w 524"/>
              <a:gd name="T89" fmla="*/ 2147483647 h 422"/>
              <a:gd name="T90" fmla="*/ 2147483647 w 524"/>
              <a:gd name="T91" fmla="*/ 2147483647 h 422"/>
              <a:gd name="T92" fmla="*/ 2147483647 w 524"/>
              <a:gd name="T93" fmla="*/ 2147483647 h 422"/>
              <a:gd name="T94" fmla="*/ 2147483647 w 524"/>
              <a:gd name="T95" fmla="*/ 2147483647 h 422"/>
              <a:gd name="T96" fmla="*/ 2147483647 w 524"/>
              <a:gd name="T97" fmla="*/ 2147483647 h 422"/>
              <a:gd name="T98" fmla="*/ 2147483647 w 524"/>
              <a:gd name="T99" fmla="*/ 2147483647 h 422"/>
              <a:gd name="T100" fmla="*/ 2147483647 w 524"/>
              <a:gd name="T101" fmla="*/ 2147483647 h 422"/>
              <a:gd name="T102" fmla="*/ 2147483647 w 524"/>
              <a:gd name="T103" fmla="*/ 2147483647 h 422"/>
              <a:gd name="T104" fmla="*/ 2147483647 w 524"/>
              <a:gd name="T105" fmla="*/ 2147483647 h 422"/>
              <a:gd name="T106" fmla="*/ 2147483647 w 524"/>
              <a:gd name="T107" fmla="*/ 2147483647 h 422"/>
              <a:gd name="T108" fmla="*/ 2147483647 w 524"/>
              <a:gd name="T109" fmla="*/ 2147483647 h 422"/>
              <a:gd name="T110" fmla="*/ 2147483647 w 524"/>
              <a:gd name="T111" fmla="*/ 2147483647 h 422"/>
              <a:gd name="T112" fmla="*/ 2147483647 w 524"/>
              <a:gd name="T113" fmla="*/ 2147483647 h 422"/>
              <a:gd name="T114" fmla="*/ 2147483647 w 524"/>
              <a:gd name="T115" fmla="*/ 2147483647 h 422"/>
              <a:gd name="T116" fmla="*/ 2147483647 w 524"/>
              <a:gd name="T117" fmla="*/ 2147483647 h 42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524" h="422">
                <a:moveTo>
                  <a:pt x="519" y="389"/>
                </a:moveTo>
                <a:cubicBezTo>
                  <a:pt x="469" y="372"/>
                  <a:pt x="469" y="372"/>
                  <a:pt x="469" y="372"/>
                </a:cubicBezTo>
                <a:cubicBezTo>
                  <a:pt x="467" y="371"/>
                  <a:pt x="464" y="371"/>
                  <a:pt x="462" y="373"/>
                </a:cubicBezTo>
                <a:cubicBezTo>
                  <a:pt x="460" y="374"/>
                  <a:pt x="458" y="377"/>
                  <a:pt x="458" y="379"/>
                </a:cubicBezTo>
                <a:cubicBezTo>
                  <a:pt x="458" y="388"/>
                  <a:pt x="458" y="388"/>
                  <a:pt x="458" y="388"/>
                </a:cubicBezTo>
                <a:cubicBezTo>
                  <a:pt x="419" y="388"/>
                  <a:pt x="419" y="388"/>
                  <a:pt x="419" y="388"/>
                </a:cubicBezTo>
                <a:cubicBezTo>
                  <a:pt x="415" y="388"/>
                  <a:pt x="411" y="392"/>
                  <a:pt x="411" y="396"/>
                </a:cubicBezTo>
                <a:cubicBezTo>
                  <a:pt x="411" y="401"/>
                  <a:pt x="415" y="404"/>
                  <a:pt x="419" y="404"/>
                </a:cubicBezTo>
                <a:cubicBezTo>
                  <a:pt x="459" y="404"/>
                  <a:pt x="459" y="404"/>
                  <a:pt x="459" y="404"/>
                </a:cubicBezTo>
                <a:cubicBezTo>
                  <a:pt x="459" y="414"/>
                  <a:pt x="459" y="414"/>
                  <a:pt x="459" y="414"/>
                </a:cubicBezTo>
                <a:cubicBezTo>
                  <a:pt x="459" y="417"/>
                  <a:pt x="460" y="419"/>
                  <a:pt x="462" y="420"/>
                </a:cubicBezTo>
                <a:cubicBezTo>
                  <a:pt x="463" y="421"/>
                  <a:pt x="465" y="422"/>
                  <a:pt x="467" y="422"/>
                </a:cubicBezTo>
                <a:cubicBezTo>
                  <a:pt x="467" y="422"/>
                  <a:pt x="468" y="422"/>
                  <a:pt x="469" y="421"/>
                </a:cubicBezTo>
                <a:cubicBezTo>
                  <a:pt x="519" y="404"/>
                  <a:pt x="519" y="404"/>
                  <a:pt x="519" y="404"/>
                </a:cubicBezTo>
                <a:cubicBezTo>
                  <a:pt x="522" y="403"/>
                  <a:pt x="524" y="400"/>
                  <a:pt x="524" y="396"/>
                </a:cubicBezTo>
                <a:cubicBezTo>
                  <a:pt x="524" y="393"/>
                  <a:pt x="522" y="390"/>
                  <a:pt x="519" y="389"/>
                </a:cubicBezTo>
                <a:close/>
                <a:moveTo>
                  <a:pt x="446" y="314"/>
                </a:moveTo>
                <a:cubicBezTo>
                  <a:pt x="448" y="312"/>
                  <a:pt x="449" y="309"/>
                  <a:pt x="449" y="306"/>
                </a:cubicBezTo>
                <a:cubicBezTo>
                  <a:pt x="449" y="301"/>
                  <a:pt x="446" y="297"/>
                  <a:pt x="441" y="295"/>
                </a:cubicBezTo>
                <a:cubicBezTo>
                  <a:pt x="435" y="292"/>
                  <a:pt x="435" y="292"/>
                  <a:pt x="435" y="292"/>
                </a:cubicBezTo>
                <a:cubicBezTo>
                  <a:pt x="446" y="279"/>
                  <a:pt x="446" y="279"/>
                  <a:pt x="446" y="279"/>
                </a:cubicBezTo>
                <a:cubicBezTo>
                  <a:pt x="448" y="277"/>
                  <a:pt x="449" y="274"/>
                  <a:pt x="449" y="271"/>
                </a:cubicBezTo>
                <a:cubicBezTo>
                  <a:pt x="449" y="266"/>
                  <a:pt x="446" y="261"/>
                  <a:pt x="441" y="260"/>
                </a:cubicBezTo>
                <a:cubicBezTo>
                  <a:pt x="435" y="256"/>
                  <a:pt x="435" y="256"/>
                  <a:pt x="435" y="256"/>
                </a:cubicBezTo>
                <a:cubicBezTo>
                  <a:pt x="446" y="244"/>
                  <a:pt x="446" y="244"/>
                  <a:pt x="446" y="244"/>
                </a:cubicBezTo>
                <a:cubicBezTo>
                  <a:pt x="448" y="242"/>
                  <a:pt x="449" y="239"/>
                  <a:pt x="449" y="235"/>
                </a:cubicBezTo>
                <a:cubicBezTo>
                  <a:pt x="449" y="231"/>
                  <a:pt x="446" y="226"/>
                  <a:pt x="441" y="225"/>
                </a:cubicBezTo>
                <a:cubicBezTo>
                  <a:pt x="435" y="221"/>
                  <a:pt x="435" y="221"/>
                  <a:pt x="435" y="221"/>
                </a:cubicBezTo>
                <a:cubicBezTo>
                  <a:pt x="446" y="208"/>
                  <a:pt x="446" y="208"/>
                  <a:pt x="446" y="208"/>
                </a:cubicBezTo>
                <a:cubicBezTo>
                  <a:pt x="448" y="206"/>
                  <a:pt x="449" y="203"/>
                  <a:pt x="449" y="200"/>
                </a:cubicBezTo>
                <a:cubicBezTo>
                  <a:pt x="449" y="195"/>
                  <a:pt x="446" y="191"/>
                  <a:pt x="441" y="189"/>
                </a:cubicBezTo>
                <a:cubicBezTo>
                  <a:pt x="435" y="186"/>
                  <a:pt x="435" y="186"/>
                  <a:pt x="435" y="186"/>
                </a:cubicBezTo>
                <a:cubicBezTo>
                  <a:pt x="446" y="173"/>
                  <a:pt x="446" y="173"/>
                  <a:pt x="446" y="173"/>
                </a:cubicBezTo>
                <a:cubicBezTo>
                  <a:pt x="448" y="171"/>
                  <a:pt x="449" y="168"/>
                  <a:pt x="449" y="165"/>
                </a:cubicBezTo>
                <a:cubicBezTo>
                  <a:pt x="449" y="160"/>
                  <a:pt x="446" y="156"/>
                  <a:pt x="441" y="154"/>
                </a:cubicBezTo>
                <a:cubicBezTo>
                  <a:pt x="435" y="151"/>
                  <a:pt x="435" y="151"/>
                  <a:pt x="435" y="151"/>
                </a:cubicBezTo>
                <a:cubicBezTo>
                  <a:pt x="446" y="138"/>
                  <a:pt x="446" y="138"/>
                  <a:pt x="446" y="138"/>
                </a:cubicBezTo>
                <a:cubicBezTo>
                  <a:pt x="448" y="136"/>
                  <a:pt x="449" y="133"/>
                  <a:pt x="449" y="130"/>
                </a:cubicBezTo>
                <a:cubicBezTo>
                  <a:pt x="449" y="125"/>
                  <a:pt x="445" y="120"/>
                  <a:pt x="441" y="119"/>
                </a:cubicBezTo>
                <a:cubicBezTo>
                  <a:pt x="340" y="80"/>
                  <a:pt x="340" y="80"/>
                  <a:pt x="340" y="80"/>
                </a:cubicBezTo>
                <a:cubicBezTo>
                  <a:pt x="338" y="80"/>
                  <a:pt x="336" y="79"/>
                  <a:pt x="334" y="79"/>
                </a:cubicBezTo>
                <a:cubicBezTo>
                  <a:pt x="330" y="80"/>
                  <a:pt x="325" y="81"/>
                  <a:pt x="322" y="85"/>
                </a:cubicBezTo>
                <a:cubicBezTo>
                  <a:pt x="290" y="122"/>
                  <a:pt x="290" y="122"/>
                  <a:pt x="290" y="122"/>
                </a:cubicBezTo>
                <a:cubicBezTo>
                  <a:pt x="288" y="124"/>
                  <a:pt x="287" y="127"/>
                  <a:pt x="287" y="130"/>
                </a:cubicBezTo>
                <a:cubicBezTo>
                  <a:pt x="287" y="135"/>
                  <a:pt x="291" y="140"/>
                  <a:pt x="295" y="141"/>
                </a:cubicBezTo>
                <a:cubicBezTo>
                  <a:pt x="303" y="144"/>
                  <a:pt x="303" y="144"/>
                  <a:pt x="303" y="144"/>
                </a:cubicBezTo>
                <a:cubicBezTo>
                  <a:pt x="290" y="157"/>
                  <a:pt x="290" y="157"/>
                  <a:pt x="290" y="157"/>
                </a:cubicBezTo>
                <a:cubicBezTo>
                  <a:pt x="290" y="157"/>
                  <a:pt x="290" y="157"/>
                  <a:pt x="290" y="157"/>
                </a:cubicBezTo>
                <a:cubicBezTo>
                  <a:pt x="288" y="159"/>
                  <a:pt x="287" y="162"/>
                  <a:pt x="287" y="165"/>
                </a:cubicBezTo>
                <a:cubicBezTo>
                  <a:pt x="287" y="170"/>
                  <a:pt x="291" y="175"/>
                  <a:pt x="295" y="176"/>
                </a:cubicBezTo>
                <a:cubicBezTo>
                  <a:pt x="303" y="179"/>
                  <a:pt x="303" y="179"/>
                  <a:pt x="303" y="179"/>
                </a:cubicBezTo>
                <a:cubicBezTo>
                  <a:pt x="290" y="192"/>
                  <a:pt x="290" y="192"/>
                  <a:pt x="290" y="192"/>
                </a:cubicBezTo>
                <a:cubicBezTo>
                  <a:pt x="290" y="192"/>
                  <a:pt x="290" y="192"/>
                  <a:pt x="290" y="192"/>
                </a:cubicBezTo>
                <a:cubicBezTo>
                  <a:pt x="288" y="195"/>
                  <a:pt x="287" y="197"/>
                  <a:pt x="287" y="201"/>
                </a:cubicBezTo>
                <a:cubicBezTo>
                  <a:pt x="287" y="206"/>
                  <a:pt x="291" y="210"/>
                  <a:pt x="295" y="212"/>
                </a:cubicBezTo>
                <a:cubicBezTo>
                  <a:pt x="303" y="215"/>
                  <a:pt x="303" y="215"/>
                  <a:pt x="303" y="215"/>
                </a:cubicBezTo>
                <a:cubicBezTo>
                  <a:pt x="290" y="227"/>
                  <a:pt x="290" y="227"/>
                  <a:pt x="290" y="227"/>
                </a:cubicBezTo>
                <a:cubicBezTo>
                  <a:pt x="290" y="228"/>
                  <a:pt x="290" y="228"/>
                  <a:pt x="290" y="228"/>
                </a:cubicBezTo>
                <a:cubicBezTo>
                  <a:pt x="288" y="230"/>
                  <a:pt x="287" y="233"/>
                  <a:pt x="287" y="236"/>
                </a:cubicBezTo>
                <a:cubicBezTo>
                  <a:pt x="287" y="241"/>
                  <a:pt x="291" y="246"/>
                  <a:pt x="295" y="247"/>
                </a:cubicBezTo>
                <a:cubicBezTo>
                  <a:pt x="303" y="250"/>
                  <a:pt x="303" y="250"/>
                  <a:pt x="303" y="250"/>
                </a:cubicBezTo>
                <a:cubicBezTo>
                  <a:pt x="290" y="263"/>
                  <a:pt x="290" y="263"/>
                  <a:pt x="290" y="263"/>
                </a:cubicBezTo>
                <a:cubicBezTo>
                  <a:pt x="290" y="263"/>
                  <a:pt x="290" y="263"/>
                  <a:pt x="290" y="263"/>
                </a:cubicBezTo>
                <a:cubicBezTo>
                  <a:pt x="288" y="265"/>
                  <a:pt x="287" y="268"/>
                  <a:pt x="287" y="271"/>
                </a:cubicBezTo>
                <a:cubicBezTo>
                  <a:pt x="287" y="276"/>
                  <a:pt x="291" y="281"/>
                  <a:pt x="295" y="282"/>
                </a:cubicBezTo>
                <a:cubicBezTo>
                  <a:pt x="303" y="285"/>
                  <a:pt x="303" y="285"/>
                  <a:pt x="303" y="285"/>
                </a:cubicBezTo>
                <a:cubicBezTo>
                  <a:pt x="290" y="298"/>
                  <a:pt x="290" y="298"/>
                  <a:pt x="290" y="298"/>
                </a:cubicBezTo>
                <a:cubicBezTo>
                  <a:pt x="290" y="298"/>
                  <a:pt x="290" y="298"/>
                  <a:pt x="290" y="298"/>
                </a:cubicBezTo>
                <a:cubicBezTo>
                  <a:pt x="288" y="300"/>
                  <a:pt x="287" y="303"/>
                  <a:pt x="287" y="306"/>
                </a:cubicBezTo>
                <a:cubicBezTo>
                  <a:pt x="287" y="311"/>
                  <a:pt x="291" y="316"/>
                  <a:pt x="295" y="317"/>
                </a:cubicBezTo>
                <a:cubicBezTo>
                  <a:pt x="396" y="356"/>
                  <a:pt x="396" y="356"/>
                  <a:pt x="396" y="356"/>
                </a:cubicBezTo>
                <a:cubicBezTo>
                  <a:pt x="398" y="356"/>
                  <a:pt x="400" y="357"/>
                  <a:pt x="401" y="357"/>
                </a:cubicBezTo>
                <a:cubicBezTo>
                  <a:pt x="406" y="357"/>
                  <a:pt x="411" y="355"/>
                  <a:pt x="414" y="351"/>
                </a:cubicBezTo>
                <a:lnTo>
                  <a:pt x="446" y="314"/>
                </a:lnTo>
                <a:close/>
                <a:moveTo>
                  <a:pt x="402" y="235"/>
                </a:moveTo>
                <a:cubicBezTo>
                  <a:pt x="402" y="235"/>
                  <a:pt x="402" y="235"/>
                  <a:pt x="402" y="235"/>
                </a:cubicBezTo>
                <a:cubicBezTo>
                  <a:pt x="306" y="199"/>
                  <a:pt x="306" y="199"/>
                  <a:pt x="306" y="199"/>
                </a:cubicBezTo>
                <a:cubicBezTo>
                  <a:pt x="319" y="186"/>
                  <a:pt x="319" y="186"/>
                  <a:pt x="319" y="186"/>
                </a:cubicBezTo>
                <a:cubicBezTo>
                  <a:pt x="396" y="215"/>
                  <a:pt x="396" y="215"/>
                  <a:pt x="396" y="215"/>
                </a:cubicBezTo>
                <a:cubicBezTo>
                  <a:pt x="398" y="215"/>
                  <a:pt x="400" y="216"/>
                  <a:pt x="401" y="216"/>
                </a:cubicBezTo>
                <a:cubicBezTo>
                  <a:pt x="406" y="216"/>
                  <a:pt x="411" y="214"/>
                  <a:pt x="414" y="210"/>
                </a:cubicBezTo>
                <a:cubicBezTo>
                  <a:pt x="424" y="198"/>
                  <a:pt x="424" y="198"/>
                  <a:pt x="424" y="198"/>
                </a:cubicBezTo>
                <a:cubicBezTo>
                  <a:pt x="430" y="202"/>
                  <a:pt x="430" y="202"/>
                  <a:pt x="430" y="202"/>
                </a:cubicBezTo>
                <a:lnTo>
                  <a:pt x="402" y="235"/>
                </a:lnTo>
                <a:close/>
                <a:moveTo>
                  <a:pt x="430" y="237"/>
                </a:moveTo>
                <a:cubicBezTo>
                  <a:pt x="402" y="270"/>
                  <a:pt x="402" y="270"/>
                  <a:pt x="402" y="270"/>
                </a:cubicBezTo>
                <a:cubicBezTo>
                  <a:pt x="402" y="270"/>
                  <a:pt x="402" y="270"/>
                  <a:pt x="402" y="270"/>
                </a:cubicBezTo>
                <a:cubicBezTo>
                  <a:pt x="306" y="234"/>
                  <a:pt x="306" y="234"/>
                  <a:pt x="306" y="234"/>
                </a:cubicBezTo>
                <a:cubicBezTo>
                  <a:pt x="319" y="221"/>
                  <a:pt x="319" y="221"/>
                  <a:pt x="319" y="221"/>
                </a:cubicBezTo>
                <a:cubicBezTo>
                  <a:pt x="396" y="250"/>
                  <a:pt x="396" y="250"/>
                  <a:pt x="396" y="250"/>
                </a:cubicBezTo>
                <a:cubicBezTo>
                  <a:pt x="398" y="251"/>
                  <a:pt x="400" y="251"/>
                  <a:pt x="401" y="251"/>
                </a:cubicBezTo>
                <a:cubicBezTo>
                  <a:pt x="406" y="251"/>
                  <a:pt x="411" y="249"/>
                  <a:pt x="414" y="245"/>
                </a:cubicBezTo>
                <a:cubicBezTo>
                  <a:pt x="424" y="234"/>
                  <a:pt x="424" y="234"/>
                  <a:pt x="424" y="234"/>
                </a:cubicBezTo>
                <a:lnTo>
                  <a:pt x="430" y="237"/>
                </a:lnTo>
                <a:close/>
                <a:moveTo>
                  <a:pt x="402" y="199"/>
                </a:moveTo>
                <a:cubicBezTo>
                  <a:pt x="402" y="199"/>
                  <a:pt x="402" y="200"/>
                  <a:pt x="402" y="200"/>
                </a:cubicBezTo>
                <a:cubicBezTo>
                  <a:pt x="306" y="164"/>
                  <a:pt x="306" y="164"/>
                  <a:pt x="306" y="164"/>
                </a:cubicBezTo>
                <a:cubicBezTo>
                  <a:pt x="319" y="150"/>
                  <a:pt x="319" y="150"/>
                  <a:pt x="319" y="150"/>
                </a:cubicBezTo>
                <a:cubicBezTo>
                  <a:pt x="396" y="179"/>
                  <a:pt x="396" y="179"/>
                  <a:pt x="396" y="179"/>
                </a:cubicBezTo>
                <a:cubicBezTo>
                  <a:pt x="398" y="180"/>
                  <a:pt x="400" y="180"/>
                  <a:pt x="401" y="180"/>
                </a:cubicBezTo>
                <a:cubicBezTo>
                  <a:pt x="406" y="180"/>
                  <a:pt x="411" y="179"/>
                  <a:pt x="414" y="175"/>
                </a:cubicBezTo>
                <a:cubicBezTo>
                  <a:pt x="408" y="169"/>
                  <a:pt x="408" y="169"/>
                  <a:pt x="408" y="169"/>
                </a:cubicBezTo>
                <a:cubicBezTo>
                  <a:pt x="414" y="175"/>
                  <a:pt x="414" y="175"/>
                  <a:pt x="414" y="175"/>
                </a:cubicBezTo>
                <a:cubicBezTo>
                  <a:pt x="424" y="163"/>
                  <a:pt x="424" y="163"/>
                  <a:pt x="424" y="163"/>
                </a:cubicBezTo>
                <a:cubicBezTo>
                  <a:pt x="430" y="166"/>
                  <a:pt x="430" y="166"/>
                  <a:pt x="430" y="166"/>
                </a:cubicBezTo>
                <a:lnTo>
                  <a:pt x="402" y="199"/>
                </a:lnTo>
                <a:close/>
                <a:moveTo>
                  <a:pt x="334" y="96"/>
                </a:moveTo>
                <a:cubicBezTo>
                  <a:pt x="334" y="96"/>
                  <a:pt x="334" y="96"/>
                  <a:pt x="334" y="95"/>
                </a:cubicBezTo>
                <a:cubicBezTo>
                  <a:pt x="430" y="132"/>
                  <a:pt x="430" y="132"/>
                  <a:pt x="430" y="132"/>
                </a:cubicBezTo>
                <a:cubicBezTo>
                  <a:pt x="402" y="164"/>
                  <a:pt x="402" y="164"/>
                  <a:pt x="402" y="164"/>
                </a:cubicBezTo>
                <a:cubicBezTo>
                  <a:pt x="402" y="164"/>
                  <a:pt x="402" y="164"/>
                  <a:pt x="402" y="164"/>
                </a:cubicBezTo>
                <a:cubicBezTo>
                  <a:pt x="306" y="128"/>
                  <a:pt x="306" y="128"/>
                  <a:pt x="306" y="128"/>
                </a:cubicBezTo>
                <a:lnTo>
                  <a:pt x="334" y="96"/>
                </a:lnTo>
                <a:close/>
                <a:moveTo>
                  <a:pt x="319" y="256"/>
                </a:moveTo>
                <a:cubicBezTo>
                  <a:pt x="396" y="285"/>
                  <a:pt x="396" y="285"/>
                  <a:pt x="396" y="285"/>
                </a:cubicBezTo>
                <a:cubicBezTo>
                  <a:pt x="398" y="286"/>
                  <a:pt x="400" y="286"/>
                  <a:pt x="401" y="286"/>
                </a:cubicBezTo>
                <a:cubicBezTo>
                  <a:pt x="406" y="286"/>
                  <a:pt x="411" y="284"/>
                  <a:pt x="414" y="280"/>
                </a:cubicBezTo>
                <a:cubicBezTo>
                  <a:pt x="424" y="269"/>
                  <a:pt x="424" y="269"/>
                  <a:pt x="424" y="269"/>
                </a:cubicBezTo>
                <a:cubicBezTo>
                  <a:pt x="430" y="272"/>
                  <a:pt x="430" y="272"/>
                  <a:pt x="430" y="272"/>
                </a:cubicBezTo>
                <a:cubicBezTo>
                  <a:pt x="402" y="305"/>
                  <a:pt x="402" y="305"/>
                  <a:pt x="402" y="305"/>
                </a:cubicBezTo>
                <a:cubicBezTo>
                  <a:pt x="402" y="305"/>
                  <a:pt x="402" y="305"/>
                  <a:pt x="402" y="305"/>
                </a:cubicBezTo>
                <a:cubicBezTo>
                  <a:pt x="306" y="269"/>
                  <a:pt x="306" y="269"/>
                  <a:pt x="306" y="269"/>
                </a:cubicBezTo>
                <a:lnTo>
                  <a:pt x="319" y="256"/>
                </a:lnTo>
                <a:close/>
                <a:moveTo>
                  <a:pt x="402" y="341"/>
                </a:moveTo>
                <a:cubicBezTo>
                  <a:pt x="306" y="305"/>
                  <a:pt x="306" y="305"/>
                  <a:pt x="306" y="305"/>
                </a:cubicBezTo>
                <a:cubicBezTo>
                  <a:pt x="319" y="291"/>
                  <a:pt x="319" y="291"/>
                  <a:pt x="319" y="291"/>
                </a:cubicBezTo>
                <a:cubicBezTo>
                  <a:pt x="396" y="320"/>
                  <a:pt x="396" y="320"/>
                  <a:pt x="396" y="320"/>
                </a:cubicBezTo>
                <a:cubicBezTo>
                  <a:pt x="398" y="321"/>
                  <a:pt x="400" y="321"/>
                  <a:pt x="401" y="321"/>
                </a:cubicBezTo>
                <a:cubicBezTo>
                  <a:pt x="406" y="321"/>
                  <a:pt x="411" y="320"/>
                  <a:pt x="414" y="316"/>
                </a:cubicBezTo>
                <a:cubicBezTo>
                  <a:pt x="424" y="304"/>
                  <a:pt x="424" y="304"/>
                  <a:pt x="424" y="304"/>
                </a:cubicBezTo>
                <a:cubicBezTo>
                  <a:pt x="430" y="307"/>
                  <a:pt x="430" y="307"/>
                  <a:pt x="430" y="307"/>
                </a:cubicBezTo>
                <a:cubicBezTo>
                  <a:pt x="402" y="340"/>
                  <a:pt x="402" y="340"/>
                  <a:pt x="402" y="340"/>
                </a:cubicBezTo>
                <a:cubicBezTo>
                  <a:pt x="402" y="340"/>
                  <a:pt x="402" y="341"/>
                  <a:pt x="402" y="341"/>
                </a:cubicBezTo>
                <a:close/>
                <a:moveTo>
                  <a:pt x="101" y="111"/>
                </a:moveTo>
                <a:cubicBezTo>
                  <a:pt x="101" y="111"/>
                  <a:pt x="102" y="111"/>
                  <a:pt x="103" y="111"/>
                </a:cubicBezTo>
                <a:cubicBezTo>
                  <a:pt x="414" y="37"/>
                  <a:pt x="414" y="37"/>
                  <a:pt x="414" y="37"/>
                </a:cubicBezTo>
                <a:cubicBezTo>
                  <a:pt x="416" y="46"/>
                  <a:pt x="416" y="46"/>
                  <a:pt x="416" y="46"/>
                </a:cubicBezTo>
                <a:cubicBezTo>
                  <a:pt x="417" y="48"/>
                  <a:pt x="419" y="51"/>
                  <a:pt x="421" y="51"/>
                </a:cubicBezTo>
                <a:cubicBezTo>
                  <a:pt x="422" y="52"/>
                  <a:pt x="423" y="52"/>
                  <a:pt x="424" y="52"/>
                </a:cubicBezTo>
                <a:cubicBezTo>
                  <a:pt x="426" y="52"/>
                  <a:pt x="427" y="52"/>
                  <a:pt x="428" y="51"/>
                </a:cubicBezTo>
                <a:cubicBezTo>
                  <a:pt x="472" y="22"/>
                  <a:pt x="472" y="22"/>
                  <a:pt x="472" y="22"/>
                </a:cubicBezTo>
                <a:cubicBezTo>
                  <a:pt x="475" y="20"/>
                  <a:pt x="477" y="17"/>
                  <a:pt x="476" y="14"/>
                </a:cubicBezTo>
                <a:cubicBezTo>
                  <a:pt x="475" y="10"/>
                  <a:pt x="472" y="8"/>
                  <a:pt x="469" y="7"/>
                </a:cubicBezTo>
                <a:cubicBezTo>
                  <a:pt x="417" y="2"/>
                  <a:pt x="417" y="2"/>
                  <a:pt x="417" y="2"/>
                </a:cubicBezTo>
                <a:cubicBezTo>
                  <a:pt x="414" y="2"/>
                  <a:pt x="412" y="3"/>
                  <a:pt x="410" y="5"/>
                </a:cubicBezTo>
                <a:cubicBezTo>
                  <a:pt x="408" y="7"/>
                  <a:pt x="408" y="10"/>
                  <a:pt x="408" y="12"/>
                </a:cubicBezTo>
                <a:cubicBezTo>
                  <a:pt x="410" y="21"/>
                  <a:pt x="410" y="21"/>
                  <a:pt x="410" y="21"/>
                </a:cubicBezTo>
                <a:cubicBezTo>
                  <a:pt x="99" y="95"/>
                  <a:pt x="99" y="95"/>
                  <a:pt x="99" y="95"/>
                </a:cubicBezTo>
                <a:cubicBezTo>
                  <a:pt x="95" y="96"/>
                  <a:pt x="92" y="101"/>
                  <a:pt x="93" y="105"/>
                </a:cubicBezTo>
                <a:cubicBezTo>
                  <a:pt x="94" y="109"/>
                  <a:pt x="97" y="111"/>
                  <a:pt x="101" y="111"/>
                </a:cubicBezTo>
                <a:close/>
                <a:moveTo>
                  <a:pt x="379" y="125"/>
                </a:moveTo>
                <a:cubicBezTo>
                  <a:pt x="379" y="125"/>
                  <a:pt x="379" y="124"/>
                  <a:pt x="377" y="123"/>
                </a:cubicBezTo>
                <a:cubicBezTo>
                  <a:pt x="378" y="122"/>
                  <a:pt x="378" y="120"/>
                  <a:pt x="377" y="119"/>
                </a:cubicBezTo>
                <a:cubicBezTo>
                  <a:pt x="376" y="118"/>
                  <a:pt x="375" y="118"/>
                  <a:pt x="374" y="119"/>
                </a:cubicBezTo>
                <a:cubicBezTo>
                  <a:pt x="373" y="120"/>
                  <a:pt x="373" y="120"/>
                  <a:pt x="373" y="120"/>
                </a:cubicBezTo>
                <a:cubicBezTo>
                  <a:pt x="372" y="120"/>
                  <a:pt x="371" y="120"/>
                  <a:pt x="370" y="120"/>
                </a:cubicBezTo>
                <a:cubicBezTo>
                  <a:pt x="369" y="120"/>
                  <a:pt x="366" y="121"/>
                  <a:pt x="364" y="123"/>
                </a:cubicBezTo>
                <a:cubicBezTo>
                  <a:pt x="363" y="124"/>
                  <a:pt x="363" y="125"/>
                  <a:pt x="363" y="126"/>
                </a:cubicBezTo>
                <a:cubicBezTo>
                  <a:pt x="363" y="128"/>
                  <a:pt x="364" y="130"/>
                  <a:pt x="365" y="130"/>
                </a:cubicBezTo>
                <a:cubicBezTo>
                  <a:pt x="366" y="131"/>
                  <a:pt x="366" y="132"/>
                  <a:pt x="367" y="132"/>
                </a:cubicBezTo>
                <a:cubicBezTo>
                  <a:pt x="367" y="132"/>
                  <a:pt x="368" y="133"/>
                  <a:pt x="368" y="133"/>
                </a:cubicBezTo>
                <a:cubicBezTo>
                  <a:pt x="369" y="133"/>
                  <a:pt x="369" y="133"/>
                  <a:pt x="369" y="133"/>
                </a:cubicBezTo>
                <a:cubicBezTo>
                  <a:pt x="369" y="133"/>
                  <a:pt x="369" y="133"/>
                  <a:pt x="369" y="133"/>
                </a:cubicBezTo>
                <a:cubicBezTo>
                  <a:pt x="369" y="133"/>
                  <a:pt x="369" y="133"/>
                  <a:pt x="369" y="133"/>
                </a:cubicBezTo>
                <a:cubicBezTo>
                  <a:pt x="369" y="133"/>
                  <a:pt x="369" y="134"/>
                  <a:pt x="368" y="134"/>
                </a:cubicBezTo>
                <a:cubicBezTo>
                  <a:pt x="368" y="135"/>
                  <a:pt x="367" y="135"/>
                  <a:pt x="366" y="135"/>
                </a:cubicBezTo>
                <a:cubicBezTo>
                  <a:pt x="365" y="135"/>
                  <a:pt x="364" y="135"/>
                  <a:pt x="364" y="135"/>
                </a:cubicBezTo>
                <a:cubicBezTo>
                  <a:pt x="363" y="135"/>
                  <a:pt x="363" y="135"/>
                  <a:pt x="363" y="134"/>
                </a:cubicBezTo>
                <a:cubicBezTo>
                  <a:pt x="363" y="134"/>
                  <a:pt x="363" y="134"/>
                  <a:pt x="363" y="134"/>
                </a:cubicBezTo>
                <a:cubicBezTo>
                  <a:pt x="363" y="134"/>
                  <a:pt x="363" y="134"/>
                  <a:pt x="363" y="134"/>
                </a:cubicBezTo>
                <a:cubicBezTo>
                  <a:pt x="362" y="134"/>
                  <a:pt x="362" y="134"/>
                  <a:pt x="361" y="133"/>
                </a:cubicBezTo>
                <a:cubicBezTo>
                  <a:pt x="361" y="133"/>
                  <a:pt x="361" y="132"/>
                  <a:pt x="361" y="132"/>
                </a:cubicBezTo>
                <a:cubicBezTo>
                  <a:pt x="361" y="132"/>
                  <a:pt x="361" y="132"/>
                  <a:pt x="361" y="132"/>
                </a:cubicBezTo>
                <a:cubicBezTo>
                  <a:pt x="360" y="131"/>
                  <a:pt x="359" y="130"/>
                  <a:pt x="357" y="131"/>
                </a:cubicBezTo>
                <a:cubicBezTo>
                  <a:pt x="356" y="131"/>
                  <a:pt x="356" y="133"/>
                  <a:pt x="356" y="134"/>
                </a:cubicBezTo>
                <a:cubicBezTo>
                  <a:pt x="356" y="134"/>
                  <a:pt x="357" y="136"/>
                  <a:pt x="358" y="137"/>
                </a:cubicBezTo>
                <a:cubicBezTo>
                  <a:pt x="358" y="137"/>
                  <a:pt x="358" y="137"/>
                  <a:pt x="358" y="137"/>
                </a:cubicBezTo>
                <a:cubicBezTo>
                  <a:pt x="357" y="138"/>
                  <a:pt x="358" y="140"/>
                  <a:pt x="359" y="141"/>
                </a:cubicBezTo>
                <a:cubicBezTo>
                  <a:pt x="359" y="141"/>
                  <a:pt x="360" y="141"/>
                  <a:pt x="360" y="141"/>
                </a:cubicBezTo>
                <a:cubicBezTo>
                  <a:pt x="361" y="141"/>
                  <a:pt x="362" y="141"/>
                  <a:pt x="362" y="141"/>
                </a:cubicBezTo>
                <a:cubicBezTo>
                  <a:pt x="363" y="139"/>
                  <a:pt x="363" y="139"/>
                  <a:pt x="363" y="139"/>
                </a:cubicBezTo>
                <a:cubicBezTo>
                  <a:pt x="364" y="140"/>
                  <a:pt x="365" y="140"/>
                  <a:pt x="366" y="140"/>
                </a:cubicBezTo>
                <a:cubicBezTo>
                  <a:pt x="366" y="140"/>
                  <a:pt x="366" y="140"/>
                  <a:pt x="366" y="140"/>
                </a:cubicBezTo>
                <a:cubicBezTo>
                  <a:pt x="368" y="140"/>
                  <a:pt x="370" y="139"/>
                  <a:pt x="372" y="137"/>
                </a:cubicBezTo>
                <a:cubicBezTo>
                  <a:pt x="373" y="136"/>
                  <a:pt x="373" y="136"/>
                  <a:pt x="373" y="135"/>
                </a:cubicBezTo>
                <a:cubicBezTo>
                  <a:pt x="373" y="134"/>
                  <a:pt x="374" y="134"/>
                  <a:pt x="374" y="133"/>
                </a:cubicBezTo>
                <a:cubicBezTo>
                  <a:pt x="374" y="132"/>
                  <a:pt x="373" y="130"/>
                  <a:pt x="372" y="129"/>
                </a:cubicBezTo>
                <a:cubicBezTo>
                  <a:pt x="371" y="129"/>
                  <a:pt x="370" y="128"/>
                  <a:pt x="370" y="128"/>
                </a:cubicBezTo>
                <a:cubicBezTo>
                  <a:pt x="369" y="127"/>
                  <a:pt x="368" y="127"/>
                  <a:pt x="368" y="127"/>
                </a:cubicBezTo>
                <a:cubicBezTo>
                  <a:pt x="368" y="127"/>
                  <a:pt x="368" y="126"/>
                  <a:pt x="368" y="126"/>
                </a:cubicBezTo>
                <a:cubicBezTo>
                  <a:pt x="368" y="126"/>
                  <a:pt x="368" y="126"/>
                  <a:pt x="368" y="126"/>
                </a:cubicBezTo>
                <a:cubicBezTo>
                  <a:pt x="368" y="125"/>
                  <a:pt x="369" y="125"/>
                  <a:pt x="370" y="125"/>
                </a:cubicBezTo>
                <a:cubicBezTo>
                  <a:pt x="371" y="125"/>
                  <a:pt x="372" y="125"/>
                  <a:pt x="372" y="125"/>
                </a:cubicBezTo>
                <a:cubicBezTo>
                  <a:pt x="372" y="125"/>
                  <a:pt x="372" y="125"/>
                  <a:pt x="373" y="125"/>
                </a:cubicBezTo>
                <a:cubicBezTo>
                  <a:pt x="373" y="125"/>
                  <a:pt x="373" y="125"/>
                  <a:pt x="373" y="125"/>
                </a:cubicBezTo>
                <a:cubicBezTo>
                  <a:pt x="373" y="125"/>
                  <a:pt x="373" y="125"/>
                  <a:pt x="373" y="125"/>
                </a:cubicBezTo>
                <a:cubicBezTo>
                  <a:pt x="374" y="126"/>
                  <a:pt x="374" y="126"/>
                  <a:pt x="375" y="126"/>
                </a:cubicBezTo>
                <a:cubicBezTo>
                  <a:pt x="375" y="127"/>
                  <a:pt x="375" y="127"/>
                  <a:pt x="375" y="127"/>
                </a:cubicBezTo>
                <a:cubicBezTo>
                  <a:pt x="375" y="128"/>
                  <a:pt x="376" y="128"/>
                  <a:pt x="378" y="128"/>
                </a:cubicBezTo>
                <a:cubicBezTo>
                  <a:pt x="379" y="128"/>
                  <a:pt x="380" y="126"/>
                  <a:pt x="379" y="125"/>
                </a:cubicBezTo>
                <a:close/>
                <a:moveTo>
                  <a:pt x="185" y="196"/>
                </a:moveTo>
                <a:cubicBezTo>
                  <a:pt x="185" y="195"/>
                  <a:pt x="184" y="194"/>
                  <a:pt x="183" y="193"/>
                </a:cubicBezTo>
                <a:cubicBezTo>
                  <a:pt x="184" y="192"/>
                  <a:pt x="184" y="191"/>
                  <a:pt x="183" y="190"/>
                </a:cubicBezTo>
                <a:cubicBezTo>
                  <a:pt x="182" y="189"/>
                  <a:pt x="180" y="189"/>
                  <a:pt x="179" y="190"/>
                </a:cubicBezTo>
                <a:cubicBezTo>
                  <a:pt x="179" y="191"/>
                  <a:pt x="179" y="191"/>
                  <a:pt x="179" y="191"/>
                </a:cubicBezTo>
                <a:cubicBezTo>
                  <a:pt x="178" y="191"/>
                  <a:pt x="177" y="191"/>
                  <a:pt x="176" y="191"/>
                </a:cubicBezTo>
                <a:cubicBezTo>
                  <a:pt x="174" y="191"/>
                  <a:pt x="172" y="191"/>
                  <a:pt x="170" y="193"/>
                </a:cubicBezTo>
                <a:cubicBezTo>
                  <a:pt x="169" y="194"/>
                  <a:pt x="168" y="196"/>
                  <a:pt x="168" y="197"/>
                </a:cubicBezTo>
                <a:cubicBezTo>
                  <a:pt x="168" y="199"/>
                  <a:pt x="170" y="200"/>
                  <a:pt x="170" y="201"/>
                </a:cubicBezTo>
                <a:cubicBezTo>
                  <a:pt x="171" y="202"/>
                  <a:pt x="172" y="202"/>
                  <a:pt x="173" y="202"/>
                </a:cubicBezTo>
                <a:cubicBezTo>
                  <a:pt x="173" y="203"/>
                  <a:pt x="174" y="203"/>
                  <a:pt x="174" y="203"/>
                </a:cubicBezTo>
                <a:cubicBezTo>
                  <a:pt x="174" y="204"/>
                  <a:pt x="174" y="204"/>
                  <a:pt x="174" y="204"/>
                </a:cubicBezTo>
                <a:cubicBezTo>
                  <a:pt x="174" y="204"/>
                  <a:pt x="174" y="204"/>
                  <a:pt x="174" y="204"/>
                </a:cubicBezTo>
                <a:cubicBezTo>
                  <a:pt x="174" y="204"/>
                  <a:pt x="174" y="204"/>
                  <a:pt x="174" y="204"/>
                </a:cubicBezTo>
                <a:cubicBezTo>
                  <a:pt x="174" y="204"/>
                  <a:pt x="174" y="204"/>
                  <a:pt x="174" y="204"/>
                </a:cubicBezTo>
                <a:cubicBezTo>
                  <a:pt x="173" y="205"/>
                  <a:pt x="173" y="205"/>
                  <a:pt x="171" y="205"/>
                </a:cubicBezTo>
                <a:cubicBezTo>
                  <a:pt x="171" y="205"/>
                  <a:pt x="170" y="205"/>
                  <a:pt x="170" y="205"/>
                </a:cubicBezTo>
                <a:cubicBezTo>
                  <a:pt x="169" y="205"/>
                  <a:pt x="169" y="205"/>
                  <a:pt x="169" y="205"/>
                </a:cubicBezTo>
                <a:cubicBezTo>
                  <a:pt x="169" y="205"/>
                  <a:pt x="169" y="205"/>
                  <a:pt x="169" y="205"/>
                </a:cubicBezTo>
                <a:cubicBezTo>
                  <a:pt x="169" y="205"/>
                  <a:pt x="169" y="205"/>
                  <a:pt x="169" y="205"/>
                </a:cubicBezTo>
                <a:cubicBezTo>
                  <a:pt x="168" y="205"/>
                  <a:pt x="167" y="204"/>
                  <a:pt x="167" y="203"/>
                </a:cubicBezTo>
                <a:cubicBezTo>
                  <a:pt x="167" y="203"/>
                  <a:pt x="167" y="203"/>
                  <a:pt x="166" y="203"/>
                </a:cubicBezTo>
                <a:cubicBezTo>
                  <a:pt x="166" y="203"/>
                  <a:pt x="166" y="203"/>
                  <a:pt x="166" y="203"/>
                </a:cubicBezTo>
                <a:cubicBezTo>
                  <a:pt x="166" y="201"/>
                  <a:pt x="164" y="201"/>
                  <a:pt x="163" y="201"/>
                </a:cubicBezTo>
                <a:cubicBezTo>
                  <a:pt x="162" y="202"/>
                  <a:pt x="161" y="203"/>
                  <a:pt x="162" y="204"/>
                </a:cubicBezTo>
                <a:cubicBezTo>
                  <a:pt x="162" y="204"/>
                  <a:pt x="162" y="206"/>
                  <a:pt x="164" y="208"/>
                </a:cubicBezTo>
                <a:cubicBezTo>
                  <a:pt x="164" y="208"/>
                  <a:pt x="164" y="208"/>
                  <a:pt x="164" y="208"/>
                </a:cubicBezTo>
                <a:cubicBezTo>
                  <a:pt x="163" y="209"/>
                  <a:pt x="163" y="210"/>
                  <a:pt x="164" y="211"/>
                </a:cubicBezTo>
                <a:cubicBezTo>
                  <a:pt x="165" y="212"/>
                  <a:pt x="165" y="212"/>
                  <a:pt x="166" y="212"/>
                </a:cubicBezTo>
                <a:cubicBezTo>
                  <a:pt x="167" y="212"/>
                  <a:pt x="167" y="212"/>
                  <a:pt x="168" y="211"/>
                </a:cubicBezTo>
                <a:cubicBezTo>
                  <a:pt x="169" y="210"/>
                  <a:pt x="169" y="210"/>
                  <a:pt x="169" y="210"/>
                </a:cubicBezTo>
                <a:cubicBezTo>
                  <a:pt x="169" y="210"/>
                  <a:pt x="170" y="210"/>
                  <a:pt x="171" y="210"/>
                </a:cubicBezTo>
                <a:cubicBezTo>
                  <a:pt x="172" y="210"/>
                  <a:pt x="172" y="210"/>
                  <a:pt x="172" y="210"/>
                </a:cubicBezTo>
                <a:cubicBezTo>
                  <a:pt x="173" y="210"/>
                  <a:pt x="176" y="210"/>
                  <a:pt x="178" y="208"/>
                </a:cubicBezTo>
                <a:cubicBezTo>
                  <a:pt x="178" y="207"/>
                  <a:pt x="179" y="206"/>
                  <a:pt x="179" y="205"/>
                </a:cubicBezTo>
                <a:cubicBezTo>
                  <a:pt x="179" y="205"/>
                  <a:pt x="179" y="204"/>
                  <a:pt x="179" y="204"/>
                </a:cubicBezTo>
                <a:cubicBezTo>
                  <a:pt x="179" y="202"/>
                  <a:pt x="178" y="201"/>
                  <a:pt x="178" y="200"/>
                </a:cubicBezTo>
                <a:cubicBezTo>
                  <a:pt x="177" y="199"/>
                  <a:pt x="176" y="199"/>
                  <a:pt x="175" y="198"/>
                </a:cubicBezTo>
                <a:cubicBezTo>
                  <a:pt x="175" y="198"/>
                  <a:pt x="174" y="197"/>
                  <a:pt x="174" y="197"/>
                </a:cubicBezTo>
                <a:cubicBezTo>
                  <a:pt x="174" y="197"/>
                  <a:pt x="173" y="197"/>
                  <a:pt x="173" y="197"/>
                </a:cubicBezTo>
                <a:cubicBezTo>
                  <a:pt x="173" y="197"/>
                  <a:pt x="174" y="197"/>
                  <a:pt x="174" y="196"/>
                </a:cubicBezTo>
                <a:cubicBezTo>
                  <a:pt x="174" y="196"/>
                  <a:pt x="175" y="196"/>
                  <a:pt x="176" y="196"/>
                </a:cubicBezTo>
                <a:cubicBezTo>
                  <a:pt x="177" y="196"/>
                  <a:pt x="177" y="196"/>
                  <a:pt x="178" y="196"/>
                </a:cubicBezTo>
                <a:cubicBezTo>
                  <a:pt x="178" y="196"/>
                  <a:pt x="178" y="196"/>
                  <a:pt x="178" y="196"/>
                </a:cubicBezTo>
                <a:cubicBezTo>
                  <a:pt x="178" y="196"/>
                  <a:pt x="178" y="196"/>
                  <a:pt x="178" y="196"/>
                </a:cubicBezTo>
                <a:cubicBezTo>
                  <a:pt x="178" y="196"/>
                  <a:pt x="178" y="196"/>
                  <a:pt x="178" y="196"/>
                </a:cubicBezTo>
                <a:cubicBezTo>
                  <a:pt x="180" y="196"/>
                  <a:pt x="180" y="197"/>
                  <a:pt x="180" y="197"/>
                </a:cubicBezTo>
                <a:cubicBezTo>
                  <a:pt x="180" y="197"/>
                  <a:pt x="180" y="197"/>
                  <a:pt x="180" y="197"/>
                </a:cubicBezTo>
                <a:cubicBezTo>
                  <a:pt x="181" y="198"/>
                  <a:pt x="182" y="199"/>
                  <a:pt x="183" y="199"/>
                </a:cubicBezTo>
                <a:cubicBezTo>
                  <a:pt x="185" y="198"/>
                  <a:pt x="185" y="197"/>
                  <a:pt x="185" y="196"/>
                </a:cubicBezTo>
                <a:close/>
                <a:moveTo>
                  <a:pt x="101" y="212"/>
                </a:moveTo>
                <a:cubicBezTo>
                  <a:pt x="108" y="215"/>
                  <a:pt x="108" y="215"/>
                  <a:pt x="108" y="215"/>
                </a:cubicBezTo>
                <a:cubicBezTo>
                  <a:pt x="96" y="227"/>
                  <a:pt x="96" y="227"/>
                  <a:pt x="96" y="227"/>
                </a:cubicBezTo>
                <a:cubicBezTo>
                  <a:pt x="96" y="228"/>
                  <a:pt x="96" y="228"/>
                  <a:pt x="96" y="228"/>
                </a:cubicBezTo>
                <a:cubicBezTo>
                  <a:pt x="94" y="230"/>
                  <a:pt x="93" y="233"/>
                  <a:pt x="93" y="236"/>
                </a:cubicBezTo>
                <a:cubicBezTo>
                  <a:pt x="93" y="241"/>
                  <a:pt x="96" y="246"/>
                  <a:pt x="101" y="247"/>
                </a:cubicBezTo>
                <a:cubicBezTo>
                  <a:pt x="108" y="250"/>
                  <a:pt x="108" y="250"/>
                  <a:pt x="108" y="250"/>
                </a:cubicBezTo>
                <a:cubicBezTo>
                  <a:pt x="96" y="263"/>
                  <a:pt x="96" y="263"/>
                  <a:pt x="96" y="263"/>
                </a:cubicBezTo>
                <a:cubicBezTo>
                  <a:pt x="96" y="263"/>
                  <a:pt x="96" y="263"/>
                  <a:pt x="96" y="263"/>
                </a:cubicBezTo>
                <a:cubicBezTo>
                  <a:pt x="94" y="265"/>
                  <a:pt x="93" y="268"/>
                  <a:pt x="93" y="271"/>
                </a:cubicBezTo>
                <a:cubicBezTo>
                  <a:pt x="93" y="276"/>
                  <a:pt x="96" y="281"/>
                  <a:pt x="101" y="282"/>
                </a:cubicBezTo>
                <a:cubicBezTo>
                  <a:pt x="108" y="285"/>
                  <a:pt x="108" y="285"/>
                  <a:pt x="108" y="285"/>
                </a:cubicBezTo>
                <a:cubicBezTo>
                  <a:pt x="96" y="298"/>
                  <a:pt x="96" y="298"/>
                  <a:pt x="96" y="298"/>
                </a:cubicBezTo>
                <a:cubicBezTo>
                  <a:pt x="96" y="298"/>
                  <a:pt x="96" y="298"/>
                  <a:pt x="96" y="298"/>
                </a:cubicBezTo>
                <a:cubicBezTo>
                  <a:pt x="94" y="300"/>
                  <a:pt x="93" y="303"/>
                  <a:pt x="93" y="306"/>
                </a:cubicBezTo>
                <a:cubicBezTo>
                  <a:pt x="93" y="311"/>
                  <a:pt x="96" y="316"/>
                  <a:pt x="101" y="317"/>
                </a:cubicBezTo>
                <a:cubicBezTo>
                  <a:pt x="202" y="356"/>
                  <a:pt x="202" y="356"/>
                  <a:pt x="202" y="356"/>
                </a:cubicBezTo>
                <a:cubicBezTo>
                  <a:pt x="204" y="356"/>
                  <a:pt x="206" y="357"/>
                  <a:pt x="207" y="357"/>
                </a:cubicBezTo>
                <a:cubicBezTo>
                  <a:pt x="212" y="357"/>
                  <a:pt x="216" y="355"/>
                  <a:pt x="220" y="351"/>
                </a:cubicBezTo>
                <a:cubicBezTo>
                  <a:pt x="252" y="314"/>
                  <a:pt x="252" y="314"/>
                  <a:pt x="252" y="314"/>
                </a:cubicBezTo>
                <a:cubicBezTo>
                  <a:pt x="253" y="312"/>
                  <a:pt x="255" y="309"/>
                  <a:pt x="255" y="306"/>
                </a:cubicBezTo>
                <a:cubicBezTo>
                  <a:pt x="255" y="301"/>
                  <a:pt x="251" y="297"/>
                  <a:pt x="247" y="295"/>
                </a:cubicBezTo>
                <a:cubicBezTo>
                  <a:pt x="241" y="292"/>
                  <a:pt x="241" y="292"/>
                  <a:pt x="241" y="292"/>
                </a:cubicBezTo>
                <a:cubicBezTo>
                  <a:pt x="252" y="279"/>
                  <a:pt x="252" y="279"/>
                  <a:pt x="252" y="279"/>
                </a:cubicBezTo>
                <a:cubicBezTo>
                  <a:pt x="253" y="277"/>
                  <a:pt x="255" y="274"/>
                  <a:pt x="255" y="271"/>
                </a:cubicBezTo>
                <a:cubicBezTo>
                  <a:pt x="255" y="266"/>
                  <a:pt x="251" y="261"/>
                  <a:pt x="247" y="260"/>
                </a:cubicBezTo>
                <a:cubicBezTo>
                  <a:pt x="241" y="256"/>
                  <a:pt x="241" y="256"/>
                  <a:pt x="241" y="256"/>
                </a:cubicBezTo>
                <a:cubicBezTo>
                  <a:pt x="252" y="244"/>
                  <a:pt x="252" y="244"/>
                  <a:pt x="252" y="244"/>
                </a:cubicBezTo>
                <a:cubicBezTo>
                  <a:pt x="253" y="242"/>
                  <a:pt x="255" y="239"/>
                  <a:pt x="255" y="235"/>
                </a:cubicBezTo>
                <a:cubicBezTo>
                  <a:pt x="255" y="231"/>
                  <a:pt x="251" y="226"/>
                  <a:pt x="247" y="225"/>
                </a:cubicBezTo>
                <a:cubicBezTo>
                  <a:pt x="241" y="221"/>
                  <a:pt x="241" y="221"/>
                  <a:pt x="241" y="221"/>
                </a:cubicBezTo>
                <a:cubicBezTo>
                  <a:pt x="252" y="208"/>
                  <a:pt x="252" y="208"/>
                  <a:pt x="252" y="208"/>
                </a:cubicBezTo>
                <a:cubicBezTo>
                  <a:pt x="253" y="206"/>
                  <a:pt x="255" y="203"/>
                  <a:pt x="255" y="200"/>
                </a:cubicBezTo>
                <a:cubicBezTo>
                  <a:pt x="255" y="195"/>
                  <a:pt x="251" y="191"/>
                  <a:pt x="247" y="189"/>
                </a:cubicBezTo>
                <a:cubicBezTo>
                  <a:pt x="145" y="151"/>
                  <a:pt x="145" y="151"/>
                  <a:pt x="145" y="151"/>
                </a:cubicBezTo>
                <a:cubicBezTo>
                  <a:pt x="144" y="150"/>
                  <a:pt x="142" y="150"/>
                  <a:pt x="140" y="150"/>
                </a:cubicBezTo>
                <a:cubicBezTo>
                  <a:pt x="135" y="150"/>
                  <a:pt x="131" y="152"/>
                  <a:pt x="127" y="156"/>
                </a:cubicBezTo>
                <a:cubicBezTo>
                  <a:pt x="96" y="192"/>
                  <a:pt x="96" y="192"/>
                  <a:pt x="96" y="192"/>
                </a:cubicBezTo>
                <a:cubicBezTo>
                  <a:pt x="94" y="195"/>
                  <a:pt x="93" y="197"/>
                  <a:pt x="93" y="201"/>
                </a:cubicBezTo>
                <a:cubicBezTo>
                  <a:pt x="93" y="206"/>
                  <a:pt x="96" y="210"/>
                  <a:pt x="101" y="212"/>
                </a:cubicBezTo>
                <a:close/>
                <a:moveTo>
                  <a:pt x="208" y="340"/>
                </a:moveTo>
                <a:cubicBezTo>
                  <a:pt x="208" y="340"/>
                  <a:pt x="208" y="340"/>
                  <a:pt x="208" y="340"/>
                </a:cubicBezTo>
                <a:cubicBezTo>
                  <a:pt x="208" y="340"/>
                  <a:pt x="208" y="341"/>
                  <a:pt x="207" y="341"/>
                </a:cubicBezTo>
                <a:cubicBezTo>
                  <a:pt x="112" y="305"/>
                  <a:pt x="112" y="305"/>
                  <a:pt x="112" y="305"/>
                </a:cubicBezTo>
                <a:cubicBezTo>
                  <a:pt x="125" y="291"/>
                  <a:pt x="125" y="291"/>
                  <a:pt x="125" y="291"/>
                </a:cubicBezTo>
                <a:cubicBezTo>
                  <a:pt x="202" y="320"/>
                  <a:pt x="202" y="320"/>
                  <a:pt x="202" y="320"/>
                </a:cubicBezTo>
                <a:cubicBezTo>
                  <a:pt x="204" y="321"/>
                  <a:pt x="206" y="321"/>
                  <a:pt x="207" y="321"/>
                </a:cubicBezTo>
                <a:cubicBezTo>
                  <a:pt x="212" y="321"/>
                  <a:pt x="216" y="320"/>
                  <a:pt x="220" y="316"/>
                </a:cubicBezTo>
                <a:cubicBezTo>
                  <a:pt x="230" y="304"/>
                  <a:pt x="230" y="304"/>
                  <a:pt x="230" y="304"/>
                </a:cubicBezTo>
                <a:cubicBezTo>
                  <a:pt x="236" y="307"/>
                  <a:pt x="236" y="307"/>
                  <a:pt x="236" y="307"/>
                </a:cubicBezTo>
                <a:lnTo>
                  <a:pt x="208" y="340"/>
                </a:lnTo>
                <a:close/>
                <a:moveTo>
                  <a:pt x="208" y="305"/>
                </a:moveTo>
                <a:cubicBezTo>
                  <a:pt x="208" y="305"/>
                  <a:pt x="208" y="305"/>
                  <a:pt x="208" y="305"/>
                </a:cubicBezTo>
                <a:cubicBezTo>
                  <a:pt x="208" y="305"/>
                  <a:pt x="208" y="305"/>
                  <a:pt x="207" y="305"/>
                </a:cubicBezTo>
                <a:cubicBezTo>
                  <a:pt x="112" y="269"/>
                  <a:pt x="112" y="269"/>
                  <a:pt x="112" y="269"/>
                </a:cubicBezTo>
                <a:cubicBezTo>
                  <a:pt x="125" y="256"/>
                  <a:pt x="125" y="256"/>
                  <a:pt x="125" y="256"/>
                </a:cubicBezTo>
                <a:cubicBezTo>
                  <a:pt x="202" y="285"/>
                  <a:pt x="202" y="285"/>
                  <a:pt x="202" y="285"/>
                </a:cubicBezTo>
                <a:cubicBezTo>
                  <a:pt x="204" y="286"/>
                  <a:pt x="206" y="286"/>
                  <a:pt x="207" y="286"/>
                </a:cubicBezTo>
                <a:cubicBezTo>
                  <a:pt x="212" y="286"/>
                  <a:pt x="216" y="284"/>
                  <a:pt x="220" y="280"/>
                </a:cubicBezTo>
                <a:cubicBezTo>
                  <a:pt x="230" y="269"/>
                  <a:pt x="230" y="269"/>
                  <a:pt x="230" y="269"/>
                </a:cubicBezTo>
                <a:cubicBezTo>
                  <a:pt x="236" y="272"/>
                  <a:pt x="236" y="272"/>
                  <a:pt x="236" y="272"/>
                </a:cubicBezTo>
                <a:lnTo>
                  <a:pt x="208" y="305"/>
                </a:lnTo>
                <a:close/>
                <a:moveTo>
                  <a:pt x="208" y="270"/>
                </a:moveTo>
                <a:cubicBezTo>
                  <a:pt x="208" y="270"/>
                  <a:pt x="208" y="270"/>
                  <a:pt x="208" y="270"/>
                </a:cubicBezTo>
                <a:cubicBezTo>
                  <a:pt x="208" y="270"/>
                  <a:pt x="208" y="270"/>
                  <a:pt x="207" y="270"/>
                </a:cubicBezTo>
                <a:cubicBezTo>
                  <a:pt x="112" y="234"/>
                  <a:pt x="112" y="234"/>
                  <a:pt x="112" y="234"/>
                </a:cubicBezTo>
                <a:cubicBezTo>
                  <a:pt x="125" y="221"/>
                  <a:pt x="125" y="221"/>
                  <a:pt x="125" y="221"/>
                </a:cubicBezTo>
                <a:cubicBezTo>
                  <a:pt x="202" y="250"/>
                  <a:pt x="202" y="250"/>
                  <a:pt x="202" y="250"/>
                </a:cubicBezTo>
                <a:cubicBezTo>
                  <a:pt x="204" y="251"/>
                  <a:pt x="206" y="251"/>
                  <a:pt x="207" y="251"/>
                </a:cubicBezTo>
                <a:cubicBezTo>
                  <a:pt x="212" y="251"/>
                  <a:pt x="216" y="249"/>
                  <a:pt x="220" y="245"/>
                </a:cubicBezTo>
                <a:cubicBezTo>
                  <a:pt x="214" y="240"/>
                  <a:pt x="214" y="240"/>
                  <a:pt x="214" y="240"/>
                </a:cubicBezTo>
                <a:cubicBezTo>
                  <a:pt x="220" y="245"/>
                  <a:pt x="220" y="245"/>
                  <a:pt x="220" y="245"/>
                </a:cubicBezTo>
                <a:cubicBezTo>
                  <a:pt x="230" y="234"/>
                  <a:pt x="230" y="234"/>
                  <a:pt x="230" y="234"/>
                </a:cubicBezTo>
                <a:cubicBezTo>
                  <a:pt x="236" y="237"/>
                  <a:pt x="236" y="237"/>
                  <a:pt x="236" y="237"/>
                </a:cubicBezTo>
                <a:lnTo>
                  <a:pt x="208" y="270"/>
                </a:lnTo>
                <a:close/>
                <a:moveTo>
                  <a:pt x="139" y="166"/>
                </a:moveTo>
                <a:cubicBezTo>
                  <a:pt x="139" y="166"/>
                  <a:pt x="139" y="166"/>
                  <a:pt x="139" y="166"/>
                </a:cubicBezTo>
                <a:cubicBezTo>
                  <a:pt x="140" y="166"/>
                  <a:pt x="140" y="166"/>
                  <a:pt x="140" y="166"/>
                </a:cubicBezTo>
                <a:cubicBezTo>
                  <a:pt x="236" y="202"/>
                  <a:pt x="236" y="202"/>
                  <a:pt x="236" y="202"/>
                </a:cubicBezTo>
                <a:cubicBezTo>
                  <a:pt x="208" y="235"/>
                  <a:pt x="208" y="235"/>
                  <a:pt x="208" y="235"/>
                </a:cubicBezTo>
                <a:cubicBezTo>
                  <a:pt x="208" y="235"/>
                  <a:pt x="208" y="235"/>
                  <a:pt x="208" y="235"/>
                </a:cubicBezTo>
                <a:cubicBezTo>
                  <a:pt x="208" y="235"/>
                  <a:pt x="208" y="235"/>
                  <a:pt x="207" y="235"/>
                </a:cubicBezTo>
                <a:cubicBezTo>
                  <a:pt x="112" y="199"/>
                  <a:pt x="112" y="199"/>
                  <a:pt x="112" y="199"/>
                </a:cubicBezTo>
                <a:lnTo>
                  <a:pt x="139" y="166"/>
                </a:lnTo>
                <a:close/>
                <a:moveTo>
                  <a:pt x="386" y="388"/>
                </a:moveTo>
                <a:cubicBezTo>
                  <a:pt x="37" y="388"/>
                  <a:pt x="37" y="388"/>
                  <a:pt x="37" y="388"/>
                </a:cubicBezTo>
                <a:cubicBezTo>
                  <a:pt x="37" y="388"/>
                  <a:pt x="37" y="388"/>
                  <a:pt x="37" y="388"/>
                </a:cubicBezTo>
                <a:cubicBezTo>
                  <a:pt x="35" y="388"/>
                  <a:pt x="34" y="387"/>
                  <a:pt x="34" y="385"/>
                </a:cubicBezTo>
                <a:cubicBezTo>
                  <a:pt x="34" y="65"/>
                  <a:pt x="34" y="65"/>
                  <a:pt x="34" y="65"/>
                </a:cubicBezTo>
                <a:cubicBezTo>
                  <a:pt x="43" y="65"/>
                  <a:pt x="43" y="65"/>
                  <a:pt x="43" y="65"/>
                </a:cubicBezTo>
                <a:cubicBezTo>
                  <a:pt x="46" y="65"/>
                  <a:pt x="48" y="64"/>
                  <a:pt x="50" y="62"/>
                </a:cubicBezTo>
                <a:cubicBezTo>
                  <a:pt x="51" y="60"/>
                  <a:pt x="52" y="57"/>
                  <a:pt x="51" y="54"/>
                </a:cubicBezTo>
                <a:cubicBezTo>
                  <a:pt x="33" y="5"/>
                  <a:pt x="33" y="5"/>
                  <a:pt x="33" y="5"/>
                </a:cubicBezTo>
                <a:cubicBezTo>
                  <a:pt x="32" y="2"/>
                  <a:pt x="29" y="0"/>
                  <a:pt x="26" y="0"/>
                </a:cubicBezTo>
                <a:cubicBezTo>
                  <a:pt x="22" y="0"/>
                  <a:pt x="19" y="2"/>
                  <a:pt x="18" y="5"/>
                </a:cubicBezTo>
                <a:cubicBezTo>
                  <a:pt x="1" y="55"/>
                  <a:pt x="1" y="55"/>
                  <a:pt x="1" y="55"/>
                </a:cubicBezTo>
                <a:cubicBezTo>
                  <a:pt x="0" y="57"/>
                  <a:pt x="0" y="60"/>
                  <a:pt x="2" y="62"/>
                </a:cubicBezTo>
                <a:cubicBezTo>
                  <a:pt x="3" y="64"/>
                  <a:pt x="6" y="65"/>
                  <a:pt x="8" y="65"/>
                </a:cubicBezTo>
                <a:cubicBezTo>
                  <a:pt x="9" y="65"/>
                  <a:pt x="9" y="65"/>
                  <a:pt x="9" y="65"/>
                </a:cubicBezTo>
                <a:cubicBezTo>
                  <a:pt x="18" y="65"/>
                  <a:pt x="18" y="65"/>
                  <a:pt x="18" y="65"/>
                </a:cubicBezTo>
                <a:cubicBezTo>
                  <a:pt x="18" y="385"/>
                  <a:pt x="18" y="385"/>
                  <a:pt x="18" y="385"/>
                </a:cubicBezTo>
                <a:cubicBezTo>
                  <a:pt x="18" y="396"/>
                  <a:pt x="27" y="404"/>
                  <a:pt x="37" y="404"/>
                </a:cubicBezTo>
                <a:cubicBezTo>
                  <a:pt x="37" y="404"/>
                  <a:pt x="37" y="404"/>
                  <a:pt x="37" y="404"/>
                </a:cubicBezTo>
                <a:cubicBezTo>
                  <a:pt x="386" y="404"/>
                  <a:pt x="386" y="404"/>
                  <a:pt x="386" y="404"/>
                </a:cubicBezTo>
                <a:cubicBezTo>
                  <a:pt x="391" y="404"/>
                  <a:pt x="394" y="401"/>
                  <a:pt x="394" y="396"/>
                </a:cubicBezTo>
                <a:cubicBezTo>
                  <a:pt x="394" y="392"/>
                  <a:pt x="391" y="388"/>
                  <a:pt x="386" y="38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73" name="Freeform 3"/>
          <p:cNvSpPr>
            <a:spLocks noChangeAspect="1" noEditPoints="1"/>
          </p:cNvSpPr>
          <p:nvPr/>
        </p:nvSpPr>
        <p:spPr bwMode="auto">
          <a:xfrm>
            <a:off x="6747394" y="2134618"/>
            <a:ext cx="668593" cy="450848"/>
          </a:xfrm>
          <a:custGeom>
            <a:avLst/>
            <a:gdLst>
              <a:gd name="T0" fmla="*/ 2147483647 w 516"/>
              <a:gd name="T1" fmla="*/ 2147483647 h 348"/>
              <a:gd name="T2" fmla="*/ 2147483647 w 516"/>
              <a:gd name="T3" fmla="*/ 2147483647 h 348"/>
              <a:gd name="T4" fmla="*/ 2147483647 w 516"/>
              <a:gd name="T5" fmla="*/ 2147483647 h 348"/>
              <a:gd name="T6" fmla="*/ 2147483647 w 516"/>
              <a:gd name="T7" fmla="*/ 2147483647 h 348"/>
              <a:gd name="T8" fmla="*/ 2147483647 w 516"/>
              <a:gd name="T9" fmla="*/ 2147483647 h 348"/>
              <a:gd name="T10" fmla="*/ 2147483647 w 516"/>
              <a:gd name="T11" fmla="*/ 2147483647 h 348"/>
              <a:gd name="T12" fmla="*/ 2147483647 w 516"/>
              <a:gd name="T13" fmla="*/ 2147483647 h 348"/>
              <a:gd name="T14" fmla="*/ 2147483647 w 516"/>
              <a:gd name="T15" fmla="*/ 2147483647 h 348"/>
              <a:gd name="T16" fmla="*/ 2147483647 w 516"/>
              <a:gd name="T17" fmla="*/ 2147483647 h 348"/>
              <a:gd name="T18" fmla="*/ 2147483647 w 516"/>
              <a:gd name="T19" fmla="*/ 2147483647 h 348"/>
              <a:gd name="T20" fmla="*/ 2147483647 w 516"/>
              <a:gd name="T21" fmla="*/ 2147483647 h 348"/>
              <a:gd name="T22" fmla="*/ 2147483647 w 516"/>
              <a:gd name="T23" fmla="*/ 2147483647 h 348"/>
              <a:gd name="T24" fmla="*/ 2147483647 w 516"/>
              <a:gd name="T25" fmla="*/ 2147483647 h 348"/>
              <a:gd name="T26" fmla="*/ 2147483647 w 516"/>
              <a:gd name="T27" fmla="*/ 2147483647 h 348"/>
              <a:gd name="T28" fmla="*/ 2147483647 w 516"/>
              <a:gd name="T29" fmla="*/ 2147483647 h 348"/>
              <a:gd name="T30" fmla="*/ 2147483647 w 516"/>
              <a:gd name="T31" fmla="*/ 2147483647 h 348"/>
              <a:gd name="T32" fmla="*/ 2147483647 w 516"/>
              <a:gd name="T33" fmla="*/ 2147483647 h 348"/>
              <a:gd name="T34" fmla="*/ 2147483647 w 516"/>
              <a:gd name="T35" fmla="*/ 2147483647 h 348"/>
              <a:gd name="T36" fmla="*/ 2147483647 w 516"/>
              <a:gd name="T37" fmla="*/ 2147483647 h 348"/>
              <a:gd name="T38" fmla="*/ 2147483647 w 516"/>
              <a:gd name="T39" fmla="*/ 2147483647 h 348"/>
              <a:gd name="T40" fmla="*/ 2147483647 w 516"/>
              <a:gd name="T41" fmla="*/ 2147483647 h 348"/>
              <a:gd name="T42" fmla="*/ 2147483647 w 516"/>
              <a:gd name="T43" fmla="*/ 2147483647 h 348"/>
              <a:gd name="T44" fmla="*/ 2147483647 w 516"/>
              <a:gd name="T45" fmla="*/ 2147483647 h 348"/>
              <a:gd name="T46" fmla="*/ 2147483647 w 516"/>
              <a:gd name="T47" fmla="*/ 2147483647 h 348"/>
              <a:gd name="T48" fmla="*/ 2147483647 w 516"/>
              <a:gd name="T49" fmla="*/ 2147483647 h 348"/>
              <a:gd name="T50" fmla="*/ 2147483647 w 516"/>
              <a:gd name="T51" fmla="*/ 2147483647 h 348"/>
              <a:gd name="T52" fmla="*/ 2147483647 w 516"/>
              <a:gd name="T53" fmla="*/ 2147483647 h 348"/>
              <a:gd name="T54" fmla="*/ 2147483647 w 516"/>
              <a:gd name="T55" fmla="*/ 2147483647 h 348"/>
              <a:gd name="T56" fmla="*/ 2147483647 w 516"/>
              <a:gd name="T57" fmla="*/ 2147483647 h 348"/>
              <a:gd name="T58" fmla="*/ 2147483647 w 516"/>
              <a:gd name="T59" fmla="*/ 2147483647 h 348"/>
              <a:gd name="T60" fmla="*/ 2147483647 w 516"/>
              <a:gd name="T61" fmla="*/ 2147483647 h 348"/>
              <a:gd name="T62" fmla="*/ 2147483647 w 516"/>
              <a:gd name="T63" fmla="*/ 2147483647 h 348"/>
              <a:gd name="T64" fmla="*/ 2147483647 w 516"/>
              <a:gd name="T65" fmla="*/ 2147483647 h 348"/>
              <a:gd name="T66" fmla="*/ 2147483647 w 516"/>
              <a:gd name="T67" fmla="*/ 2147483647 h 348"/>
              <a:gd name="T68" fmla="*/ 2147483647 w 516"/>
              <a:gd name="T69" fmla="*/ 2147483647 h 348"/>
              <a:gd name="T70" fmla="*/ 2147483647 w 516"/>
              <a:gd name="T71" fmla="*/ 2147483647 h 348"/>
              <a:gd name="T72" fmla="*/ 2147483647 w 516"/>
              <a:gd name="T73" fmla="*/ 2147483647 h 348"/>
              <a:gd name="T74" fmla="*/ 2147483647 w 516"/>
              <a:gd name="T75" fmla="*/ 2147483647 h 348"/>
              <a:gd name="T76" fmla="*/ 2147483647 w 516"/>
              <a:gd name="T77" fmla="*/ 2147483647 h 348"/>
              <a:gd name="T78" fmla="*/ 2147483647 w 516"/>
              <a:gd name="T79" fmla="*/ 2147483647 h 348"/>
              <a:gd name="T80" fmla="*/ 2147483647 w 516"/>
              <a:gd name="T81" fmla="*/ 2147483647 h 348"/>
              <a:gd name="T82" fmla="*/ 2147483647 w 516"/>
              <a:gd name="T83" fmla="*/ 2147483647 h 348"/>
              <a:gd name="T84" fmla="*/ 2147483647 w 516"/>
              <a:gd name="T85" fmla="*/ 2147483647 h 348"/>
              <a:gd name="T86" fmla="*/ 2147483647 w 516"/>
              <a:gd name="T87" fmla="*/ 2147483647 h 348"/>
              <a:gd name="T88" fmla="*/ 2147483647 w 516"/>
              <a:gd name="T89" fmla="*/ 2147483647 h 348"/>
              <a:gd name="T90" fmla="*/ 2147483647 w 516"/>
              <a:gd name="T91" fmla="*/ 2147483647 h 348"/>
              <a:gd name="T92" fmla="*/ 2147483647 w 516"/>
              <a:gd name="T93" fmla="*/ 2147483647 h 348"/>
              <a:gd name="T94" fmla="*/ 2147483647 w 516"/>
              <a:gd name="T95" fmla="*/ 2147483647 h 348"/>
              <a:gd name="T96" fmla="*/ 2147483647 w 516"/>
              <a:gd name="T97" fmla="*/ 2147483647 h 348"/>
              <a:gd name="T98" fmla="*/ 2147483647 w 516"/>
              <a:gd name="T99" fmla="*/ 2147483647 h 348"/>
              <a:gd name="T100" fmla="*/ 2147483647 w 516"/>
              <a:gd name="T101" fmla="*/ 2147483647 h 348"/>
              <a:gd name="T102" fmla="*/ 2147483647 w 516"/>
              <a:gd name="T103" fmla="*/ 2147483647 h 348"/>
              <a:gd name="T104" fmla="*/ 2147483647 w 516"/>
              <a:gd name="T105" fmla="*/ 2147483647 h 348"/>
              <a:gd name="T106" fmla="*/ 2147483647 w 516"/>
              <a:gd name="T107" fmla="*/ 2147483647 h 348"/>
              <a:gd name="T108" fmla="*/ 2147483647 w 516"/>
              <a:gd name="T109" fmla="*/ 2147483647 h 34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16" h="348">
                <a:moveTo>
                  <a:pt x="437" y="46"/>
                </a:moveTo>
                <a:cubicBezTo>
                  <a:pt x="438" y="46"/>
                  <a:pt x="438" y="46"/>
                  <a:pt x="439" y="46"/>
                </a:cubicBezTo>
                <a:cubicBezTo>
                  <a:pt x="439" y="46"/>
                  <a:pt x="439" y="46"/>
                  <a:pt x="439" y="46"/>
                </a:cubicBezTo>
                <a:cubicBezTo>
                  <a:pt x="439" y="46"/>
                  <a:pt x="440" y="46"/>
                  <a:pt x="440" y="46"/>
                </a:cubicBezTo>
                <a:cubicBezTo>
                  <a:pt x="440" y="46"/>
                  <a:pt x="440" y="46"/>
                  <a:pt x="440" y="46"/>
                </a:cubicBezTo>
                <a:cubicBezTo>
                  <a:pt x="441" y="46"/>
                  <a:pt x="441" y="47"/>
                  <a:pt x="441" y="47"/>
                </a:cubicBezTo>
                <a:cubicBezTo>
                  <a:pt x="441" y="47"/>
                  <a:pt x="441" y="47"/>
                  <a:pt x="441" y="47"/>
                </a:cubicBezTo>
                <a:cubicBezTo>
                  <a:pt x="442" y="48"/>
                  <a:pt x="443" y="49"/>
                  <a:pt x="444" y="49"/>
                </a:cubicBezTo>
                <a:cubicBezTo>
                  <a:pt x="446" y="48"/>
                  <a:pt x="446" y="47"/>
                  <a:pt x="446" y="46"/>
                </a:cubicBezTo>
                <a:cubicBezTo>
                  <a:pt x="446" y="46"/>
                  <a:pt x="446" y="46"/>
                  <a:pt x="446" y="46"/>
                </a:cubicBezTo>
                <a:cubicBezTo>
                  <a:pt x="446" y="45"/>
                  <a:pt x="446" y="44"/>
                  <a:pt x="444" y="43"/>
                </a:cubicBezTo>
                <a:cubicBezTo>
                  <a:pt x="445" y="42"/>
                  <a:pt x="445" y="40"/>
                  <a:pt x="444" y="40"/>
                </a:cubicBezTo>
                <a:cubicBezTo>
                  <a:pt x="443" y="39"/>
                  <a:pt x="441" y="39"/>
                  <a:pt x="441" y="40"/>
                </a:cubicBezTo>
                <a:cubicBezTo>
                  <a:pt x="440" y="41"/>
                  <a:pt x="440" y="41"/>
                  <a:pt x="440" y="41"/>
                </a:cubicBezTo>
                <a:cubicBezTo>
                  <a:pt x="439" y="41"/>
                  <a:pt x="438" y="41"/>
                  <a:pt x="437" y="41"/>
                </a:cubicBezTo>
                <a:cubicBezTo>
                  <a:pt x="435" y="41"/>
                  <a:pt x="433" y="41"/>
                  <a:pt x="431" y="43"/>
                </a:cubicBezTo>
                <a:cubicBezTo>
                  <a:pt x="430" y="44"/>
                  <a:pt x="430" y="46"/>
                  <a:pt x="430" y="47"/>
                </a:cubicBezTo>
                <a:cubicBezTo>
                  <a:pt x="430" y="49"/>
                  <a:pt x="431" y="50"/>
                  <a:pt x="431" y="51"/>
                </a:cubicBezTo>
                <a:cubicBezTo>
                  <a:pt x="432" y="52"/>
                  <a:pt x="433" y="52"/>
                  <a:pt x="434" y="52"/>
                </a:cubicBezTo>
                <a:cubicBezTo>
                  <a:pt x="434" y="53"/>
                  <a:pt x="435" y="53"/>
                  <a:pt x="435" y="53"/>
                </a:cubicBezTo>
                <a:cubicBezTo>
                  <a:pt x="435" y="54"/>
                  <a:pt x="435" y="54"/>
                  <a:pt x="435" y="54"/>
                </a:cubicBezTo>
                <a:cubicBezTo>
                  <a:pt x="435" y="54"/>
                  <a:pt x="435" y="54"/>
                  <a:pt x="435" y="54"/>
                </a:cubicBezTo>
                <a:cubicBezTo>
                  <a:pt x="435" y="54"/>
                  <a:pt x="435" y="54"/>
                  <a:pt x="435" y="54"/>
                </a:cubicBezTo>
                <a:cubicBezTo>
                  <a:pt x="435" y="54"/>
                  <a:pt x="435" y="54"/>
                  <a:pt x="435" y="54"/>
                </a:cubicBezTo>
                <a:cubicBezTo>
                  <a:pt x="435" y="55"/>
                  <a:pt x="434" y="55"/>
                  <a:pt x="433" y="55"/>
                </a:cubicBezTo>
                <a:cubicBezTo>
                  <a:pt x="432" y="55"/>
                  <a:pt x="431" y="55"/>
                  <a:pt x="431" y="55"/>
                </a:cubicBezTo>
                <a:cubicBezTo>
                  <a:pt x="430" y="55"/>
                  <a:pt x="430" y="55"/>
                  <a:pt x="430" y="55"/>
                </a:cubicBezTo>
                <a:cubicBezTo>
                  <a:pt x="430" y="55"/>
                  <a:pt x="430" y="55"/>
                  <a:pt x="430" y="55"/>
                </a:cubicBezTo>
                <a:cubicBezTo>
                  <a:pt x="430" y="55"/>
                  <a:pt x="430" y="55"/>
                  <a:pt x="430" y="55"/>
                </a:cubicBezTo>
                <a:cubicBezTo>
                  <a:pt x="429" y="55"/>
                  <a:pt x="428" y="54"/>
                  <a:pt x="428" y="53"/>
                </a:cubicBezTo>
                <a:cubicBezTo>
                  <a:pt x="428" y="53"/>
                  <a:pt x="428" y="53"/>
                  <a:pt x="428" y="53"/>
                </a:cubicBezTo>
                <a:cubicBezTo>
                  <a:pt x="427" y="53"/>
                  <a:pt x="427" y="53"/>
                  <a:pt x="427" y="53"/>
                </a:cubicBezTo>
                <a:cubicBezTo>
                  <a:pt x="427" y="51"/>
                  <a:pt x="426" y="51"/>
                  <a:pt x="424" y="51"/>
                </a:cubicBezTo>
                <a:cubicBezTo>
                  <a:pt x="423" y="52"/>
                  <a:pt x="422" y="53"/>
                  <a:pt x="423" y="54"/>
                </a:cubicBezTo>
                <a:cubicBezTo>
                  <a:pt x="423" y="54"/>
                  <a:pt x="424" y="56"/>
                  <a:pt x="425" y="58"/>
                </a:cubicBezTo>
                <a:cubicBezTo>
                  <a:pt x="425" y="58"/>
                  <a:pt x="425" y="58"/>
                  <a:pt x="425" y="58"/>
                </a:cubicBezTo>
                <a:cubicBezTo>
                  <a:pt x="424" y="59"/>
                  <a:pt x="424" y="60"/>
                  <a:pt x="425" y="61"/>
                </a:cubicBezTo>
                <a:cubicBezTo>
                  <a:pt x="426" y="62"/>
                  <a:pt x="426" y="62"/>
                  <a:pt x="427" y="62"/>
                </a:cubicBezTo>
                <a:cubicBezTo>
                  <a:pt x="428" y="62"/>
                  <a:pt x="428" y="62"/>
                  <a:pt x="429" y="61"/>
                </a:cubicBezTo>
                <a:cubicBezTo>
                  <a:pt x="430" y="60"/>
                  <a:pt x="430" y="60"/>
                  <a:pt x="430" y="60"/>
                </a:cubicBezTo>
                <a:cubicBezTo>
                  <a:pt x="431" y="60"/>
                  <a:pt x="431" y="60"/>
                  <a:pt x="433" y="60"/>
                </a:cubicBezTo>
                <a:cubicBezTo>
                  <a:pt x="433" y="60"/>
                  <a:pt x="433" y="60"/>
                  <a:pt x="433" y="60"/>
                </a:cubicBezTo>
                <a:cubicBezTo>
                  <a:pt x="435" y="60"/>
                  <a:pt x="437" y="60"/>
                  <a:pt x="439" y="58"/>
                </a:cubicBezTo>
                <a:cubicBezTo>
                  <a:pt x="439" y="57"/>
                  <a:pt x="440" y="56"/>
                  <a:pt x="440" y="55"/>
                </a:cubicBezTo>
                <a:cubicBezTo>
                  <a:pt x="440" y="55"/>
                  <a:pt x="440" y="54"/>
                  <a:pt x="440" y="54"/>
                </a:cubicBezTo>
                <a:cubicBezTo>
                  <a:pt x="440" y="52"/>
                  <a:pt x="439" y="51"/>
                  <a:pt x="439" y="50"/>
                </a:cubicBezTo>
                <a:cubicBezTo>
                  <a:pt x="438" y="49"/>
                  <a:pt x="437" y="49"/>
                  <a:pt x="436" y="48"/>
                </a:cubicBezTo>
                <a:cubicBezTo>
                  <a:pt x="436" y="48"/>
                  <a:pt x="435" y="47"/>
                  <a:pt x="435" y="47"/>
                </a:cubicBezTo>
                <a:cubicBezTo>
                  <a:pt x="435" y="47"/>
                  <a:pt x="435" y="47"/>
                  <a:pt x="434" y="47"/>
                </a:cubicBezTo>
                <a:cubicBezTo>
                  <a:pt x="435" y="47"/>
                  <a:pt x="435" y="47"/>
                  <a:pt x="435" y="46"/>
                </a:cubicBezTo>
                <a:cubicBezTo>
                  <a:pt x="435" y="46"/>
                  <a:pt x="436" y="46"/>
                  <a:pt x="437" y="46"/>
                </a:cubicBezTo>
                <a:close/>
                <a:moveTo>
                  <a:pt x="93" y="151"/>
                </a:moveTo>
                <a:cubicBezTo>
                  <a:pt x="93" y="151"/>
                  <a:pt x="92" y="150"/>
                  <a:pt x="91" y="149"/>
                </a:cubicBezTo>
                <a:cubicBezTo>
                  <a:pt x="92" y="148"/>
                  <a:pt x="92" y="146"/>
                  <a:pt x="91" y="145"/>
                </a:cubicBezTo>
                <a:cubicBezTo>
                  <a:pt x="90" y="144"/>
                  <a:pt x="88" y="145"/>
                  <a:pt x="87" y="146"/>
                </a:cubicBezTo>
                <a:cubicBezTo>
                  <a:pt x="86" y="147"/>
                  <a:pt x="86" y="147"/>
                  <a:pt x="86" y="147"/>
                </a:cubicBezTo>
                <a:cubicBezTo>
                  <a:pt x="86" y="147"/>
                  <a:pt x="85" y="146"/>
                  <a:pt x="84" y="146"/>
                </a:cubicBezTo>
                <a:cubicBezTo>
                  <a:pt x="82" y="146"/>
                  <a:pt x="80" y="147"/>
                  <a:pt x="78" y="149"/>
                </a:cubicBezTo>
                <a:cubicBezTo>
                  <a:pt x="77" y="150"/>
                  <a:pt x="76" y="151"/>
                  <a:pt x="76" y="153"/>
                </a:cubicBezTo>
                <a:cubicBezTo>
                  <a:pt x="76" y="155"/>
                  <a:pt x="77" y="156"/>
                  <a:pt x="78" y="157"/>
                </a:cubicBezTo>
                <a:cubicBezTo>
                  <a:pt x="79" y="157"/>
                  <a:pt x="80" y="158"/>
                  <a:pt x="80" y="158"/>
                </a:cubicBezTo>
                <a:cubicBezTo>
                  <a:pt x="81" y="158"/>
                  <a:pt x="82" y="159"/>
                  <a:pt x="82" y="159"/>
                </a:cubicBezTo>
                <a:cubicBezTo>
                  <a:pt x="82" y="159"/>
                  <a:pt x="82" y="160"/>
                  <a:pt x="82" y="160"/>
                </a:cubicBezTo>
                <a:cubicBezTo>
                  <a:pt x="82" y="160"/>
                  <a:pt x="82" y="160"/>
                  <a:pt x="82" y="160"/>
                </a:cubicBezTo>
                <a:cubicBezTo>
                  <a:pt x="82" y="160"/>
                  <a:pt x="82" y="160"/>
                  <a:pt x="82" y="160"/>
                </a:cubicBezTo>
                <a:cubicBezTo>
                  <a:pt x="82" y="160"/>
                  <a:pt x="82" y="160"/>
                  <a:pt x="82" y="160"/>
                </a:cubicBezTo>
                <a:cubicBezTo>
                  <a:pt x="81" y="161"/>
                  <a:pt x="81" y="161"/>
                  <a:pt x="79" y="161"/>
                </a:cubicBezTo>
                <a:cubicBezTo>
                  <a:pt x="79" y="161"/>
                  <a:pt x="78" y="161"/>
                  <a:pt x="77" y="161"/>
                </a:cubicBezTo>
                <a:cubicBezTo>
                  <a:pt x="77" y="161"/>
                  <a:pt x="77" y="161"/>
                  <a:pt x="77" y="161"/>
                </a:cubicBezTo>
                <a:cubicBezTo>
                  <a:pt x="77" y="161"/>
                  <a:pt x="77" y="161"/>
                  <a:pt x="77" y="161"/>
                </a:cubicBezTo>
                <a:cubicBezTo>
                  <a:pt x="77" y="161"/>
                  <a:pt x="77" y="161"/>
                  <a:pt x="77" y="161"/>
                </a:cubicBezTo>
                <a:cubicBezTo>
                  <a:pt x="76" y="160"/>
                  <a:pt x="75" y="160"/>
                  <a:pt x="75" y="159"/>
                </a:cubicBezTo>
                <a:cubicBezTo>
                  <a:pt x="75" y="159"/>
                  <a:pt x="74" y="159"/>
                  <a:pt x="74" y="158"/>
                </a:cubicBezTo>
                <a:cubicBezTo>
                  <a:pt x="74" y="158"/>
                  <a:pt x="74" y="158"/>
                  <a:pt x="74" y="158"/>
                </a:cubicBezTo>
                <a:cubicBezTo>
                  <a:pt x="74" y="157"/>
                  <a:pt x="72" y="156"/>
                  <a:pt x="71" y="157"/>
                </a:cubicBezTo>
                <a:cubicBezTo>
                  <a:pt x="70" y="157"/>
                  <a:pt x="69" y="159"/>
                  <a:pt x="70" y="160"/>
                </a:cubicBezTo>
                <a:cubicBezTo>
                  <a:pt x="70" y="160"/>
                  <a:pt x="70" y="162"/>
                  <a:pt x="72" y="163"/>
                </a:cubicBezTo>
                <a:cubicBezTo>
                  <a:pt x="72" y="164"/>
                  <a:pt x="72" y="164"/>
                  <a:pt x="72" y="164"/>
                </a:cubicBezTo>
                <a:cubicBezTo>
                  <a:pt x="71" y="165"/>
                  <a:pt x="71" y="166"/>
                  <a:pt x="72" y="167"/>
                </a:cubicBezTo>
                <a:cubicBezTo>
                  <a:pt x="73" y="167"/>
                  <a:pt x="73" y="168"/>
                  <a:pt x="74" y="168"/>
                </a:cubicBezTo>
                <a:cubicBezTo>
                  <a:pt x="75" y="168"/>
                  <a:pt x="75" y="167"/>
                  <a:pt x="76" y="167"/>
                </a:cubicBezTo>
                <a:cubicBezTo>
                  <a:pt x="77" y="166"/>
                  <a:pt x="77" y="166"/>
                  <a:pt x="77" y="166"/>
                </a:cubicBezTo>
                <a:cubicBezTo>
                  <a:pt x="77" y="166"/>
                  <a:pt x="78" y="166"/>
                  <a:pt x="79" y="166"/>
                </a:cubicBezTo>
                <a:cubicBezTo>
                  <a:pt x="79" y="166"/>
                  <a:pt x="79" y="166"/>
                  <a:pt x="79" y="166"/>
                </a:cubicBezTo>
                <a:cubicBezTo>
                  <a:pt x="81" y="166"/>
                  <a:pt x="84" y="165"/>
                  <a:pt x="86" y="163"/>
                </a:cubicBezTo>
                <a:cubicBezTo>
                  <a:pt x="86" y="163"/>
                  <a:pt x="87" y="162"/>
                  <a:pt x="87" y="161"/>
                </a:cubicBezTo>
                <a:cubicBezTo>
                  <a:pt x="87" y="161"/>
                  <a:pt x="87" y="160"/>
                  <a:pt x="87" y="160"/>
                </a:cubicBezTo>
                <a:cubicBezTo>
                  <a:pt x="87" y="158"/>
                  <a:pt x="86" y="157"/>
                  <a:pt x="85" y="156"/>
                </a:cubicBezTo>
                <a:cubicBezTo>
                  <a:pt x="85" y="155"/>
                  <a:pt x="84" y="154"/>
                  <a:pt x="83" y="154"/>
                </a:cubicBezTo>
                <a:cubicBezTo>
                  <a:pt x="83" y="154"/>
                  <a:pt x="82" y="153"/>
                  <a:pt x="82" y="153"/>
                </a:cubicBezTo>
                <a:cubicBezTo>
                  <a:pt x="81" y="153"/>
                  <a:pt x="81" y="153"/>
                  <a:pt x="81" y="153"/>
                </a:cubicBezTo>
                <a:cubicBezTo>
                  <a:pt x="81" y="153"/>
                  <a:pt x="81" y="152"/>
                  <a:pt x="82" y="152"/>
                </a:cubicBezTo>
                <a:cubicBezTo>
                  <a:pt x="82" y="152"/>
                  <a:pt x="83" y="151"/>
                  <a:pt x="84" y="151"/>
                </a:cubicBezTo>
                <a:cubicBezTo>
                  <a:pt x="85" y="151"/>
                  <a:pt x="85" y="151"/>
                  <a:pt x="86" y="152"/>
                </a:cubicBezTo>
                <a:cubicBezTo>
                  <a:pt x="86" y="152"/>
                  <a:pt x="86" y="152"/>
                  <a:pt x="86" y="152"/>
                </a:cubicBezTo>
                <a:cubicBezTo>
                  <a:pt x="86" y="152"/>
                  <a:pt x="86" y="152"/>
                  <a:pt x="86" y="152"/>
                </a:cubicBezTo>
                <a:cubicBezTo>
                  <a:pt x="86" y="152"/>
                  <a:pt x="86" y="152"/>
                  <a:pt x="86" y="152"/>
                </a:cubicBezTo>
                <a:cubicBezTo>
                  <a:pt x="88" y="152"/>
                  <a:pt x="88" y="153"/>
                  <a:pt x="88" y="153"/>
                </a:cubicBezTo>
                <a:cubicBezTo>
                  <a:pt x="88" y="153"/>
                  <a:pt x="88" y="153"/>
                  <a:pt x="88" y="153"/>
                </a:cubicBezTo>
                <a:cubicBezTo>
                  <a:pt x="89" y="154"/>
                  <a:pt x="90" y="155"/>
                  <a:pt x="91" y="154"/>
                </a:cubicBezTo>
                <a:cubicBezTo>
                  <a:pt x="93" y="154"/>
                  <a:pt x="93" y="153"/>
                  <a:pt x="93" y="151"/>
                </a:cubicBezTo>
                <a:close/>
                <a:moveTo>
                  <a:pt x="516" y="85"/>
                </a:moveTo>
                <a:cubicBezTo>
                  <a:pt x="516" y="81"/>
                  <a:pt x="512" y="76"/>
                  <a:pt x="508" y="75"/>
                </a:cubicBezTo>
                <a:cubicBezTo>
                  <a:pt x="502" y="71"/>
                  <a:pt x="502" y="71"/>
                  <a:pt x="502" y="71"/>
                </a:cubicBezTo>
                <a:cubicBezTo>
                  <a:pt x="513" y="58"/>
                  <a:pt x="513" y="58"/>
                  <a:pt x="513" y="58"/>
                </a:cubicBezTo>
                <a:cubicBezTo>
                  <a:pt x="514" y="56"/>
                  <a:pt x="516" y="53"/>
                  <a:pt x="516" y="50"/>
                </a:cubicBezTo>
                <a:cubicBezTo>
                  <a:pt x="516" y="45"/>
                  <a:pt x="512" y="41"/>
                  <a:pt x="508" y="39"/>
                </a:cubicBezTo>
                <a:cubicBezTo>
                  <a:pt x="493" y="33"/>
                  <a:pt x="493" y="33"/>
                  <a:pt x="493" y="33"/>
                </a:cubicBezTo>
                <a:cubicBezTo>
                  <a:pt x="488" y="32"/>
                  <a:pt x="484" y="34"/>
                  <a:pt x="482" y="38"/>
                </a:cubicBezTo>
                <a:cubicBezTo>
                  <a:pt x="481" y="42"/>
                  <a:pt x="483" y="47"/>
                  <a:pt x="487" y="48"/>
                </a:cubicBezTo>
                <a:cubicBezTo>
                  <a:pt x="487" y="48"/>
                  <a:pt x="487" y="48"/>
                  <a:pt x="487" y="48"/>
                </a:cubicBezTo>
                <a:cubicBezTo>
                  <a:pt x="497" y="52"/>
                  <a:pt x="497" y="52"/>
                  <a:pt x="497" y="52"/>
                </a:cubicBezTo>
                <a:cubicBezTo>
                  <a:pt x="469" y="85"/>
                  <a:pt x="469" y="85"/>
                  <a:pt x="469" y="85"/>
                </a:cubicBezTo>
                <a:cubicBezTo>
                  <a:pt x="469" y="85"/>
                  <a:pt x="469" y="85"/>
                  <a:pt x="468" y="85"/>
                </a:cubicBezTo>
                <a:cubicBezTo>
                  <a:pt x="373" y="49"/>
                  <a:pt x="373" y="49"/>
                  <a:pt x="373" y="49"/>
                </a:cubicBezTo>
                <a:cubicBezTo>
                  <a:pt x="401" y="16"/>
                  <a:pt x="401" y="16"/>
                  <a:pt x="401" y="16"/>
                </a:cubicBezTo>
                <a:cubicBezTo>
                  <a:pt x="401" y="16"/>
                  <a:pt x="401" y="16"/>
                  <a:pt x="401" y="16"/>
                </a:cubicBezTo>
                <a:cubicBezTo>
                  <a:pt x="455" y="36"/>
                  <a:pt x="455" y="36"/>
                  <a:pt x="455" y="36"/>
                </a:cubicBezTo>
                <a:cubicBezTo>
                  <a:pt x="459" y="38"/>
                  <a:pt x="463" y="36"/>
                  <a:pt x="465" y="32"/>
                </a:cubicBezTo>
                <a:cubicBezTo>
                  <a:pt x="466" y="28"/>
                  <a:pt x="464" y="23"/>
                  <a:pt x="460" y="21"/>
                </a:cubicBezTo>
                <a:cubicBezTo>
                  <a:pt x="407" y="1"/>
                  <a:pt x="407" y="1"/>
                  <a:pt x="407" y="1"/>
                </a:cubicBezTo>
                <a:cubicBezTo>
                  <a:pt x="405" y="0"/>
                  <a:pt x="403" y="0"/>
                  <a:pt x="401" y="0"/>
                </a:cubicBezTo>
                <a:cubicBezTo>
                  <a:pt x="396" y="0"/>
                  <a:pt x="392" y="2"/>
                  <a:pt x="388" y="6"/>
                </a:cubicBezTo>
                <a:cubicBezTo>
                  <a:pt x="357" y="42"/>
                  <a:pt x="357" y="42"/>
                  <a:pt x="357" y="42"/>
                </a:cubicBezTo>
                <a:cubicBezTo>
                  <a:pt x="355" y="45"/>
                  <a:pt x="354" y="47"/>
                  <a:pt x="354" y="51"/>
                </a:cubicBezTo>
                <a:cubicBezTo>
                  <a:pt x="354" y="56"/>
                  <a:pt x="357" y="60"/>
                  <a:pt x="362" y="62"/>
                </a:cubicBezTo>
                <a:cubicBezTo>
                  <a:pt x="369" y="65"/>
                  <a:pt x="369" y="65"/>
                  <a:pt x="369" y="65"/>
                </a:cubicBezTo>
                <a:cubicBezTo>
                  <a:pt x="357" y="77"/>
                  <a:pt x="357" y="77"/>
                  <a:pt x="357" y="77"/>
                </a:cubicBezTo>
                <a:cubicBezTo>
                  <a:pt x="357" y="78"/>
                  <a:pt x="357" y="78"/>
                  <a:pt x="357" y="78"/>
                </a:cubicBezTo>
                <a:cubicBezTo>
                  <a:pt x="355" y="80"/>
                  <a:pt x="354" y="83"/>
                  <a:pt x="354" y="86"/>
                </a:cubicBezTo>
                <a:cubicBezTo>
                  <a:pt x="354" y="91"/>
                  <a:pt x="357" y="96"/>
                  <a:pt x="362" y="97"/>
                </a:cubicBezTo>
                <a:cubicBezTo>
                  <a:pt x="369" y="100"/>
                  <a:pt x="369" y="100"/>
                  <a:pt x="369" y="100"/>
                </a:cubicBezTo>
                <a:cubicBezTo>
                  <a:pt x="357" y="113"/>
                  <a:pt x="357" y="113"/>
                  <a:pt x="357" y="113"/>
                </a:cubicBezTo>
                <a:cubicBezTo>
                  <a:pt x="357" y="113"/>
                  <a:pt x="357" y="113"/>
                  <a:pt x="357" y="113"/>
                </a:cubicBezTo>
                <a:cubicBezTo>
                  <a:pt x="355" y="115"/>
                  <a:pt x="354" y="118"/>
                  <a:pt x="354" y="121"/>
                </a:cubicBezTo>
                <a:cubicBezTo>
                  <a:pt x="354" y="126"/>
                  <a:pt x="357" y="131"/>
                  <a:pt x="362" y="132"/>
                </a:cubicBezTo>
                <a:cubicBezTo>
                  <a:pt x="369" y="135"/>
                  <a:pt x="369" y="135"/>
                  <a:pt x="369" y="135"/>
                </a:cubicBezTo>
                <a:cubicBezTo>
                  <a:pt x="357" y="148"/>
                  <a:pt x="357" y="148"/>
                  <a:pt x="357" y="148"/>
                </a:cubicBezTo>
                <a:cubicBezTo>
                  <a:pt x="357" y="148"/>
                  <a:pt x="357" y="148"/>
                  <a:pt x="357" y="148"/>
                </a:cubicBezTo>
                <a:cubicBezTo>
                  <a:pt x="355" y="150"/>
                  <a:pt x="354" y="153"/>
                  <a:pt x="354" y="156"/>
                </a:cubicBezTo>
                <a:cubicBezTo>
                  <a:pt x="354" y="161"/>
                  <a:pt x="357" y="166"/>
                  <a:pt x="362" y="167"/>
                </a:cubicBezTo>
                <a:cubicBezTo>
                  <a:pt x="369" y="170"/>
                  <a:pt x="369" y="170"/>
                  <a:pt x="369" y="170"/>
                </a:cubicBezTo>
                <a:cubicBezTo>
                  <a:pt x="357" y="183"/>
                  <a:pt x="357" y="183"/>
                  <a:pt x="357" y="183"/>
                </a:cubicBezTo>
                <a:cubicBezTo>
                  <a:pt x="357" y="183"/>
                  <a:pt x="357" y="183"/>
                  <a:pt x="357" y="183"/>
                </a:cubicBezTo>
                <a:cubicBezTo>
                  <a:pt x="355" y="186"/>
                  <a:pt x="354" y="188"/>
                  <a:pt x="354" y="192"/>
                </a:cubicBezTo>
                <a:cubicBezTo>
                  <a:pt x="354" y="197"/>
                  <a:pt x="357" y="201"/>
                  <a:pt x="362" y="203"/>
                </a:cubicBezTo>
                <a:cubicBezTo>
                  <a:pt x="369" y="206"/>
                  <a:pt x="369" y="206"/>
                  <a:pt x="369" y="206"/>
                </a:cubicBezTo>
                <a:cubicBezTo>
                  <a:pt x="357" y="218"/>
                  <a:pt x="357" y="218"/>
                  <a:pt x="357" y="218"/>
                </a:cubicBezTo>
                <a:cubicBezTo>
                  <a:pt x="357" y="219"/>
                  <a:pt x="357" y="219"/>
                  <a:pt x="357" y="219"/>
                </a:cubicBezTo>
                <a:cubicBezTo>
                  <a:pt x="355" y="221"/>
                  <a:pt x="354" y="224"/>
                  <a:pt x="354" y="227"/>
                </a:cubicBezTo>
                <a:cubicBezTo>
                  <a:pt x="354" y="232"/>
                  <a:pt x="357" y="237"/>
                  <a:pt x="362" y="238"/>
                </a:cubicBezTo>
                <a:cubicBezTo>
                  <a:pt x="369" y="241"/>
                  <a:pt x="369" y="241"/>
                  <a:pt x="369" y="241"/>
                </a:cubicBezTo>
                <a:cubicBezTo>
                  <a:pt x="357" y="254"/>
                  <a:pt x="357" y="254"/>
                  <a:pt x="357" y="254"/>
                </a:cubicBezTo>
                <a:cubicBezTo>
                  <a:pt x="357" y="254"/>
                  <a:pt x="357" y="254"/>
                  <a:pt x="357" y="254"/>
                </a:cubicBezTo>
                <a:cubicBezTo>
                  <a:pt x="355" y="256"/>
                  <a:pt x="354" y="259"/>
                  <a:pt x="354" y="262"/>
                </a:cubicBezTo>
                <a:cubicBezTo>
                  <a:pt x="354" y="267"/>
                  <a:pt x="357" y="272"/>
                  <a:pt x="362" y="273"/>
                </a:cubicBezTo>
                <a:cubicBezTo>
                  <a:pt x="369" y="276"/>
                  <a:pt x="369" y="276"/>
                  <a:pt x="369" y="276"/>
                </a:cubicBezTo>
                <a:cubicBezTo>
                  <a:pt x="357" y="289"/>
                  <a:pt x="357" y="289"/>
                  <a:pt x="357" y="289"/>
                </a:cubicBezTo>
                <a:cubicBezTo>
                  <a:pt x="357" y="289"/>
                  <a:pt x="357" y="289"/>
                  <a:pt x="357" y="289"/>
                </a:cubicBezTo>
                <a:cubicBezTo>
                  <a:pt x="355" y="291"/>
                  <a:pt x="354" y="294"/>
                  <a:pt x="354" y="297"/>
                </a:cubicBezTo>
                <a:cubicBezTo>
                  <a:pt x="354" y="302"/>
                  <a:pt x="357" y="307"/>
                  <a:pt x="362" y="308"/>
                </a:cubicBezTo>
                <a:cubicBezTo>
                  <a:pt x="463" y="347"/>
                  <a:pt x="463" y="347"/>
                  <a:pt x="463" y="347"/>
                </a:cubicBezTo>
                <a:cubicBezTo>
                  <a:pt x="465" y="347"/>
                  <a:pt x="467" y="348"/>
                  <a:pt x="468" y="348"/>
                </a:cubicBezTo>
                <a:cubicBezTo>
                  <a:pt x="473" y="348"/>
                  <a:pt x="478" y="346"/>
                  <a:pt x="481" y="342"/>
                </a:cubicBezTo>
                <a:cubicBezTo>
                  <a:pt x="513" y="305"/>
                  <a:pt x="513" y="305"/>
                  <a:pt x="513" y="305"/>
                </a:cubicBezTo>
                <a:cubicBezTo>
                  <a:pt x="514" y="303"/>
                  <a:pt x="516" y="300"/>
                  <a:pt x="516" y="297"/>
                </a:cubicBezTo>
                <a:cubicBezTo>
                  <a:pt x="516" y="292"/>
                  <a:pt x="512" y="288"/>
                  <a:pt x="508" y="286"/>
                </a:cubicBezTo>
                <a:cubicBezTo>
                  <a:pt x="502" y="283"/>
                  <a:pt x="502" y="283"/>
                  <a:pt x="502" y="283"/>
                </a:cubicBezTo>
                <a:cubicBezTo>
                  <a:pt x="513" y="270"/>
                  <a:pt x="513" y="270"/>
                  <a:pt x="513" y="270"/>
                </a:cubicBezTo>
                <a:cubicBezTo>
                  <a:pt x="514" y="268"/>
                  <a:pt x="516" y="265"/>
                  <a:pt x="516" y="262"/>
                </a:cubicBezTo>
                <a:cubicBezTo>
                  <a:pt x="516" y="257"/>
                  <a:pt x="512" y="252"/>
                  <a:pt x="508" y="251"/>
                </a:cubicBezTo>
                <a:cubicBezTo>
                  <a:pt x="502" y="247"/>
                  <a:pt x="502" y="247"/>
                  <a:pt x="502" y="247"/>
                </a:cubicBezTo>
                <a:cubicBezTo>
                  <a:pt x="513" y="235"/>
                  <a:pt x="513" y="235"/>
                  <a:pt x="513" y="235"/>
                </a:cubicBezTo>
                <a:cubicBezTo>
                  <a:pt x="514" y="233"/>
                  <a:pt x="516" y="230"/>
                  <a:pt x="516" y="226"/>
                </a:cubicBezTo>
                <a:cubicBezTo>
                  <a:pt x="516" y="222"/>
                  <a:pt x="512" y="217"/>
                  <a:pt x="508" y="216"/>
                </a:cubicBezTo>
                <a:cubicBezTo>
                  <a:pt x="502" y="212"/>
                  <a:pt x="502" y="212"/>
                  <a:pt x="502" y="212"/>
                </a:cubicBezTo>
                <a:cubicBezTo>
                  <a:pt x="513" y="199"/>
                  <a:pt x="513" y="199"/>
                  <a:pt x="513" y="199"/>
                </a:cubicBezTo>
                <a:cubicBezTo>
                  <a:pt x="514" y="197"/>
                  <a:pt x="516" y="194"/>
                  <a:pt x="516" y="191"/>
                </a:cubicBezTo>
                <a:cubicBezTo>
                  <a:pt x="516" y="186"/>
                  <a:pt x="512" y="182"/>
                  <a:pt x="508" y="180"/>
                </a:cubicBezTo>
                <a:cubicBezTo>
                  <a:pt x="502" y="177"/>
                  <a:pt x="502" y="177"/>
                  <a:pt x="502" y="177"/>
                </a:cubicBezTo>
                <a:cubicBezTo>
                  <a:pt x="513" y="164"/>
                  <a:pt x="513" y="164"/>
                  <a:pt x="513" y="164"/>
                </a:cubicBezTo>
                <a:cubicBezTo>
                  <a:pt x="514" y="162"/>
                  <a:pt x="516" y="159"/>
                  <a:pt x="516" y="156"/>
                </a:cubicBezTo>
                <a:cubicBezTo>
                  <a:pt x="516" y="151"/>
                  <a:pt x="512" y="147"/>
                  <a:pt x="508" y="145"/>
                </a:cubicBezTo>
                <a:cubicBezTo>
                  <a:pt x="502" y="142"/>
                  <a:pt x="502" y="142"/>
                  <a:pt x="502" y="142"/>
                </a:cubicBezTo>
                <a:cubicBezTo>
                  <a:pt x="513" y="129"/>
                  <a:pt x="513" y="129"/>
                  <a:pt x="513" y="129"/>
                </a:cubicBezTo>
                <a:cubicBezTo>
                  <a:pt x="514" y="127"/>
                  <a:pt x="516" y="124"/>
                  <a:pt x="516" y="121"/>
                </a:cubicBezTo>
                <a:cubicBezTo>
                  <a:pt x="516" y="116"/>
                  <a:pt x="512" y="111"/>
                  <a:pt x="508" y="110"/>
                </a:cubicBezTo>
                <a:cubicBezTo>
                  <a:pt x="502" y="106"/>
                  <a:pt x="502" y="106"/>
                  <a:pt x="502" y="106"/>
                </a:cubicBezTo>
                <a:cubicBezTo>
                  <a:pt x="513" y="94"/>
                  <a:pt x="513" y="94"/>
                  <a:pt x="513" y="94"/>
                </a:cubicBezTo>
                <a:cubicBezTo>
                  <a:pt x="514" y="91"/>
                  <a:pt x="516" y="89"/>
                  <a:pt x="516" y="85"/>
                </a:cubicBezTo>
                <a:close/>
                <a:moveTo>
                  <a:pt x="386" y="141"/>
                </a:moveTo>
                <a:cubicBezTo>
                  <a:pt x="463" y="170"/>
                  <a:pt x="463" y="170"/>
                  <a:pt x="463" y="170"/>
                </a:cubicBezTo>
                <a:cubicBezTo>
                  <a:pt x="465" y="171"/>
                  <a:pt x="467" y="171"/>
                  <a:pt x="468" y="171"/>
                </a:cubicBezTo>
                <a:cubicBezTo>
                  <a:pt x="473" y="171"/>
                  <a:pt x="478" y="170"/>
                  <a:pt x="481" y="166"/>
                </a:cubicBezTo>
                <a:cubicBezTo>
                  <a:pt x="491" y="154"/>
                  <a:pt x="491" y="154"/>
                  <a:pt x="491" y="154"/>
                </a:cubicBezTo>
                <a:cubicBezTo>
                  <a:pt x="497" y="157"/>
                  <a:pt x="497" y="157"/>
                  <a:pt x="497" y="157"/>
                </a:cubicBezTo>
                <a:cubicBezTo>
                  <a:pt x="469" y="190"/>
                  <a:pt x="469" y="190"/>
                  <a:pt x="469" y="190"/>
                </a:cubicBezTo>
                <a:cubicBezTo>
                  <a:pt x="469" y="190"/>
                  <a:pt x="469" y="191"/>
                  <a:pt x="468" y="191"/>
                </a:cubicBezTo>
                <a:cubicBezTo>
                  <a:pt x="373" y="155"/>
                  <a:pt x="373" y="155"/>
                  <a:pt x="373" y="155"/>
                </a:cubicBezTo>
                <a:lnTo>
                  <a:pt x="386" y="141"/>
                </a:lnTo>
                <a:close/>
                <a:moveTo>
                  <a:pt x="373" y="119"/>
                </a:moveTo>
                <a:cubicBezTo>
                  <a:pt x="386" y="106"/>
                  <a:pt x="386" y="106"/>
                  <a:pt x="386" y="106"/>
                </a:cubicBezTo>
                <a:cubicBezTo>
                  <a:pt x="463" y="135"/>
                  <a:pt x="463" y="135"/>
                  <a:pt x="463" y="135"/>
                </a:cubicBezTo>
                <a:cubicBezTo>
                  <a:pt x="465" y="136"/>
                  <a:pt x="467" y="136"/>
                  <a:pt x="468" y="136"/>
                </a:cubicBezTo>
                <a:cubicBezTo>
                  <a:pt x="473" y="136"/>
                  <a:pt x="478" y="134"/>
                  <a:pt x="481" y="130"/>
                </a:cubicBezTo>
                <a:cubicBezTo>
                  <a:pt x="491" y="119"/>
                  <a:pt x="491" y="119"/>
                  <a:pt x="491" y="119"/>
                </a:cubicBezTo>
                <a:cubicBezTo>
                  <a:pt x="497" y="122"/>
                  <a:pt x="497" y="122"/>
                  <a:pt x="497" y="122"/>
                </a:cubicBezTo>
                <a:cubicBezTo>
                  <a:pt x="469" y="155"/>
                  <a:pt x="469" y="155"/>
                  <a:pt x="469" y="155"/>
                </a:cubicBezTo>
                <a:cubicBezTo>
                  <a:pt x="469" y="155"/>
                  <a:pt x="469" y="155"/>
                  <a:pt x="468" y="155"/>
                </a:cubicBezTo>
                <a:lnTo>
                  <a:pt x="373" y="119"/>
                </a:lnTo>
                <a:close/>
                <a:moveTo>
                  <a:pt x="469" y="331"/>
                </a:moveTo>
                <a:cubicBezTo>
                  <a:pt x="469" y="331"/>
                  <a:pt x="469" y="332"/>
                  <a:pt x="468" y="332"/>
                </a:cubicBezTo>
                <a:cubicBezTo>
                  <a:pt x="373" y="296"/>
                  <a:pt x="373" y="296"/>
                  <a:pt x="373" y="296"/>
                </a:cubicBezTo>
                <a:cubicBezTo>
                  <a:pt x="386" y="282"/>
                  <a:pt x="386" y="282"/>
                  <a:pt x="386" y="282"/>
                </a:cubicBezTo>
                <a:cubicBezTo>
                  <a:pt x="463" y="311"/>
                  <a:pt x="463" y="311"/>
                  <a:pt x="463" y="311"/>
                </a:cubicBezTo>
                <a:cubicBezTo>
                  <a:pt x="465" y="312"/>
                  <a:pt x="467" y="312"/>
                  <a:pt x="468" y="312"/>
                </a:cubicBezTo>
                <a:cubicBezTo>
                  <a:pt x="473" y="312"/>
                  <a:pt x="478" y="311"/>
                  <a:pt x="481" y="307"/>
                </a:cubicBezTo>
                <a:cubicBezTo>
                  <a:pt x="491" y="295"/>
                  <a:pt x="491" y="295"/>
                  <a:pt x="491" y="295"/>
                </a:cubicBezTo>
                <a:cubicBezTo>
                  <a:pt x="497" y="298"/>
                  <a:pt x="497" y="298"/>
                  <a:pt x="497" y="298"/>
                </a:cubicBezTo>
                <a:lnTo>
                  <a:pt x="469" y="331"/>
                </a:lnTo>
                <a:close/>
                <a:moveTo>
                  <a:pt x="469" y="296"/>
                </a:moveTo>
                <a:cubicBezTo>
                  <a:pt x="469" y="296"/>
                  <a:pt x="469" y="296"/>
                  <a:pt x="468" y="296"/>
                </a:cubicBezTo>
                <a:cubicBezTo>
                  <a:pt x="373" y="260"/>
                  <a:pt x="373" y="260"/>
                  <a:pt x="373" y="260"/>
                </a:cubicBezTo>
                <a:cubicBezTo>
                  <a:pt x="386" y="247"/>
                  <a:pt x="386" y="247"/>
                  <a:pt x="386" y="247"/>
                </a:cubicBezTo>
                <a:cubicBezTo>
                  <a:pt x="463" y="276"/>
                  <a:pt x="463" y="276"/>
                  <a:pt x="463" y="276"/>
                </a:cubicBezTo>
                <a:cubicBezTo>
                  <a:pt x="465" y="277"/>
                  <a:pt x="467" y="277"/>
                  <a:pt x="468" y="277"/>
                </a:cubicBezTo>
                <a:cubicBezTo>
                  <a:pt x="473" y="277"/>
                  <a:pt x="478" y="275"/>
                  <a:pt x="481" y="271"/>
                </a:cubicBezTo>
                <a:cubicBezTo>
                  <a:pt x="491" y="260"/>
                  <a:pt x="491" y="260"/>
                  <a:pt x="491" y="260"/>
                </a:cubicBezTo>
                <a:cubicBezTo>
                  <a:pt x="497" y="263"/>
                  <a:pt x="497" y="263"/>
                  <a:pt x="497" y="263"/>
                </a:cubicBezTo>
                <a:lnTo>
                  <a:pt x="469" y="296"/>
                </a:lnTo>
                <a:close/>
                <a:moveTo>
                  <a:pt x="469" y="261"/>
                </a:moveTo>
                <a:cubicBezTo>
                  <a:pt x="469" y="261"/>
                  <a:pt x="469" y="261"/>
                  <a:pt x="468" y="261"/>
                </a:cubicBezTo>
                <a:cubicBezTo>
                  <a:pt x="373" y="225"/>
                  <a:pt x="373" y="225"/>
                  <a:pt x="373" y="225"/>
                </a:cubicBezTo>
                <a:cubicBezTo>
                  <a:pt x="386" y="212"/>
                  <a:pt x="386" y="212"/>
                  <a:pt x="386" y="212"/>
                </a:cubicBezTo>
                <a:cubicBezTo>
                  <a:pt x="463" y="241"/>
                  <a:pt x="463" y="241"/>
                  <a:pt x="463" y="241"/>
                </a:cubicBezTo>
                <a:cubicBezTo>
                  <a:pt x="465" y="242"/>
                  <a:pt x="467" y="242"/>
                  <a:pt x="468" y="242"/>
                </a:cubicBezTo>
                <a:cubicBezTo>
                  <a:pt x="473" y="242"/>
                  <a:pt x="478" y="240"/>
                  <a:pt x="481" y="236"/>
                </a:cubicBezTo>
                <a:cubicBezTo>
                  <a:pt x="491" y="225"/>
                  <a:pt x="491" y="225"/>
                  <a:pt x="491" y="225"/>
                </a:cubicBezTo>
                <a:cubicBezTo>
                  <a:pt x="497" y="228"/>
                  <a:pt x="497" y="228"/>
                  <a:pt x="497" y="228"/>
                </a:cubicBezTo>
                <a:lnTo>
                  <a:pt x="469" y="261"/>
                </a:lnTo>
                <a:close/>
                <a:moveTo>
                  <a:pt x="469" y="226"/>
                </a:moveTo>
                <a:cubicBezTo>
                  <a:pt x="469" y="226"/>
                  <a:pt x="469" y="226"/>
                  <a:pt x="468" y="226"/>
                </a:cubicBezTo>
                <a:cubicBezTo>
                  <a:pt x="373" y="190"/>
                  <a:pt x="373" y="190"/>
                  <a:pt x="373" y="190"/>
                </a:cubicBezTo>
                <a:cubicBezTo>
                  <a:pt x="386" y="177"/>
                  <a:pt x="386" y="177"/>
                  <a:pt x="386" y="177"/>
                </a:cubicBezTo>
                <a:cubicBezTo>
                  <a:pt x="463" y="206"/>
                  <a:pt x="463" y="206"/>
                  <a:pt x="463" y="206"/>
                </a:cubicBezTo>
                <a:cubicBezTo>
                  <a:pt x="465" y="206"/>
                  <a:pt x="467" y="207"/>
                  <a:pt x="468" y="207"/>
                </a:cubicBezTo>
                <a:cubicBezTo>
                  <a:pt x="473" y="207"/>
                  <a:pt x="478" y="205"/>
                  <a:pt x="481" y="201"/>
                </a:cubicBezTo>
                <a:cubicBezTo>
                  <a:pt x="491" y="189"/>
                  <a:pt x="491" y="189"/>
                  <a:pt x="491" y="189"/>
                </a:cubicBezTo>
                <a:cubicBezTo>
                  <a:pt x="497" y="193"/>
                  <a:pt x="497" y="193"/>
                  <a:pt x="497" y="193"/>
                </a:cubicBezTo>
                <a:lnTo>
                  <a:pt x="469" y="226"/>
                </a:lnTo>
                <a:close/>
                <a:moveTo>
                  <a:pt x="469" y="120"/>
                </a:moveTo>
                <a:cubicBezTo>
                  <a:pt x="469" y="120"/>
                  <a:pt x="469" y="120"/>
                  <a:pt x="468" y="120"/>
                </a:cubicBezTo>
                <a:cubicBezTo>
                  <a:pt x="373" y="84"/>
                  <a:pt x="373" y="84"/>
                  <a:pt x="373" y="84"/>
                </a:cubicBezTo>
                <a:cubicBezTo>
                  <a:pt x="386" y="71"/>
                  <a:pt x="386" y="71"/>
                  <a:pt x="386" y="71"/>
                </a:cubicBezTo>
                <a:cubicBezTo>
                  <a:pt x="463" y="100"/>
                  <a:pt x="463" y="100"/>
                  <a:pt x="463" y="100"/>
                </a:cubicBezTo>
                <a:cubicBezTo>
                  <a:pt x="465" y="101"/>
                  <a:pt x="467" y="101"/>
                  <a:pt x="468" y="101"/>
                </a:cubicBezTo>
                <a:cubicBezTo>
                  <a:pt x="473" y="101"/>
                  <a:pt x="478" y="99"/>
                  <a:pt x="481" y="95"/>
                </a:cubicBezTo>
                <a:cubicBezTo>
                  <a:pt x="491" y="84"/>
                  <a:pt x="491" y="84"/>
                  <a:pt x="491" y="84"/>
                </a:cubicBezTo>
                <a:cubicBezTo>
                  <a:pt x="497" y="87"/>
                  <a:pt x="497" y="87"/>
                  <a:pt x="497" y="87"/>
                </a:cubicBezTo>
                <a:lnTo>
                  <a:pt x="469" y="120"/>
                </a:lnTo>
                <a:close/>
                <a:moveTo>
                  <a:pt x="163" y="156"/>
                </a:moveTo>
                <a:cubicBezTo>
                  <a:pt x="163" y="151"/>
                  <a:pt x="159" y="146"/>
                  <a:pt x="155" y="145"/>
                </a:cubicBezTo>
                <a:cubicBezTo>
                  <a:pt x="53" y="107"/>
                  <a:pt x="53" y="107"/>
                  <a:pt x="53" y="107"/>
                </a:cubicBezTo>
                <a:cubicBezTo>
                  <a:pt x="52" y="106"/>
                  <a:pt x="50" y="106"/>
                  <a:pt x="48" y="106"/>
                </a:cubicBezTo>
                <a:cubicBezTo>
                  <a:pt x="43" y="106"/>
                  <a:pt x="39" y="108"/>
                  <a:pt x="35" y="111"/>
                </a:cubicBezTo>
                <a:cubicBezTo>
                  <a:pt x="4" y="148"/>
                  <a:pt x="4" y="148"/>
                  <a:pt x="4" y="148"/>
                </a:cubicBezTo>
                <a:cubicBezTo>
                  <a:pt x="2" y="150"/>
                  <a:pt x="1" y="153"/>
                  <a:pt x="1" y="156"/>
                </a:cubicBezTo>
                <a:cubicBezTo>
                  <a:pt x="0" y="161"/>
                  <a:pt x="4" y="166"/>
                  <a:pt x="8" y="167"/>
                </a:cubicBezTo>
                <a:cubicBezTo>
                  <a:pt x="16" y="170"/>
                  <a:pt x="16" y="170"/>
                  <a:pt x="16" y="170"/>
                </a:cubicBezTo>
                <a:cubicBezTo>
                  <a:pt x="4" y="183"/>
                  <a:pt x="4" y="183"/>
                  <a:pt x="4" y="183"/>
                </a:cubicBezTo>
                <a:cubicBezTo>
                  <a:pt x="4" y="183"/>
                  <a:pt x="4" y="183"/>
                  <a:pt x="4" y="183"/>
                </a:cubicBezTo>
                <a:cubicBezTo>
                  <a:pt x="2" y="186"/>
                  <a:pt x="1" y="188"/>
                  <a:pt x="1" y="192"/>
                </a:cubicBezTo>
                <a:cubicBezTo>
                  <a:pt x="0" y="197"/>
                  <a:pt x="4" y="201"/>
                  <a:pt x="8" y="203"/>
                </a:cubicBezTo>
                <a:cubicBezTo>
                  <a:pt x="110" y="241"/>
                  <a:pt x="110" y="241"/>
                  <a:pt x="110" y="241"/>
                </a:cubicBezTo>
                <a:cubicBezTo>
                  <a:pt x="112" y="242"/>
                  <a:pt x="113" y="242"/>
                  <a:pt x="115" y="242"/>
                </a:cubicBezTo>
                <a:cubicBezTo>
                  <a:pt x="120" y="242"/>
                  <a:pt x="124" y="240"/>
                  <a:pt x="128" y="236"/>
                </a:cubicBezTo>
                <a:cubicBezTo>
                  <a:pt x="159" y="199"/>
                  <a:pt x="159" y="199"/>
                  <a:pt x="159" y="199"/>
                </a:cubicBezTo>
                <a:cubicBezTo>
                  <a:pt x="161" y="197"/>
                  <a:pt x="163" y="194"/>
                  <a:pt x="163" y="191"/>
                </a:cubicBezTo>
                <a:cubicBezTo>
                  <a:pt x="163" y="186"/>
                  <a:pt x="159" y="182"/>
                  <a:pt x="155" y="180"/>
                </a:cubicBezTo>
                <a:cubicBezTo>
                  <a:pt x="148" y="177"/>
                  <a:pt x="148" y="177"/>
                  <a:pt x="148" y="177"/>
                </a:cubicBezTo>
                <a:cubicBezTo>
                  <a:pt x="159" y="164"/>
                  <a:pt x="159" y="164"/>
                  <a:pt x="159" y="164"/>
                </a:cubicBezTo>
                <a:cubicBezTo>
                  <a:pt x="161" y="162"/>
                  <a:pt x="163" y="159"/>
                  <a:pt x="163" y="156"/>
                </a:cubicBezTo>
                <a:close/>
                <a:moveTo>
                  <a:pt x="47" y="122"/>
                </a:moveTo>
                <a:cubicBezTo>
                  <a:pt x="47" y="122"/>
                  <a:pt x="48" y="122"/>
                  <a:pt x="48" y="122"/>
                </a:cubicBezTo>
                <a:cubicBezTo>
                  <a:pt x="144" y="158"/>
                  <a:pt x="144" y="158"/>
                  <a:pt x="144" y="158"/>
                </a:cubicBezTo>
                <a:cubicBezTo>
                  <a:pt x="116" y="190"/>
                  <a:pt x="116" y="190"/>
                  <a:pt x="116" y="190"/>
                </a:cubicBezTo>
                <a:cubicBezTo>
                  <a:pt x="116" y="190"/>
                  <a:pt x="116" y="190"/>
                  <a:pt x="116" y="190"/>
                </a:cubicBezTo>
                <a:cubicBezTo>
                  <a:pt x="116" y="190"/>
                  <a:pt x="115" y="191"/>
                  <a:pt x="115" y="191"/>
                </a:cubicBezTo>
                <a:cubicBezTo>
                  <a:pt x="19" y="154"/>
                  <a:pt x="19" y="154"/>
                  <a:pt x="19" y="154"/>
                </a:cubicBezTo>
                <a:lnTo>
                  <a:pt x="47" y="122"/>
                </a:lnTo>
                <a:close/>
                <a:moveTo>
                  <a:pt x="116" y="226"/>
                </a:moveTo>
                <a:cubicBezTo>
                  <a:pt x="116" y="226"/>
                  <a:pt x="116" y="226"/>
                  <a:pt x="116" y="226"/>
                </a:cubicBezTo>
                <a:cubicBezTo>
                  <a:pt x="116" y="226"/>
                  <a:pt x="115" y="226"/>
                  <a:pt x="115" y="226"/>
                </a:cubicBezTo>
                <a:cubicBezTo>
                  <a:pt x="20" y="190"/>
                  <a:pt x="20" y="190"/>
                  <a:pt x="20" y="190"/>
                </a:cubicBezTo>
                <a:cubicBezTo>
                  <a:pt x="33" y="177"/>
                  <a:pt x="33" y="177"/>
                  <a:pt x="33" y="177"/>
                </a:cubicBezTo>
                <a:cubicBezTo>
                  <a:pt x="110" y="206"/>
                  <a:pt x="110" y="206"/>
                  <a:pt x="110" y="206"/>
                </a:cubicBezTo>
                <a:cubicBezTo>
                  <a:pt x="112" y="206"/>
                  <a:pt x="113" y="207"/>
                  <a:pt x="115" y="207"/>
                </a:cubicBezTo>
                <a:cubicBezTo>
                  <a:pt x="120" y="207"/>
                  <a:pt x="124" y="205"/>
                  <a:pt x="128" y="201"/>
                </a:cubicBezTo>
                <a:cubicBezTo>
                  <a:pt x="122" y="196"/>
                  <a:pt x="122" y="196"/>
                  <a:pt x="122" y="196"/>
                </a:cubicBezTo>
                <a:cubicBezTo>
                  <a:pt x="128" y="201"/>
                  <a:pt x="128" y="201"/>
                  <a:pt x="128" y="201"/>
                </a:cubicBezTo>
                <a:cubicBezTo>
                  <a:pt x="138" y="189"/>
                  <a:pt x="138" y="189"/>
                  <a:pt x="138" y="189"/>
                </a:cubicBezTo>
                <a:cubicBezTo>
                  <a:pt x="144" y="193"/>
                  <a:pt x="144" y="193"/>
                  <a:pt x="144" y="193"/>
                </a:cubicBezTo>
                <a:lnTo>
                  <a:pt x="116" y="226"/>
                </a:lnTo>
                <a:close/>
                <a:moveTo>
                  <a:pt x="317" y="89"/>
                </a:moveTo>
                <a:cubicBezTo>
                  <a:pt x="312" y="88"/>
                  <a:pt x="308" y="91"/>
                  <a:pt x="308" y="96"/>
                </a:cubicBezTo>
                <a:cubicBezTo>
                  <a:pt x="308" y="96"/>
                  <a:pt x="308" y="96"/>
                  <a:pt x="308" y="96"/>
                </a:cubicBezTo>
                <a:cubicBezTo>
                  <a:pt x="306" y="112"/>
                  <a:pt x="306" y="112"/>
                  <a:pt x="306" y="112"/>
                </a:cubicBezTo>
                <a:cubicBezTo>
                  <a:pt x="302" y="108"/>
                  <a:pt x="297" y="104"/>
                  <a:pt x="292" y="101"/>
                </a:cubicBezTo>
                <a:cubicBezTo>
                  <a:pt x="282" y="94"/>
                  <a:pt x="269" y="90"/>
                  <a:pt x="257" y="90"/>
                </a:cubicBezTo>
                <a:cubicBezTo>
                  <a:pt x="236" y="90"/>
                  <a:pt x="214" y="101"/>
                  <a:pt x="202" y="121"/>
                </a:cubicBezTo>
                <a:cubicBezTo>
                  <a:pt x="195" y="132"/>
                  <a:pt x="191" y="144"/>
                  <a:pt x="191" y="156"/>
                </a:cubicBezTo>
                <a:cubicBezTo>
                  <a:pt x="191" y="178"/>
                  <a:pt x="202" y="199"/>
                  <a:pt x="222" y="211"/>
                </a:cubicBezTo>
                <a:cubicBezTo>
                  <a:pt x="232" y="218"/>
                  <a:pt x="244" y="221"/>
                  <a:pt x="256" y="222"/>
                </a:cubicBezTo>
                <a:cubicBezTo>
                  <a:pt x="256" y="222"/>
                  <a:pt x="256" y="222"/>
                  <a:pt x="256" y="222"/>
                </a:cubicBezTo>
                <a:cubicBezTo>
                  <a:pt x="261" y="222"/>
                  <a:pt x="264" y="218"/>
                  <a:pt x="264" y="214"/>
                </a:cubicBezTo>
                <a:cubicBezTo>
                  <a:pt x="264" y="209"/>
                  <a:pt x="261" y="206"/>
                  <a:pt x="256" y="206"/>
                </a:cubicBezTo>
                <a:cubicBezTo>
                  <a:pt x="247" y="205"/>
                  <a:pt x="238" y="203"/>
                  <a:pt x="230" y="198"/>
                </a:cubicBezTo>
                <a:cubicBezTo>
                  <a:pt x="216" y="188"/>
                  <a:pt x="207" y="172"/>
                  <a:pt x="207" y="156"/>
                </a:cubicBezTo>
                <a:cubicBezTo>
                  <a:pt x="207" y="147"/>
                  <a:pt x="210" y="138"/>
                  <a:pt x="215" y="129"/>
                </a:cubicBezTo>
                <a:cubicBezTo>
                  <a:pt x="225" y="114"/>
                  <a:pt x="241" y="106"/>
                  <a:pt x="257" y="106"/>
                </a:cubicBezTo>
                <a:cubicBezTo>
                  <a:pt x="266" y="106"/>
                  <a:pt x="276" y="109"/>
                  <a:pt x="284" y="114"/>
                </a:cubicBezTo>
                <a:cubicBezTo>
                  <a:pt x="289" y="117"/>
                  <a:pt x="293" y="121"/>
                  <a:pt x="296" y="126"/>
                </a:cubicBezTo>
                <a:cubicBezTo>
                  <a:pt x="273" y="123"/>
                  <a:pt x="273" y="123"/>
                  <a:pt x="273" y="123"/>
                </a:cubicBezTo>
                <a:cubicBezTo>
                  <a:pt x="269" y="123"/>
                  <a:pt x="265" y="126"/>
                  <a:pt x="264" y="130"/>
                </a:cubicBezTo>
                <a:cubicBezTo>
                  <a:pt x="264" y="135"/>
                  <a:pt x="267" y="139"/>
                  <a:pt x="271" y="139"/>
                </a:cubicBezTo>
                <a:cubicBezTo>
                  <a:pt x="310" y="144"/>
                  <a:pt x="310" y="144"/>
                  <a:pt x="310" y="144"/>
                </a:cubicBezTo>
                <a:cubicBezTo>
                  <a:pt x="310" y="144"/>
                  <a:pt x="311" y="144"/>
                  <a:pt x="311" y="144"/>
                </a:cubicBezTo>
                <a:cubicBezTo>
                  <a:pt x="313" y="144"/>
                  <a:pt x="315" y="143"/>
                  <a:pt x="316" y="142"/>
                </a:cubicBezTo>
                <a:cubicBezTo>
                  <a:pt x="318" y="141"/>
                  <a:pt x="319" y="139"/>
                  <a:pt x="319" y="137"/>
                </a:cubicBezTo>
                <a:cubicBezTo>
                  <a:pt x="324" y="98"/>
                  <a:pt x="324" y="98"/>
                  <a:pt x="324" y="98"/>
                </a:cubicBezTo>
                <a:cubicBezTo>
                  <a:pt x="324" y="93"/>
                  <a:pt x="321" y="89"/>
                  <a:pt x="317"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FFFFFF"/>
              </a:solidFill>
            </a:endParaRPr>
          </a:p>
        </p:txBody>
      </p:sp>
      <p:cxnSp>
        <p:nvCxnSpPr>
          <p:cNvPr id="178" name="Rak 478"/>
          <p:cNvCxnSpPr/>
          <p:nvPr/>
        </p:nvCxnSpPr>
        <p:spPr bwMode="auto">
          <a:xfrm flipV="1">
            <a:off x="4242818" y="2590800"/>
            <a:ext cx="2183382" cy="1058918"/>
          </a:xfrm>
          <a:prstGeom prst="line">
            <a:avLst/>
          </a:prstGeom>
          <a:solidFill>
            <a:schemeClr val="accent1"/>
          </a:solidFill>
          <a:ln w="6350" cap="rnd" cmpd="sng" algn="ctr">
            <a:solidFill>
              <a:schemeClr val="bg1">
                <a:alpha val="69000"/>
              </a:schemeClr>
            </a:solidFill>
            <a:prstDash val="solid"/>
            <a:round/>
            <a:headEnd type="oval" w="med" len="med"/>
            <a:tailEnd type="oval" w="med" len="med"/>
          </a:ln>
          <a:effectLst/>
        </p:spPr>
      </p:cxnSp>
      <p:cxnSp>
        <p:nvCxnSpPr>
          <p:cNvPr id="179" name="Rak 479"/>
          <p:cNvCxnSpPr>
            <a:cxnSpLocks/>
          </p:cNvCxnSpPr>
          <p:nvPr/>
        </p:nvCxnSpPr>
        <p:spPr bwMode="auto">
          <a:xfrm>
            <a:off x="4244162" y="3649717"/>
            <a:ext cx="2339788" cy="1341607"/>
          </a:xfrm>
          <a:prstGeom prst="line">
            <a:avLst/>
          </a:prstGeom>
          <a:solidFill>
            <a:schemeClr val="accent1"/>
          </a:solidFill>
          <a:ln w="6350" cap="rnd" cmpd="sng" algn="ctr">
            <a:solidFill>
              <a:schemeClr val="bg1">
                <a:alpha val="69000"/>
              </a:schemeClr>
            </a:solidFill>
            <a:prstDash val="solid"/>
            <a:round/>
            <a:headEnd type="oval" w="med" len="med"/>
            <a:tailEnd type="oval" w="med" len="med"/>
          </a:ln>
          <a:effectLst/>
        </p:spPr>
      </p:cxnSp>
      <p:cxnSp>
        <p:nvCxnSpPr>
          <p:cNvPr id="180" name="Rak 480"/>
          <p:cNvCxnSpPr>
            <a:cxnSpLocks/>
          </p:cNvCxnSpPr>
          <p:nvPr/>
        </p:nvCxnSpPr>
        <p:spPr bwMode="auto">
          <a:xfrm flipV="1">
            <a:off x="4242818" y="3645633"/>
            <a:ext cx="3061447" cy="4085"/>
          </a:xfrm>
          <a:prstGeom prst="line">
            <a:avLst/>
          </a:prstGeom>
          <a:solidFill>
            <a:schemeClr val="accent1"/>
          </a:solidFill>
          <a:ln w="6350" cap="rnd" cmpd="sng" algn="ctr">
            <a:solidFill>
              <a:schemeClr val="bg1">
                <a:alpha val="69000"/>
              </a:schemeClr>
            </a:solidFill>
            <a:prstDash val="solid"/>
            <a:round/>
            <a:headEnd type="oval" w="med" len="med"/>
            <a:tailEnd type="oval" w="med" len="med"/>
          </a:ln>
          <a:effectLst/>
        </p:spPr>
      </p:cxnSp>
      <p:cxnSp>
        <p:nvCxnSpPr>
          <p:cNvPr id="181" name="Rak 166"/>
          <p:cNvCxnSpPr/>
          <p:nvPr/>
        </p:nvCxnSpPr>
        <p:spPr bwMode="auto">
          <a:xfrm>
            <a:off x="4254500" y="3657600"/>
            <a:ext cx="711200" cy="2311400"/>
          </a:xfrm>
          <a:prstGeom prst="line">
            <a:avLst/>
          </a:prstGeom>
          <a:solidFill>
            <a:schemeClr val="accent1"/>
          </a:solidFill>
          <a:ln w="6350" cap="rnd" cmpd="sng" algn="ctr">
            <a:solidFill>
              <a:schemeClr val="bg1">
                <a:alpha val="69000"/>
              </a:schemeClr>
            </a:solidFill>
            <a:prstDash val="solid"/>
            <a:round/>
            <a:headEnd type="oval" w="med" len="med"/>
            <a:tailEnd type="oval" w="med" len="med"/>
          </a:ln>
          <a:effectLst/>
        </p:spPr>
      </p:cxnSp>
    </p:spTree>
    <p:extLst>
      <p:ext uri="{BB962C8B-B14F-4D97-AF65-F5344CB8AC3E}">
        <p14:creationId xmlns:p14="http://schemas.microsoft.com/office/powerpoint/2010/main" val="157297474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Bildobjekt 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graphicFrame>
        <p:nvGraphicFramePr>
          <p:cNvPr id="5" name="Object 4" hidden="1"/>
          <p:cNvGraphicFramePr>
            <a:graphicFrameLocks noChangeAspect="1"/>
          </p:cNvGraphicFramePr>
          <p:nvPr>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089" name="think-cell Slide" r:id="rId6" imgW="216" imgH="216" progId="TCLayout.ActiveDocument.1">
                  <p:embed/>
                </p:oleObj>
              </mc:Choice>
              <mc:Fallback>
                <p:oleObj name="think-cell Slide" r:id="rId6" imgW="216" imgH="216" progId="TCLayout.ActiveDocument.1">
                  <p:embed/>
                  <p:pic>
                    <p:nvPicPr>
                      <p:cNvPr id="5" name="Object 4" hidden="1"/>
                      <p:cNvPicPr/>
                      <p:nvPr/>
                    </p:nvPicPr>
                    <p:blipFill>
                      <a:blip r:embed="rId7"/>
                      <a:stretch>
                        <a:fillRect/>
                      </a:stretch>
                    </p:blipFill>
                    <p:spPr>
                      <a:xfrm>
                        <a:off x="1589" y="1590"/>
                        <a:ext cx="1587" cy="1587"/>
                      </a:xfrm>
                      <a:prstGeom prst="rect">
                        <a:avLst/>
                      </a:prstGeom>
                    </p:spPr>
                  </p:pic>
                </p:oleObj>
              </mc:Fallback>
            </mc:AlternateContent>
          </a:graphicData>
        </a:graphic>
      </p:graphicFrame>
      <p:sp>
        <p:nvSpPr>
          <p:cNvPr id="34" name="Ellips 33"/>
          <p:cNvSpPr/>
          <p:nvPr/>
        </p:nvSpPr>
        <p:spPr bwMode="auto">
          <a:xfrm>
            <a:off x="609600" y="2576625"/>
            <a:ext cx="2346960" cy="2346960"/>
          </a:xfrm>
          <a:prstGeom prst="ellipse">
            <a:avLst/>
          </a:prstGeom>
          <a:solidFill>
            <a:schemeClr val="bg1">
              <a:alpha val="87000"/>
            </a:schemeClr>
          </a:solidFill>
          <a:ln w="190500" cap="flat" cmpd="sng" algn="ctr">
            <a:solidFill>
              <a:schemeClr val="bg1">
                <a:alpha val="43000"/>
              </a:schemeClr>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sv-SE" sz="2000" b="0" i="0" u="none" strike="noStrike" cap="none" normalizeH="0" baseline="0" dirty="0">
              <a:ln>
                <a:noFill/>
              </a:ln>
              <a:solidFill>
                <a:schemeClr val="tx1"/>
              </a:solidFill>
              <a:effectLst/>
              <a:latin typeface="Arial" charset="0"/>
            </a:endParaRPr>
          </a:p>
        </p:txBody>
      </p:sp>
      <p:sp>
        <p:nvSpPr>
          <p:cNvPr id="30" name="Text Box 6"/>
          <p:cNvSpPr txBox="1">
            <a:spLocks noChangeArrowheads="1"/>
          </p:cNvSpPr>
          <p:nvPr/>
        </p:nvSpPr>
        <p:spPr bwMode="auto">
          <a:xfrm>
            <a:off x="711026" y="3799178"/>
            <a:ext cx="2138854" cy="369332"/>
          </a:xfrm>
          <a:prstGeom prst="rect">
            <a:avLst/>
          </a:prstGeom>
          <a:noFill/>
          <a:ln w="12700">
            <a:noFill/>
            <a:miter lim="800000"/>
            <a:headEnd/>
            <a:tailEnd/>
          </a:ln>
          <a:effectLst/>
        </p:spPr>
        <p:txBody>
          <a:bodyPr wrap="square" lIns="0" rIns="0">
            <a:spAutoFit/>
          </a:bodyPr>
          <a:lstStyle/>
          <a:p>
            <a:pPr algn="ctr" eaLnBrk="1" fontAlgn="auto" hangingPunct="1">
              <a:spcBef>
                <a:spcPts val="0"/>
              </a:spcBef>
              <a:spcAft>
                <a:spcPts val="0"/>
              </a:spcAft>
              <a:defRPr/>
            </a:pPr>
            <a:endParaRPr lang="en-US" sz="1800" kern="0" dirty="0">
              <a:solidFill>
                <a:srgbClr val="7C1563"/>
              </a:solidFill>
              <a:latin typeface="+mn-lt"/>
            </a:endParaRPr>
          </a:p>
        </p:txBody>
      </p:sp>
      <p:sp>
        <p:nvSpPr>
          <p:cNvPr id="50" name="Ellips 49"/>
          <p:cNvSpPr/>
          <p:nvPr/>
        </p:nvSpPr>
        <p:spPr bwMode="auto">
          <a:xfrm>
            <a:off x="3505200" y="2576625"/>
            <a:ext cx="2346960" cy="2346960"/>
          </a:xfrm>
          <a:prstGeom prst="ellipse">
            <a:avLst/>
          </a:prstGeom>
          <a:solidFill>
            <a:schemeClr val="bg1">
              <a:alpha val="87000"/>
            </a:schemeClr>
          </a:solidFill>
          <a:ln w="190500" cap="flat" cmpd="sng" algn="ctr">
            <a:solidFill>
              <a:schemeClr val="bg1">
                <a:alpha val="43000"/>
              </a:schemeClr>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sv-SE" sz="2000" b="0" i="0" u="none" strike="noStrike" cap="none" normalizeH="0" baseline="0" dirty="0">
              <a:ln>
                <a:noFill/>
              </a:ln>
              <a:solidFill>
                <a:schemeClr val="tx1"/>
              </a:solidFill>
              <a:effectLst/>
              <a:latin typeface="Arial" charset="0"/>
            </a:endParaRPr>
          </a:p>
        </p:txBody>
      </p:sp>
      <p:sp>
        <p:nvSpPr>
          <p:cNvPr id="51" name="Text Box 6"/>
          <p:cNvSpPr txBox="1">
            <a:spLocks noChangeArrowheads="1"/>
          </p:cNvSpPr>
          <p:nvPr/>
        </p:nvSpPr>
        <p:spPr bwMode="auto">
          <a:xfrm>
            <a:off x="3606626" y="3799178"/>
            <a:ext cx="2138854" cy="646331"/>
          </a:xfrm>
          <a:prstGeom prst="rect">
            <a:avLst/>
          </a:prstGeom>
          <a:noFill/>
          <a:ln w="12700">
            <a:noFill/>
            <a:miter lim="800000"/>
            <a:headEnd/>
            <a:tailEnd/>
          </a:ln>
          <a:effectLst/>
        </p:spPr>
        <p:txBody>
          <a:bodyPr wrap="square" lIns="0" rIns="0">
            <a:spAutoFit/>
          </a:bodyPr>
          <a:lstStyle/>
          <a:p>
            <a:pPr algn="ctr">
              <a:spcBef>
                <a:spcPts val="600"/>
              </a:spcBef>
            </a:pPr>
            <a:r>
              <a:rPr lang="en-US" sz="1800" kern="0" dirty="0">
                <a:solidFill>
                  <a:srgbClr val="7C1563"/>
                </a:solidFill>
                <a:latin typeface="+mn-lt"/>
              </a:rPr>
              <a:t>YEARS</a:t>
            </a:r>
            <a:br>
              <a:rPr lang="en-US" sz="1800" kern="0" dirty="0">
                <a:solidFill>
                  <a:srgbClr val="7C1563"/>
                </a:solidFill>
                <a:latin typeface="+mn-lt"/>
              </a:rPr>
            </a:br>
            <a:r>
              <a:rPr lang="en-US" sz="1800" kern="0" dirty="0">
                <a:solidFill>
                  <a:srgbClr val="7C1563"/>
                </a:solidFill>
                <a:latin typeface="+mn-lt"/>
              </a:rPr>
              <a:t>BATTERY LIFE</a:t>
            </a:r>
          </a:p>
        </p:txBody>
      </p:sp>
      <p:sp>
        <p:nvSpPr>
          <p:cNvPr id="52" name="Text Box 6"/>
          <p:cNvSpPr txBox="1">
            <a:spLocks noChangeArrowheads="1"/>
          </p:cNvSpPr>
          <p:nvPr/>
        </p:nvSpPr>
        <p:spPr bwMode="auto">
          <a:xfrm>
            <a:off x="3636337" y="2954791"/>
            <a:ext cx="1377563" cy="907941"/>
          </a:xfrm>
          <a:prstGeom prst="rect">
            <a:avLst/>
          </a:prstGeom>
          <a:noFill/>
          <a:ln w="12700">
            <a:noFill/>
            <a:miter lim="800000"/>
            <a:headEnd/>
            <a:tailEnd/>
          </a:ln>
          <a:effectLst/>
        </p:spPr>
        <p:txBody>
          <a:bodyPr wrap="square" lIns="0" rIns="0">
            <a:spAutoFit/>
          </a:bodyPr>
          <a:lstStyle/>
          <a:p>
            <a:pPr algn="ctr" eaLnBrk="1" fontAlgn="auto" hangingPunct="1">
              <a:spcBef>
                <a:spcPts val="0"/>
              </a:spcBef>
              <a:spcAft>
                <a:spcPts val="0"/>
              </a:spcAft>
              <a:defRPr/>
            </a:pPr>
            <a:r>
              <a:rPr lang="sv-SE" sz="5300" b="1" spc="-300" dirty="0">
                <a:solidFill>
                  <a:schemeClr val="bg2">
                    <a:lumMod val="75000"/>
                  </a:schemeClr>
                </a:solidFill>
                <a:latin typeface="+mj-lt"/>
                <a:ea typeface="Ericsson Capital" charset="0"/>
                <a:cs typeface="Ericsson Capital" charset="0"/>
              </a:rPr>
              <a:t>10+</a:t>
            </a:r>
            <a:endParaRPr lang="en-US" sz="5300" kern="0" spc="-300" dirty="0">
              <a:solidFill>
                <a:schemeClr val="bg2">
                  <a:lumMod val="75000"/>
                </a:schemeClr>
              </a:solidFill>
              <a:latin typeface="+mj-lt"/>
              <a:ea typeface="Ericsson Capital" charset="0"/>
              <a:cs typeface="Ericsson Capital" charset="0"/>
            </a:endParaRPr>
          </a:p>
        </p:txBody>
      </p:sp>
      <p:sp>
        <p:nvSpPr>
          <p:cNvPr id="77" name="Ellips 76"/>
          <p:cNvSpPr/>
          <p:nvPr/>
        </p:nvSpPr>
        <p:spPr bwMode="auto">
          <a:xfrm>
            <a:off x="6400800" y="2576625"/>
            <a:ext cx="2346960" cy="2346960"/>
          </a:xfrm>
          <a:prstGeom prst="ellipse">
            <a:avLst/>
          </a:prstGeom>
          <a:solidFill>
            <a:schemeClr val="bg1">
              <a:alpha val="87000"/>
            </a:schemeClr>
          </a:solidFill>
          <a:ln w="190500" cap="flat" cmpd="sng" algn="ctr">
            <a:solidFill>
              <a:schemeClr val="bg1">
                <a:alpha val="43000"/>
              </a:schemeClr>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sv-SE" sz="2000" b="0" i="0" u="none" strike="noStrike" cap="none" normalizeH="0" baseline="0" dirty="0">
              <a:ln>
                <a:noFill/>
              </a:ln>
              <a:solidFill>
                <a:schemeClr val="tx1"/>
              </a:solidFill>
              <a:effectLst/>
              <a:latin typeface="Arial" charset="0"/>
            </a:endParaRPr>
          </a:p>
        </p:txBody>
      </p:sp>
      <p:sp>
        <p:nvSpPr>
          <p:cNvPr id="78" name="Text Box 6"/>
          <p:cNvSpPr txBox="1">
            <a:spLocks noChangeArrowheads="1"/>
          </p:cNvSpPr>
          <p:nvPr/>
        </p:nvSpPr>
        <p:spPr bwMode="auto">
          <a:xfrm>
            <a:off x="6502226" y="3799178"/>
            <a:ext cx="2138854" cy="646331"/>
          </a:xfrm>
          <a:prstGeom prst="rect">
            <a:avLst/>
          </a:prstGeom>
          <a:noFill/>
          <a:ln w="12700">
            <a:noFill/>
            <a:miter lim="800000"/>
            <a:headEnd/>
            <a:tailEnd/>
          </a:ln>
          <a:effectLst/>
        </p:spPr>
        <p:txBody>
          <a:bodyPr wrap="square" lIns="0" rIns="0">
            <a:spAutoFit/>
          </a:bodyPr>
          <a:lstStyle/>
          <a:p>
            <a:pPr algn="ctr">
              <a:spcBef>
                <a:spcPts val="600"/>
              </a:spcBef>
            </a:pPr>
            <a:r>
              <a:rPr lang="en-US" sz="1800" kern="0" dirty="0">
                <a:solidFill>
                  <a:srgbClr val="7C1563"/>
                </a:solidFill>
                <a:latin typeface="+mn-lt"/>
              </a:rPr>
              <a:t>BETTER</a:t>
            </a:r>
            <a:br>
              <a:rPr lang="en-US" sz="1800" kern="0" dirty="0">
                <a:solidFill>
                  <a:srgbClr val="7C1563"/>
                </a:solidFill>
                <a:latin typeface="+mn-lt"/>
              </a:rPr>
            </a:br>
            <a:r>
              <a:rPr lang="en-US" sz="1800" kern="0" dirty="0">
                <a:solidFill>
                  <a:srgbClr val="7C1563"/>
                </a:solidFill>
                <a:latin typeface="+mn-lt"/>
              </a:rPr>
              <a:t>COVERAGE</a:t>
            </a:r>
          </a:p>
        </p:txBody>
      </p:sp>
      <p:sp>
        <p:nvSpPr>
          <p:cNvPr id="81" name="Ellips 80"/>
          <p:cNvSpPr/>
          <p:nvPr/>
        </p:nvSpPr>
        <p:spPr bwMode="auto">
          <a:xfrm>
            <a:off x="9250680" y="2576625"/>
            <a:ext cx="2346960" cy="2346960"/>
          </a:xfrm>
          <a:prstGeom prst="ellipse">
            <a:avLst/>
          </a:prstGeom>
          <a:solidFill>
            <a:schemeClr val="bg1">
              <a:alpha val="87000"/>
            </a:schemeClr>
          </a:solidFill>
          <a:ln w="190500" cap="flat" cmpd="sng" algn="ctr">
            <a:solidFill>
              <a:schemeClr val="bg1">
                <a:alpha val="43000"/>
              </a:schemeClr>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sv-SE" sz="2000" b="0" i="0" u="none" strike="noStrike" cap="none" normalizeH="0" baseline="0" dirty="0">
              <a:ln>
                <a:noFill/>
              </a:ln>
              <a:solidFill>
                <a:schemeClr val="tx1"/>
              </a:solidFill>
              <a:effectLst/>
              <a:latin typeface="Arial" charset="0"/>
            </a:endParaRPr>
          </a:p>
        </p:txBody>
      </p:sp>
      <p:sp>
        <p:nvSpPr>
          <p:cNvPr id="82" name="Text Box 6"/>
          <p:cNvSpPr txBox="1">
            <a:spLocks noChangeArrowheads="1"/>
          </p:cNvSpPr>
          <p:nvPr/>
        </p:nvSpPr>
        <p:spPr bwMode="auto">
          <a:xfrm>
            <a:off x="9352106" y="3799178"/>
            <a:ext cx="2138854" cy="646331"/>
          </a:xfrm>
          <a:prstGeom prst="rect">
            <a:avLst/>
          </a:prstGeom>
          <a:noFill/>
          <a:ln w="12700">
            <a:noFill/>
            <a:miter lim="800000"/>
            <a:headEnd/>
            <a:tailEnd/>
          </a:ln>
          <a:effectLst/>
        </p:spPr>
        <p:txBody>
          <a:bodyPr wrap="square" lIns="0" rIns="0">
            <a:spAutoFit/>
          </a:bodyPr>
          <a:lstStyle/>
          <a:p>
            <a:pPr algn="ctr">
              <a:spcBef>
                <a:spcPts val="600"/>
              </a:spcBef>
            </a:pPr>
            <a:r>
              <a:rPr lang="en-US" sz="1800" kern="0" dirty="0">
                <a:solidFill>
                  <a:srgbClr val="7C1563"/>
                </a:solidFill>
                <a:latin typeface="+mn-lt"/>
              </a:rPr>
              <a:t>OPTIMIZED FOR</a:t>
            </a:r>
            <a:br>
              <a:rPr lang="en-US" sz="1800" kern="0" dirty="0">
                <a:solidFill>
                  <a:srgbClr val="7C1563"/>
                </a:solidFill>
                <a:latin typeface="+mn-lt"/>
              </a:rPr>
            </a:br>
            <a:r>
              <a:rPr lang="en-US" sz="1800" kern="0" dirty="0">
                <a:solidFill>
                  <a:srgbClr val="7C1563"/>
                </a:solidFill>
                <a:latin typeface="+mn-lt"/>
              </a:rPr>
              <a:t>IOT DIVERSITY </a:t>
            </a:r>
          </a:p>
        </p:txBody>
      </p:sp>
      <p:cxnSp>
        <p:nvCxnSpPr>
          <p:cNvPr id="85" name="Rak 84"/>
          <p:cNvCxnSpPr>
            <a:stCxn id="34" idx="6"/>
            <a:endCxn id="50" idx="2"/>
          </p:cNvCxnSpPr>
          <p:nvPr/>
        </p:nvCxnSpPr>
        <p:spPr bwMode="auto">
          <a:xfrm>
            <a:off x="2956560" y="3750105"/>
            <a:ext cx="548640" cy="0"/>
          </a:xfrm>
          <a:prstGeom prst="line">
            <a:avLst/>
          </a:prstGeom>
          <a:solidFill>
            <a:schemeClr val="accent1"/>
          </a:solidFill>
          <a:ln w="25400" cap="flat" cmpd="sng" algn="ctr">
            <a:solidFill>
              <a:schemeClr val="bg1">
                <a:lumMod val="95000"/>
              </a:schemeClr>
            </a:solidFill>
            <a:prstDash val="solid"/>
            <a:round/>
            <a:headEnd type="none" w="med" len="med"/>
            <a:tailEnd type="none" w="med" len="med"/>
          </a:ln>
          <a:effectLst/>
        </p:spPr>
      </p:cxnSp>
      <p:cxnSp>
        <p:nvCxnSpPr>
          <p:cNvPr id="86" name="Rak 85"/>
          <p:cNvCxnSpPr/>
          <p:nvPr/>
        </p:nvCxnSpPr>
        <p:spPr bwMode="auto">
          <a:xfrm>
            <a:off x="5821680" y="3750105"/>
            <a:ext cx="548640" cy="0"/>
          </a:xfrm>
          <a:prstGeom prst="line">
            <a:avLst/>
          </a:prstGeom>
          <a:solidFill>
            <a:schemeClr val="accent1"/>
          </a:solidFill>
          <a:ln w="25400" cap="flat" cmpd="sng" algn="ctr">
            <a:solidFill>
              <a:schemeClr val="bg1">
                <a:lumMod val="95000"/>
              </a:schemeClr>
            </a:solidFill>
            <a:prstDash val="solid"/>
            <a:round/>
            <a:headEnd type="none" w="med" len="med"/>
            <a:tailEnd type="none" w="med" len="med"/>
          </a:ln>
          <a:effectLst/>
        </p:spPr>
      </p:cxnSp>
      <p:cxnSp>
        <p:nvCxnSpPr>
          <p:cNvPr id="87" name="Rak 86"/>
          <p:cNvCxnSpPr/>
          <p:nvPr/>
        </p:nvCxnSpPr>
        <p:spPr bwMode="auto">
          <a:xfrm>
            <a:off x="8747760" y="3750105"/>
            <a:ext cx="548640" cy="0"/>
          </a:xfrm>
          <a:prstGeom prst="line">
            <a:avLst/>
          </a:prstGeom>
          <a:solidFill>
            <a:schemeClr val="accent1"/>
          </a:solidFill>
          <a:ln w="25400" cap="flat" cmpd="sng" algn="ctr">
            <a:solidFill>
              <a:schemeClr val="bg1">
                <a:lumMod val="95000"/>
              </a:schemeClr>
            </a:solidFill>
            <a:prstDash val="solid"/>
            <a:round/>
            <a:headEnd type="none" w="med" len="med"/>
            <a:tailEnd type="none" w="med" len="med"/>
          </a:ln>
          <a:effectLst/>
        </p:spPr>
      </p:cxnSp>
      <p:pic>
        <p:nvPicPr>
          <p:cNvPr id="31" name="Econ2011"/>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1209564" y="360001"/>
            <a:ext cx="444500" cy="587179"/>
          </a:xfrm>
          <a:prstGeom prst="rect">
            <a:avLst/>
          </a:prstGeom>
        </p:spPr>
      </p:pic>
      <p:sp>
        <p:nvSpPr>
          <p:cNvPr id="35" name="Text Box 6"/>
          <p:cNvSpPr txBox="1">
            <a:spLocks noChangeArrowheads="1"/>
          </p:cNvSpPr>
          <p:nvPr/>
        </p:nvSpPr>
        <p:spPr bwMode="auto">
          <a:xfrm>
            <a:off x="7094814" y="2960739"/>
            <a:ext cx="1377563" cy="861774"/>
          </a:xfrm>
          <a:prstGeom prst="rect">
            <a:avLst/>
          </a:prstGeom>
          <a:noFill/>
          <a:ln w="12700">
            <a:noFill/>
            <a:miter lim="800000"/>
            <a:headEnd/>
            <a:tailEnd/>
          </a:ln>
          <a:effectLst/>
        </p:spPr>
        <p:txBody>
          <a:bodyPr wrap="square" lIns="0" rIns="0">
            <a:spAutoFit/>
          </a:bodyPr>
          <a:lstStyle/>
          <a:p>
            <a:pPr algn="ctr" eaLnBrk="1" fontAlgn="auto" hangingPunct="1">
              <a:spcBef>
                <a:spcPts val="0"/>
              </a:spcBef>
              <a:spcAft>
                <a:spcPts val="0"/>
              </a:spcAft>
              <a:defRPr/>
            </a:pPr>
            <a:r>
              <a:rPr lang="sv-SE" sz="5000" b="1" dirty="0">
                <a:solidFill>
                  <a:schemeClr val="bg2">
                    <a:lumMod val="75000"/>
                  </a:schemeClr>
                </a:solidFill>
                <a:latin typeface="+mj-lt"/>
                <a:ea typeface="Ericsson Capital" charset="0"/>
                <a:cs typeface="Ericsson Capital" charset="0"/>
              </a:rPr>
              <a:t>7x</a:t>
            </a:r>
            <a:endParaRPr lang="en-US" sz="5000" kern="0" dirty="0">
              <a:solidFill>
                <a:schemeClr val="bg2">
                  <a:lumMod val="75000"/>
                </a:schemeClr>
              </a:solidFill>
              <a:latin typeface="+mj-lt"/>
              <a:ea typeface="Ericsson Capital" charset="0"/>
              <a:cs typeface="Ericsson Capital" charset="0"/>
            </a:endParaRPr>
          </a:p>
        </p:txBody>
      </p:sp>
      <p:sp>
        <p:nvSpPr>
          <p:cNvPr id="36" name="Freeform 3"/>
          <p:cNvSpPr>
            <a:spLocks noChangeAspect="1" noEditPoints="1"/>
          </p:cNvSpPr>
          <p:nvPr/>
        </p:nvSpPr>
        <p:spPr bwMode="auto">
          <a:xfrm>
            <a:off x="9804228" y="2807540"/>
            <a:ext cx="1189290" cy="900360"/>
          </a:xfrm>
          <a:custGeom>
            <a:avLst/>
            <a:gdLst>
              <a:gd name="T0" fmla="*/ 2147483647 w 420"/>
              <a:gd name="T1" fmla="*/ 2147483647 h 318"/>
              <a:gd name="T2" fmla="*/ 2147483647 w 420"/>
              <a:gd name="T3" fmla="*/ 2147483647 h 318"/>
              <a:gd name="T4" fmla="*/ 2147483647 w 420"/>
              <a:gd name="T5" fmla="*/ 2147483647 h 318"/>
              <a:gd name="T6" fmla="*/ 2147483647 w 420"/>
              <a:gd name="T7" fmla="*/ 2147483647 h 318"/>
              <a:gd name="T8" fmla="*/ 2147483647 w 420"/>
              <a:gd name="T9" fmla="*/ 2147483647 h 318"/>
              <a:gd name="T10" fmla="*/ 2147483647 w 420"/>
              <a:gd name="T11" fmla="*/ 2147483647 h 318"/>
              <a:gd name="T12" fmla="*/ 2147483647 w 420"/>
              <a:gd name="T13" fmla="*/ 2147483647 h 318"/>
              <a:gd name="T14" fmla="*/ 2147483647 w 420"/>
              <a:gd name="T15" fmla="*/ 2147483647 h 318"/>
              <a:gd name="T16" fmla="*/ 2147483647 w 420"/>
              <a:gd name="T17" fmla="*/ 2147483647 h 318"/>
              <a:gd name="T18" fmla="*/ 2147483647 w 420"/>
              <a:gd name="T19" fmla="*/ 2147483647 h 318"/>
              <a:gd name="T20" fmla="*/ 2147483647 w 420"/>
              <a:gd name="T21" fmla="*/ 2147483647 h 318"/>
              <a:gd name="T22" fmla="*/ 2147483647 w 420"/>
              <a:gd name="T23" fmla="*/ 2147483647 h 318"/>
              <a:gd name="T24" fmla="*/ 2147483647 w 420"/>
              <a:gd name="T25" fmla="*/ 2147483647 h 318"/>
              <a:gd name="T26" fmla="*/ 2147483647 w 420"/>
              <a:gd name="T27" fmla="*/ 2147483647 h 318"/>
              <a:gd name="T28" fmla="*/ 2147483647 w 420"/>
              <a:gd name="T29" fmla="*/ 2147483647 h 318"/>
              <a:gd name="T30" fmla="*/ 2147483647 w 420"/>
              <a:gd name="T31" fmla="*/ 2147483647 h 318"/>
              <a:gd name="T32" fmla="*/ 2147483647 w 420"/>
              <a:gd name="T33" fmla="*/ 2147483647 h 318"/>
              <a:gd name="T34" fmla="*/ 0 w 420"/>
              <a:gd name="T35" fmla="*/ 2147483647 h 318"/>
              <a:gd name="T36" fmla="*/ 2147483647 w 420"/>
              <a:gd name="T37" fmla="*/ 2147483647 h 318"/>
              <a:gd name="T38" fmla="*/ 2147483647 w 420"/>
              <a:gd name="T39" fmla="*/ 2147483647 h 318"/>
              <a:gd name="T40" fmla="*/ 2147483647 w 420"/>
              <a:gd name="T41" fmla="*/ 2147483647 h 318"/>
              <a:gd name="T42" fmla="*/ 2147483647 w 420"/>
              <a:gd name="T43" fmla="*/ 2147483647 h 318"/>
              <a:gd name="T44" fmla="*/ 2147483647 w 420"/>
              <a:gd name="T45" fmla="*/ 2147483647 h 318"/>
              <a:gd name="T46" fmla="*/ 2147483647 w 420"/>
              <a:gd name="T47" fmla="*/ 2147483647 h 318"/>
              <a:gd name="T48" fmla="*/ 2147483647 w 420"/>
              <a:gd name="T49" fmla="*/ 2147483647 h 318"/>
              <a:gd name="T50" fmla="*/ 2147483647 w 420"/>
              <a:gd name="T51" fmla="*/ 2147483647 h 318"/>
              <a:gd name="T52" fmla="*/ 2147483647 w 420"/>
              <a:gd name="T53" fmla="*/ 2147483647 h 318"/>
              <a:gd name="T54" fmla="*/ 2147483647 w 420"/>
              <a:gd name="T55" fmla="*/ 2147483647 h 318"/>
              <a:gd name="T56" fmla="*/ 2147483647 w 420"/>
              <a:gd name="T57" fmla="*/ 2147483647 h 318"/>
              <a:gd name="T58" fmla="*/ 2147483647 w 420"/>
              <a:gd name="T59" fmla="*/ 2147483647 h 318"/>
              <a:gd name="T60" fmla="*/ 2147483647 w 420"/>
              <a:gd name="T61" fmla="*/ 2147483647 h 318"/>
              <a:gd name="T62" fmla="*/ 2147483647 w 420"/>
              <a:gd name="T63" fmla="*/ 2147483647 h 318"/>
              <a:gd name="T64" fmla="*/ 2147483647 w 420"/>
              <a:gd name="T65" fmla="*/ 2147483647 h 318"/>
              <a:gd name="T66" fmla="*/ 2147483647 w 420"/>
              <a:gd name="T67" fmla="*/ 2147483647 h 318"/>
              <a:gd name="T68" fmla="*/ 2147483647 w 420"/>
              <a:gd name="T69" fmla="*/ 2147483647 h 318"/>
              <a:gd name="T70" fmla="*/ 2147483647 w 420"/>
              <a:gd name="T71" fmla="*/ 2147483647 h 318"/>
              <a:gd name="T72" fmla="*/ 2147483647 w 420"/>
              <a:gd name="T73" fmla="*/ 2147483647 h 318"/>
              <a:gd name="T74" fmla="*/ 2147483647 w 420"/>
              <a:gd name="T75" fmla="*/ 2147483647 h 318"/>
              <a:gd name="T76" fmla="*/ 2147483647 w 420"/>
              <a:gd name="T77" fmla="*/ 2147483647 h 318"/>
              <a:gd name="T78" fmla="*/ 2147483647 w 420"/>
              <a:gd name="T79" fmla="*/ 2147483647 h 318"/>
              <a:gd name="T80" fmla="*/ 2147483647 w 420"/>
              <a:gd name="T81" fmla="*/ 2147483647 h 318"/>
              <a:gd name="T82" fmla="*/ 2147483647 w 420"/>
              <a:gd name="T83" fmla="*/ 2147483647 h 318"/>
              <a:gd name="T84" fmla="*/ 2147483647 w 420"/>
              <a:gd name="T85" fmla="*/ 2147483647 h 318"/>
              <a:gd name="T86" fmla="*/ 2147483647 w 420"/>
              <a:gd name="T87" fmla="*/ 2147483647 h 318"/>
              <a:gd name="T88" fmla="*/ 2147483647 w 420"/>
              <a:gd name="T89" fmla="*/ 2147483647 h 318"/>
              <a:gd name="T90" fmla="*/ 2147483647 w 420"/>
              <a:gd name="T91" fmla="*/ 2147483647 h 318"/>
              <a:gd name="T92" fmla="*/ 2147483647 w 420"/>
              <a:gd name="T93" fmla="*/ 2147483647 h 318"/>
              <a:gd name="T94" fmla="*/ 2147483647 w 420"/>
              <a:gd name="T95" fmla="*/ 2147483647 h 318"/>
              <a:gd name="T96" fmla="*/ 2147483647 w 420"/>
              <a:gd name="T97" fmla="*/ 2147483647 h 318"/>
              <a:gd name="T98" fmla="*/ 2147483647 w 420"/>
              <a:gd name="T99" fmla="*/ 2147483647 h 318"/>
              <a:gd name="T100" fmla="*/ 2147483647 w 420"/>
              <a:gd name="T101" fmla="*/ 2147483647 h 31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420" h="318">
                <a:moveTo>
                  <a:pt x="96" y="127"/>
                </a:moveTo>
                <a:cubicBezTo>
                  <a:pt x="97" y="126"/>
                  <a:pt x="99" y="125"/>
                  <a:pt x="99" y="123"/>
                </a:cubicBezTo>
                <a:cubicBezTo>
                  <a:pt x="103" y="102"/>
                  <a:pt x="103" y="102"/>
                  <a:pt x="103" y="102"/>
                </a:cubicBezTo>
                <a:cubicBezTo>
                  <a:pt x="124" y="98"/>
                  <a:pt x="124" y="98"/>
                  <a:pt x="124" y="98"/>
                </a:cubicBezTo>
                <a:cubicBezTo>
                  <a:pt x="125" y="98"/>
                  <a:pt x="126" y="97"/>
                  <a:pt x="127" y="97"/>
                </a:cubicBezTo>
                <a:cubicBezTo>
                  <a:pt x="127" y="96"/>
                  <a:pt x="128" y="96"/>
                  <a:pt x="128" y="95"/>
                </a:cubicBezTo>
                <a:cubicBezTo>
                  <a:pt x="128" y="93"/>
                  <a:pt x="127" y="91"/>
                  <a:pt x="126" y="90"/>
                </a:cubicBezTo>
                <a:cubicBezTo>
                  <a:pt x="107" y="80"/>
                  <a:pt x="107" y="80"/>
                  <a:pt x="107" y="80"/>
                </a:cubicBezTo>
                <a:cubicBezTo>
                  <a:pt x="110" y="58"/>
                  <a:pt x="110" y="58"/>
                  <a:pt x="110" y="58"/>
                </a:cubicBezTo>
                <a:cubicBezTo>
                  <a:pt x="110" y="57"/>
                  <a:pt x="109" y="55"/>
                  <a:pt x="107" y="54"/>
                </a:cubicBezTo>
                <a:cubicBezTo>
                  <a:pt x="106" y="53"/>
                  <a:pt x="104" y="54"/>
                  <a:pt x="103" y="55"/>
                </a:cubicBezTo>
                <a:cubicBezTo>
                  <a:pt x="87" y="70"/>
                  <a:pt x="87" y="70"/>
                  <a:pt x="87" y="70"/>
                </a:cubicBezTo>
                <a:cubicBezTo>
                  <a:pt x="67" y="60"/>
                  <a:pt x="67" y="60"/>
                  <a:pt x="67" y="60"/>
                </a:cubicBezTo>
                <a:cubicBezTo>
                  <a:pt x="66" y="60"/>
                  <a:pt x="64" y="60"/>
                  <a:pt x="63" y="61"/>
                </a:cubicBezTo>
                <a:cubicBezTo>
                  <a:pt x="61" y="62"/>
                  <a:pt x="61" y="64"/>
                  <a:pt x="62" y="66"/>
                </a:cubicBezTo>
                <a:cubicBezTo>
                  <a:pt x="71" y="86"/>
                  <a:pt x="71" y="86"/>
                  <a:pt x="71" y="86"/>
                </a:cubicBezTo>
                <a:cubicBezTo>
                  <a:pt x="56" y="101"/>
                  <a:pt x="56" y="101"/>
                  <a:pt x="56" y="101"/>
                </a:cubicBezTo>
                <a:cubicBezTo>
                  <a:pt x="55" y="102"/>
                  <a:pt x="55" y="104"/>
                  <a:pt x="55" y="106"/>
                </a:cubicBezTo>
                <a:cubicBezTo>
                  <a:pt x="56" y="107"/>
                  <a:pt x="58" y="108"/>
                  <a:pt x="60" y="108"/>
                </a:cubicBezTo>
                <a:cubicBezTo>
                  <a:pt x="81" y="105"/>
                  <a:pt x="81" y="105"/>
                  <a:pt x="81" y="105"/>
                </a:cubicBezTo>
                <a:cubicBezTo>
                  <a:pt x="91" y="124"/>
                  <a:pt x="91" y="124"/>
                  <a:pt x="91" y="124"/>
                </a:cubicBezTo>
                <a:cubicBezTo>
                  <a:pt x="92" y="126"/>
                  <a:pt x="94" y="127"/>
                  <a:pt x="96" y="127"/>
                </a:cubicBezTo>
                <a:close/>
                <a:moveTo>
                  <a:pt x="193" y="44"/>
                </a:moveTo>
                <a:cubicBezTo>
                  <a:pt x="186" y="65"/>
                  <a:pt x="186" y="65"/>
                  <a:pt x="186" y="65"/>
                </a:cubicBezTo>
                <a:cubicBezTo>
                  <a:pt x="186" y="67"/>
                  <a:pt x="187" y="69"/>
                  <a:pt x="188" y="70"/>
                </a:cubicBezTo>
                <a:cubicBezTo>
                  <a:pt x="189" y="71"/>
                  <a:pt x="191" y="71"/>
                  <a:pt x="193" y="70"/>
                </a:cubicBezTo>
                <a:cubicBezTo>
                  <a:pt x="211" y="57"/>
                  <a:pt x="211" y="57"/>
                  <a:pt x="211" y="57"/>
                </a:cubicBezTo>
                <a:cubicBezTo>
                  <a:pt x="228" y="70"/>
                  <a:pt x="228" y="70"/>
                  <a:pt x="228" y="70"/>
                </a:cubicBezTo>
                <a:cubicBezTo>
                  <a:pt x="229" y="70"/>
                  <a:pt x="230" y="70"/>
                  <a:pt x="231" y="70"/>
                </a:cubicBezTo>
                <a:cubicBezTo>
                  <a:pt x="232" y="70"/>
                  <a:pt x="232" y="70"/>
                  <a:pt x="233" y="70"/>
                </a:cubicBezTo>
                <a:cubicBezTo>
                  <a:pt x="235" y="69"/>
                  <a:pt x="235" y="67"/>
                  <a:pt x="235" y="65"/>
                </a:cubicBezTo>
                <a:cubicBezTo>
                  <a:pt x="228" y="44"/>
                  <a:pt x="228" y="44"/>
                  <a:pt x="228" y="44"/>
                </a:cubicBezTo>
                <a:cubicBezTo>
                  <a:pt x="246" y="31"/>
                  <a:pt x="246" y="31"/>
                  <a:pt x="246" y="31"/>
                </a:cubicBezTo>
                <a:cubicBezTo>
                  <a:pt x="247" y="30"/>
                  <a:pt x="248" y="28"/>
                  <a:pt x="247" y="27"/>
                </a:cubicBezTo>
                <a:cubicBezTo>
                  <a:pt x="247" y="25"/>
                  <a:pt x="245" y="24"/>
                  <a:pt x="243" y="24"/>
                </a:cubicBezTo>
                <a:cubicBezTo>
                  <a:pt x="222" y="23"/>
                  <a:pt x="222" y="23"/>
                  <a:pt x="222" y="23"/>
                </a:cubicBezTo>
                <a:cubicBezTo>
                  <a:pt x="214" y="3"/>
                  <a:pt x="214" y="3"/>
                  <a:pt x="214" y="3"/>
                </a:cubicBezTo>
                <a:cubicBezTo>
                  <a:pt x="214" y="1"/>
                  <a:pt x="212" y="0"/>
                  <a:pt x="211" y="0"/>
                </a:cubicBezTo>
                <a:cubicBezTo>
                  <a:pt x="209" y="0"/>
                  <a:pt x="207" y="1"/>
                  <a:pt x="207" y="3"/>
                </a:cubicBezTo>
                <a:cubicBezTo>
                  <a:pt x="200" y="23"/>
                  <a:pt x="200" y="23"/>
                  <a:pt x="200" y="23"/>
                </a:cubicBezTo>
                <a:cubicBezTo>
                  <a:pt x="178" y="24"/>
                  <a:pt x="178" y="24"/>
                  <a:pt x="178" y="24"/>
                </a:cubicBezTo>
                <a:cubicBezTo>
                  <a:pt x="176" y="24"/>
                  <a:pt x="174" y="25"/>
                  <a:pt x="174" y="27"/>
                </a:cubicBezTo>
                <a:cubicBezTo>
                  <a:pt x="173" y="28"/>
                  <a:pt x="174" y="30"/>
                  <a:pt x="175" y="31"/>
                </a:cubicBezTo>
                <a:lnTo>
                  <a:pt x="193" y="44"/>
                </a:lnTo>
                <a:close/>
                <a:moveTo>
                  <a:pt x="71" y="190"/>
                </a:moveTo>
                <a:cubicBezTo>
                  <a:pt x="71" y="189"/>
                  <a:pt x="71" y="188"/>
                  <a:pt x="70" y="187"/>
                </a:cubicBezTo>
                <a:cubicBezTo>
                  <a:pt x="69" y="186"/>
                  <a:pt x="67" y="185"/>
                  <a:pt x="66" y="186"/>
                </a:cubicBezTo>
                <a:cubicBezTo>
                  <a:pt x="45" y="192"/>
                  <a:pt x="45" y="192"/>
                  <a:pt x="45" y="192"/>
                </a:cubicBezTo>
                <a:cubicBezTo>
                  <a:pt x="32" y="174"/>
                  <a:pt x="32" y="174"/>
                  <a:pt x="32" y="174"/>
                </a:cubicBezTo>
                <a:cubicBezTo>
                  <a:pt x="31" y="173"/>
                  <a:pt x="29" y="172"/>
                  <a:pt x="27" y="173"/>
                </a:cubicBezTo>
                <a:cubicBezTo>
                  <a:pt x="26" y="173"/>
                  <a:pt x="25" y="175"/>
                  <a:pt x="25" y="177"/>
                </a:cubicBezTo>
                <a:cubicBezTo>
                  <a:pt x="24" y="198"/>
                  <a:pt x="24" y="198"/>
                  <a:pt x="24" y="198"/>
                </a:cubicBezTo>
                <a:cubicBezTo>
                  <a:pt x="3" y="205"/>
                  <a:pt x="3" y="205"/>
                  <a:pt x="3" y="205"/>
                </a:cubicBezTo>
                <a:cubicBezTo>
                  <a:pt x="1" y="206"/>
                  <a:pt x="0" y="207"/>
                  <a:pt x="0" y="209"/>
                </a:cubicBezTo>
                <a:cubicBezTo>
                  <a:pt x="0" y="211"/>
                  <a:pt x="1" y="212"/>
                  <a:pt x="3" y="213"/>
                </a:cubicBezTo>
                <a:cubicBezTo>
                  <a:pt x="24" y="221"/>
                  <a:pt x="24" y="221"/>
                  <a:pt x="24" y="221"/>
                </a:cubicBezTo>
                <a:cubicBezTo>
                  <a:pt x="24" y="242"/>
                  <a:pt x="24" y="242"/>
                  <a:pt x="24" y="242"/>
                </a:cubicBezTo>
                <a:cubicBezTo>
                  <a:pt x="24" y="244"/>
                  <a:pt x="25" y="246"/>
                  <a:pt x="26" y="246"/>
                </a:cubicBezTo>
                <a:cubicBezTo>
                  <a:pt x="28" y="247"/>
                  <a:pt x="30" y="246"/>
                  <a:pt x="31" y="245"/>
                </a:cubicBezTo>
                <a:cubicBezTo>
                  <a:pt x="44" y="228"/>
                  <a:pt x="44" y="228"/>
                  <a:pt x="44" y="228"/>
                </a:cubicBezTo>
                <a:cubicBezTo>
                  <a:pt x="65" y="234"/>
                  <a:pt x="65" y="234"/>
                  <a:pt x="65" y="234"/>
                </a:cubicBezTo>
                <a:cubicBezTo>
                  <a:pt x="67" y="235"/>
                  <a:pt x="69" y="234"/>
                  <a:pt x="70" y="233"/>
                </a:cubicBezTo>
                <a:cubicBezTo>
                  <a:pt x="71" y="231"/>
                  <a:pt x="71" y="229"/>
                  <a:pt x="70" y="228"/>
                </a:cubicBezTo>
                <a:cubicBezTo>
                  <a:pt x="58" y="210"/>
                  <a:pt x="58" y="210"/>
                  <a:pt x="58" y="210"/>
                </a:cubicBezTo>
                <a:cubicBezTo>
                  <a:pt x="70" y="192"/>
                  <a:pt x="70" y="192"/>
                  <a:pt x="70" y="192"/>
                </a:cubicBezTo>
                <a:cubicBezTo>
                  <a:pt x="71" y="191"/>
                  <a:pt x="71" y="191"/>
                  <a:pt x="71" y="190"/>
                </a:cubicBezTo>
                <a:close/>
                <a:moveTo>
                  <a:pt x="417" y="205"/>
                </a:moveTo>
                <a:cubicBezTo>
                  <a:pt x="397" y="198"/>
                  <a:pt x="397" y="198"/>
                  <a:pt x="397" y="198"/>
                </a:cubicBezTo>
                <a:cubicBezTo>
                  <a:pt x="396" y="177"/>
                  <a:pt x="396" y="177"/>
                  <a:pt x="396" y="177"/>
                </a:cubicBezTo>
                <a:cubicBezTo>
                  <a:pt x="396" y="175"/>
                  <a:pt x="395" y="173"/>
                  <a:pt x="393" y="173"/>
                </a:cubicBezTo>
                <a:cubicBezTo>
                  <a:pt x="391" y="172"/>
                  <a:pt x="390" y="173"/>
                  <a:pt x="389" y="174"/>
                </a:cubicBezTo>
                <a:cubicBezTo>
                  <a:pt x="376" y="192"/>
                  <a:pt x="376" y="192"/>
                  <a:pt x="376" y="192"/>
                </a:cubicBezTo>
                <a:cubicBezTo>
                  <a:pt x="355" y="186"/>
                  <a:pt x="355" y="186"/>
                  <a:pt x="355" y="186"/>
                </a:cubicBezTo>
                <a:cubicBezTo>
                  <a:pt x="353" y="185"/>
                  <a:pt x="351" y="186"/>
                  <a:pt x="350" y="187"/>
                </a:cubicBezTo>
                <a:cubicBezTo>
                  <a:pt x="350" y="188"/>
                  <a:pt x="349" y="189"/>
                  <a:pt x="349" y="190"/>
                </a:cubicBezTo>
                <a:cubicBezTo>
                  <a:pt x="349" y="191"/>
                  <a:pt x="350" y="191"/>
                  <a:pt x="350" y="192"/>
                </a:cubicBezTo>
                <a:cubicBezTo>
                  <a:pt x="363" y="210"/>
                  <a:pt x="363" y="210"/>
                  <a:pt x="363" y="210"/>
                </a:cubicBezTo>
                <a:cubicBezTo>
                  <a:pt x="351" y="228"/>
                  <a:pt x="351" y="228"/>
                  <a:pt x="351" y="228"/>
                </a:cubicBezTo>
                <a:cubicBezTo>
                  <a:pt x="350" y="229"/>
                  <a:pt x="350" y="231"/>
                  <a:pt x="351" y="233"/>
                </a:cubicBezTo>
                <a:cubicBezTo>
                  <a:pt x="352" y="234"/>
                  <a:pt x="354" y="235"/>
                  <a:pt x="355" y="234"/>
                </a:cubicBezTo>
                <a:cubicBezTo>
                  <a:pt x="376" y="228"/>
                  <a:pt x="376" y="228"/>
                  <a:pt x="376" y="228"/>
                </a:cubicBezTo>
                <a:cubicBezTo>
                  <a:pt x="389" y="245"/>
                  <a:pt x="389" y="245"/>
                  <a:pt x="389" y="245"/>
                </a:cubicBezTo>
                <a:cubicBezTo>
                  <a:pt x="390" y="246"/>
                  <a:pt x="392" y="247"/>
                  <a:pt x="394" y="246"/>
                </a:cubicBezTo>
                <a:cubicBezTo>
                  <a:pt x="396" y="246"/>
                  <a:pt x="397" y="244"/>
                  <a:pt x="397" y="242"/>
                </a:cubicBezTo>
                <a:cubicBezTo>
                  <a:pt x="397" y="221"/>
                  <a:pt x="397" y="221"/>
                  <a:pt x="397" y="221"/>
                </a:cubicBezTo>
                <a:cubicBezTo>
                  <a:pt x="417" y="213"/>
                  <a:pt x="417" y="213"/>
                  <a:pt x="417" y="213"/>
                </a:cubicBezTo>
                <a:cubicBezTo>
                  <a:pt x="419" y="212"/>
                  <a:pt x="420" y="211"/>
                  <a:pt x="420" y="209"/>
                </a:cubicBezTo>
                <a:cubicBezTo>
                  <a:pt x="420" y="207"/>
                  <a:pt x="419" y="206"/>
                  <a:pt x="417" y="205"/>
                </a:cubicBezTo>
                <a:close/>
                <a:moveTo>
                  <a:pt x="371" y="108"/>
                </a:moveTo>
                <a:cubicBezTo>
                  <a:pt x="373" y="108"/>
                  <a:pt x="375" y="107"/>
                  <a:pt x="376" y="106"/>
                </a:cubicBezTo>
                <a:cubicBezTo>
                  <a:pt x="376" y="104"/>
                  <a:pt x="376" y="102"/>
                  <a:pt x="375" y="101"/>
                </a:cubicBezTo>
                <a:cubicBezTo>
                  <a:pt x="360" y="86"/>
                  <a:pt x="360" y="86"/>
                  <a:pt x="360" y="86"/>
                </a:cubicBezTo>
                <a:cubicBezTo>
                  <a:pt x="369" y="66"/>
                  <a:pt x="369" y="66"/>
                  <a:pt x="369" y="66"/>
                </a:cubicBezTo>
                <a:cubicBezTo>
                  <a:pt x="370" y="64"/>
                  <a:pt x="370" y="62"/>
                  <a:pt x="368" y="61"/>
                </a:cubicBezTo>
                <a:cubicBezTo>
                  <a:pt x="367" y="60"/>
                  <a:pt x="365" y="60"/>
                  <a:pt x="364" y="60"/>
                </a:cubicBezTo>
                <a:cubicBezTo>
                  <a:pt x="344" y="70"/>
                  <a:pt x="344" y="70"/>
                  <a:pt x="344" y="70"/>
                </a:cubicBezTo>
                <a:cubicBezTo>
                  <a:pt x="328" y="55"/>
                  <a:pt x="328" y="55"/>
                  <a:pt x="328" y="55"/>
                </a:cubicBezTo>
                <a:cubicBezTo>
                  <a:pt x="327" y="54"/>
                  <a:pt x="325" y="53"/>
                  <a:pt x="324" y="54"/>
                </a:cubicBezTo>
                <a:cubicBezTo>
                  <a:pt x="322" y="55"/>
                  <a:pt x="321" y="57"/>
                  <a:pt x="321" y="58"/>
                </a:cubicBezTo>
                <a:cubicBezTo>
                  <a:pt x="324" y="80"/>
                  <a:pt x="324" y="80"/>
                  <a:pt x="324" y="80"/>
                </a:cubicBezTo>
                <a:cubicBezTo>
                  <a:pt x="305" y="90"/>
                  <a:pt x="305" y="90"/>
                  <a:pt x="305" y="90"/>
                </a:cubicBezTo>
                <a:cubicBezTo>
                  <a:pt x="304" y="91"/>
                  <a:pt x="303" y="93"/>
                  <a:pt x="303" y="95"/>
                </a:cubicBezTo>
                <a:cubicBezTo>
                  <a:pt x="303" y="96"/>
                  <a:pt x="304" y="96"/>
                  <a:pt x="304" y="97"/>
                </a:cubicBezTo>
                <a:cubicBezTo>
                  <a:pt x="305" y="97"/>
                  <a:pt x="306" y="98"/>
                  <a:pt x="307" y="98"/>
                </a:cubicBezTo>
                <a:cubicBezTo>
                  <a:pt x="328" y="102"/>
                  <a:pt x="328" y="102"/>
                  <a:pt x="328" y="102"/>
                </a:cubicBezTo>
                <a:cubicBezTo>
                  <a:pt x="332" y="123"/>
                  <a:pt x="332" y="123"/>
                  <a:pt x="332" y="123"/>
                </a:cubicBezTo>
                <a:cubicBezTo>
                  <a:pt x="332" y="125"/>
                  <a:pt x="334" y="126"/>
                  <a:pt x="335" y="127"/>
                </a:cubicBezTo>
                <a:cubicBezTo>
                  <a:pt x="337" y="127"/>
                  <a:pt x="339" y="126"/>
                  <a:pt x="340" y="124"/>
                </a:cubicBezTo>
                <a:cubicBezTo>
                  <a:pt x="350" y="105"/>
                  <a:pt x="350" y="105"/>
                  <a:pt x="350" y="105"/>
                </a:cubicBezTo>
                <a:lnTo>
                  <a:pt x="371" y="108"/>
                </a:lnTo>
                <a:close/>
                <a:moveTo>
                  <a:pt x="320" y="173"/>
                </a:moveTo>
                <a:cubicBezTo>
                  <a:pt x="242" y="173"/>
                  <a:pt x="242" y="173"/>
                  <a:pt x="242" y="173"/>
                </a:cubicBezTo>
                <a:cubicBezTo>
                  <a:pt x="240" y="167"/>
                  <a:pt x="240" y="167"/>
                  <a:pt x="240" y="167"/>
                </a:cubicBezTo>
                <a:cubicBezTo>
                  <a:pt x="239" y="162"/>
                  <a:pt x="234" y="160"/>
                  <a:pt x="230" y="161"/>
                </a:cubicBezTo>
                <a:cubicBezTo>
                  <a:pt x="226" y="163"/>
                  <a:pt x="223" y="167"/>
                  <a:pt x="225" y="171"/>
                </a:cubicBezTo>
                <a:cubicBezTo>
                  <a:pt x="229" y="184"/>
                  <a:pt x="229" y="184"/>
                  <a:pt x="229" y="184"/>
                </a:cubicBezTo>
                <a:cubicBezTo>
                  <a:pt x="230" y="187"/>
                  <a:pt x="233" y="189"/>
                  <a:pt x="236" y="189"/>
                </a:cubicBezTo>
                <a:cubicBezTo>
                  <a:pt x="295" y="189"/>
                  <a:pt x="295" y="189"/>
                  <a:pt x="295" y="189"/>
                </a:cubicBezTo>
                <a:cubicBezTo>
                  <a:pt x="248" y="224"/>
                  <a:pt x="248" y="224"/>
                  <a:pt x="248" y="224"/>
                </a:cubicBezTo>
                <a:cubicBezTo>
                  <a:pt x="245" y="226"/>
                  <a:pt x="244" y="229"/>
                  <a:pt x="245" y="233"/>
                </a:cubicBezTo>
                <a:cubicBezTo>
                  <a:pt x="263" y="289"/>
                  <a:pt x="263" y="289"/>
                  <a:pt x="263" y="289"/>
                </a:cubicBezTo>
                <a:cubicBezTo>
                  <a:pt x="215" y="254"/>
                  <a:pt x="215" y="254"/>
                  <a:pt x="215" y="254"/>
                </a:cubicBezTo>
                <a:cubicBezTo>
                  <a:pt x="212" y="252"/>
                  <a:pt x="209" y="252"/>
                  <a:pt x="206" y="254"/>
                </a:cubicBezTo>
                <a:cubicBezTo>
                  <a:pt x="158" y="289"/>
                  <a:pt x="158" y="289"/>
                  <a:pt x="158" y="289"/>
                </a:cubicBezTo>
                <a:cubicBezTo>
                  <a:pt x="176" y="233"/>
                  <a:pt x="176" y="233"/>
                  <a:pt x="176" y="233"/>
                </a:cubicBezTo>
                <a:cubicBezTo>
                  <a:pt x="177" y="229"/>
                  <a:pt x="176" y="226"/>
                  <a:pt x="173" y="224"/>
                </a:cubicBezTo>
                <a:cubicBezTo>
                  <a:pt x="126" y="189"/>
                  <a:pt x="126" y="189"/>
                  <a:pt x="126" y="189"/>
                </a:cubicBezTo>
                <a:cubicBezTo>
                  <a:pt x="185" y="189"/>
                  <a:pt x="185" y="189"/>
                  <a:pt x="185" y="189"/>
                </a:cubicBezTo>
                <a:cubicBezTo>
                  <a:pt x="188" y="189"/>
                  <a:pt x="191" y="187"/>
                  <a:pt x="192" y="184"/>
                </a:cubicBezTo>
                <a:cubicBezTo>
                  <a:pt x="211" y="128"/>
                  <a:pt x="211" y="128"/>
                  <a:pt x="211" y="128"/>
                </a:cubicBezTo>
                <a:cubicBezTo>
                  <a:pt x="215" y="141"/>
                  <a:pt x="215" y="141"/>
                  <a:pt x="215" y="141"/>
                </a:cubicBezTo>
                <a:cubicBezTo>
                  <a:pt x="216" y="145"/>
                  <a:pt x="221" y="147"/>
                  <a:pt x="225" y="146"/>
                </a:cubicBezTo>
                <a:cubicBezTo>
                  <a:pt x="229" y="145"/>
                  <a:pt x="231" y="140"/>
                  <a:pt x="230" y="136"/>
                </a:cubicBezTo>
                <a:cubicBezTo>
                  <a:pt x="218" y="99"/>
                  <a:pt x="218" y="99"/>
                  <a:pt x="218" y="99"/>
                </a:cubicBezTo>
                <a:cubicBezTo>
                  <a:pt x="217" y="96"/>
                  <a:pt x="214" y="94"/>
                  <a:pt x="211" y="94"/>
                </a:cubicBezTo>
                <a:cubicBezTo>
                  <a:pt x="207" y="94"/>
                  <a:pt x="204" y="96"/>
                  <a:pt x="203" y="99"/>
                </a:cubicBezTo>
                <a:cubicBezTo>
                  <a:pt x="179" y="173"/>
                  <a:pt x="179" y="173"/>
                  <a:pt x="179" y="173"/>
                </a:cubicBezTo>
                <a:cubicBezTo>
                  <a:pt x="101" y="173"/>
                  <a:pt x="101" y="173"/>
                  <a:pt x="101" y="173"/>
                </a:cubicBezTo>
                <a:cubicBezTo>
                  <a:pt x="98" y="173"/>
                  <a:pt x="95" y="175"/>
                  <a:pt x="94" y="179"/>
                </a:cubicBezTo>
                <a:cubicBezTo>
                  <a:pt x="92" y="182"/>
                  <a:pt x="94" y="186"/>
                  <a:pt x="96" y="188"/>
                </a:cubicBezTo>
                <a:cubicBezTo>
                  <a:pt x="159" y="233"/>
                  <a:pt x="159" y="233"/>
                  <a:pt x="159" y="233"/>
                </a:cubicBezTo>
                <a:cubicBezTo>
                  <a:pt x="135" y="307"/>
                  <a:pt x="135" y="307"/>
                  <a:pt x="135" y="307"/>
                </a:cubicBezTo>
                <a:cubicBezTo>
                  <a:pt x="134" y="311"/>
                  <a:pt x="135" y="314"/>
                  <a:pt x="138" y="316"/>
                </a:cubicBezTo>
                <a:cubicBezTo>
                  <a:pt x="140" y="317"/>
                  <a:pt x="141" y="318"/>
                  <a:pt x="143" y="318"/>
                </a:cubicBezTo>
                <a:cubicBezTo>
                  <a:pt x="145" y="318"/>
                  <a:pt x="146" y="317"/>
                  <a:pt x="148" y="316"/>
                </a:cubicBezTo>
                <a:cubicBezTo>
                  <a:pt x="211" y="270"/>
                  <a:pt x="211" y="270"/>
                  <a:pt x="211" y="270"/>
                </a:cubicBezTo>
                <a:cubicBezTo>
                  <a:pt x="273" y="316"/>
                  <a:pt x="273" y="316"/>
                  <a:pt x="273" y="316"/>
                </a:cubicBezTo>
                <a:cubicBezTo>
                  <a:pt x="276" y="318"/>
                  <a:pt x="280" y="318"/>
                  <a:pt x="283" y="316"/>
                </a:cubicBezTo>
                <a:cubicBezTo>
                  <a:pt x="286" y="314"/>
                  <a:pt x="287" y="311"/>
                  <a:pt x="286" y="307"/>
                </a:cubicBezTo>
                <a:cubicBezTo>
                  <a:pt x="262" y="233"/>
                  <a:pt x="262" y="233"/>
                  <a:pt x="262" y="233"/>
                </a:cubicBezTo>
                <a:cubicBezTo>
                  <a:pt x="325" y="188"/>
                  <a:pt x="325" y="188"/>
                  <a:pt x="325" y="188"/>
                </a:cubicBezTo>
                <a:cubicBezTo>
                  <a:pt x="327" y="186"/>
                  <a:pt x="329" y="182"/>
                  <a:pt x="328" y="179"/>
                </a:cubicBezTo>
                <a:cubicBezTo>
                  <a:pt x="326" y="175"/>
                  <a:pt x="323" y="173"/>
                  <a:pt x="320" y="173"/>
                </a:cubicBezTo>
                <a:close/>
              </a:path>
            </a:pathLst>
          </a:custGeom>
          <a:solidFill>
            <a:schemeClr val="bg2">
              <a:lumMod val="75000"/>
            </a:schemeClr>
          </a:solidFill>
          <a:ln>
            <a:noFill/>
          </a:ln>
        </p:spPr>
        <p:txBody>
          <a:bodyPr/>
          <a:lstStyle/>
          <a:p>
            <a:endParaRPr lang="en-US" dirty="0"/>
          </a:p>
        </p:txBody>
      </p:sp>
      <p:sp>
        <p:nvSpPr>
          <p:cNvPr id="37" name="Text Box 6"/>
          <p:cNvSpPr txBox="1">
            <a:spLocks noChangeArrowheads="1"/>
          </p:cNvSpPr>
          <p:nvPr/>
        </p:nvSpPr>
        <p:spPr bwMode="auto">
          <a:xfrm>
            <a:off x="9394636" y="5190446"/>
            <a:ext cx="2138854" cy="830997"/>
          </a:xfrm>
          <a:prstGeom prst="rect">
            <a:avLst/>
          </a:prstGeom>
          <a:noFill/>
          <a:ln w="12700">
            <a:noFill/>
            <a:miter lim="800000"/>
            <a:headEnd/>
            <a:tailEnd/>
          </a:ln>
          <a:effectLst/>
        </p:spPr>
        <p:txBody>
          <a:bodyPr wrap="square" lIns="0" rIns="0">
            <a:spAutoFit/>
          </a:bodyPr>
          <a:lstStyle/>
          <a:p>
            <a:pPr algn="ctr">
              <a:spcBef>
                <a:spcPts val="600"/>
              </a:spcBef>
            </a:pPr>
            <a:r>
              <a:rPr lang="en-US" sz="1600" kern="0" dirty="0">
                <a:solidFill>
                  <a:schemeClr val="bg1"/>
                </a:solidFill>
              </a:rPr>
              <a:t>Addresses massive </a:t>
            </a:r>
            <a:r>
              <a:rPr lang="en-US" sz="1600" kern="0" dirty="0" err="1">
                <a:solidFill>
                  <a:schemeClr val="bg1"/>
                </a:solidFill>
              </a:rPr>
              <a:t>IoT</a:t>
            </a:r>
            <a:r>
              <a:rPr lang="en-US" sz="1600" kern="0" dirty="0">
                <a:solidFill>
                  <a:schemeClr val="bg1"/>
                </a:solidFill>
              </a:rPr>
              <a:t> requirements for flexibility and scalability</a:t>
            </a:r>
          </a:p>
        </p:txBody>
      </p:sp>
      <p:sp>
        <p:nvSpPr>
          <p:cNvPr id="38" name="Text Box 6"/>
          <p:cNvSpPr txBox="1">
            <a:spLocks noChangeArrowheads="1"/>
          </p:cNvSpPr>
          <p:nvPr/>
        </p:nvSpPr>
        <p:spPr bwMode="auto">
          <a:xfrm>
            <a:off x="6566376" y="5190446"/>
            <a:ext cx="2138854" cy="584775"/>
          </a:xfrm>
          <a:prstGeom prst="rect">
            <a:avLst/>
          </a:prstGeom>
          <a:noFill/>
          <a:ln w="12700">
            <a:noFill/>
            <a:miter lim="800000"/>
            <a:headEnd/>
            <a:tailEnd/>
          </a:ln>
          <a:effectLst/>
        </p:spPr>
        <p:txBody>
          <a:bodyPr wrap="square" lIns="0" rIns="0">
            <a:spAutoFit/>
          </a:bodyPr>
          <a:lstStyle/>
          <a:p>
            <a:pPr algn="ctr">
              <a:spcBef>
                <a:spcPts val="600"/>
              </a:spcBef>
            </a:pPr>
            <a:r>
              <a:rPr lang="en-US" sz="1600" kern="0" dirty="0">
                <a:solidFill>
                  <a:schemeClr val="bg1"/>
                </a:solidFill>
              </a:rPr>
              <a:t>Extended Narrowband Coverage using CAT-M</a:t>
            </a:r>
          </a:p>
        </p:txBody>
      </p:sp>
      <p:sp>
        <p:nvSpPr>
          <p:cNvPr id="39" name="Text Box 6"/>
          <p:cNvSpPr txBox="1">
            <a:spLocks noChangeArrowheads="1"/>
          </p:cNvSpPr>
          <p:nvPr/>
        </p:nvSpPr>
        <p:spPr bwMode="auto">
          <a:xfrm>
            <a:off x="3470217" y="5190446"/>
            <a:ext cx="2575583" cy="830997"/>
          </a:xfrm>
          <a:prstGeom prst="rect">
            <a:avLst/>
          </a:prstGeom>
          <a:noFill/>
          <a:ln w="12700">
            <a:noFill/>
            <a:miter lim="800000"/>
            <a:headEnd/>
            <a:tailEnd/>
          </a:ln>
          <a:effectLst/>
        </p:spPr>
        <p:txBody>
          <a:bodyPr wrap="square" lIns="0" rIns="0">
            <a:spAutoFit/>
          </a:bodyPr>
          <a:lstStyle/>
          <a:p>
            <a:pPr algn="ctr">
              <a:spcBef>
                <a:spcPts val="600"/>
              </a:spcBef>
            </a:pPr>
            <a:r>
              <a:rPr lang="en-US" sz="1600" kern="0" dirty="0">
                <a:solidFill>
                  <a:schemeClr val="bg1"/>
                </a:solidFill>
              </a:rPr>
              <a:t>Chip-level power profiles adapt according to traffic patterns and use cases</a:t>
            </a:r>
          </a:p>
        </p:txBody>
      </p:sp>
      <p:sp>
        <p:nvSpPr>
          <p:cNvPr id="40" name="Text Box 6"/>
          <p:cNvSpPr txBox="1">
            <a:spLocks noChangeArrowheads="1"/>
          </p:cNvSpPr>
          <p:nvPr/>
        </p:nvSpPr>
        <p:spPr bwMode="auto">
          <a:xfrm>
            <a:off x="629067" y="5190445"/>
            <a:ext cx="2409795" cy="1154162"/>
          </a:xfrm>
          <a:prstGeom prst="rect">
            <a:avLst/>
          </a:prstGeom>
          <a:noFill/>
          <a:ln w="12700">
            <a:noFill/>
            <a:miter lim="800000"/>
            <a:headEnd/>
            <a:tailEnd/>
          </a:ln>
          <a:effectLst/>
        </p:spPr>
        <p:txBody>
          <a:bodyPr wrap="square" lIns="0" rIns="0">
            <a:spAutoFit/>
          </a:bodyPr>
          <a:lstStyle/>
          <a:p>
            <a:pPr algn="ctr">
              <a:spcBef>
                <a:spcPts val="600"/>
              </a:spcBef>
            </a:pPr>
            <a:r>
              <a:rPr lang="en-CA" sz="1600" dirty="0">
                <a:solidFill>
                  <a:schemeClr val="bg1"/>
                </a:solidFill>
              </a:rPr>
              <a:t>Enables extensive reuse of site assets</a:t>
            </a:r>
            <a:endParaRPr lang="en-US" sz="1600" kern="0" dirty="0">
              <a:solidFill>
                <a:schemeClr val="bg1"/>
              </a:solidFill>
            </a:endParaRPr>
          </a:p>
          <a:p>
            <a:pPr algn="ctr">
              <a:spcBef>
                <a:spcPts val="600"/>
              </a:spcBef>
            </a:pPr>
            <a:r>
              <a:rPr lang="en-US" sz="1600" dirty="0">
                <a:solidFill>
                  <a:schemeClr val="bg1"/>
                </a:solidFill>
              </a:rPr>
              <a:t>Lower module and chipset cost</a:t>
            </a:r>
          </a:p>
        </p:txBody>
      </p:sp>
      <p:sp>
        <p:nvSpPr>
          <p:cNvPr id="41" name="Freeform 3"/>
          <p:cNvSpPr>
            <a:spLocks noChangeAspect="1" noEditPoints="1"/>
          </p:cNvSpPr>
          <p:nvPr/>
        </p:nvSpPr>
        <p:spPr bwMode="auto">
          <a:xfrm rot="5400000" flipH="1">
            <a:off x="4852942" y="3200097"/>
            <a:ext cx="574823" cy="359677"/>
          </a:xfrm>
          <a:custGeom>
            <a:avLst/>
            <a:gdLst>
              <a:gd name="T0" fmla="*/ 2147483647 w 441"/>
              <a:gd name="T1" fmla="*/ 2147483647 h 276"/>
              <a:gd name="T2" fmla="*/ 2147483647 w 441"/>
              <a:gd name="T3" fmla="*/ 2147483647 h 276"/>
              <a:gd name="T4" fmla="*/ 2147483647 w 441"/>
              <a:gd name="T5" fmla="*/ 2147483647 h 276"/>
              <a:gd name="T6" fmla="*/ 2147483647 w 441"/>
              <a:gd name="T7" fmla="*/ 2147483647 h 276"/>
              <a:gd name="T8" fmla="*/ 2147483647 w 441"/>
              <a:gd name="T9" fmla="*/ 2147483647 h 276"/>
              <a:gd name="T10" fmla="*/ 2147483647 w 441"/>
              <a:gd name="T11" fmla="*/ 2147483647 h 276"/>
              <a:gd name="T12" fmla="*/ 2147483647 w 441"/>
              <a:gd name="T13" fmla="*/ 2147483647 h 276"/>
              <a:gd name="T14" fmla="*/ 2147483647 w 441"/>
              <a:gd name="T15" fmla="*/ 2147483647 h 276"/>
              <a:gd name="T16" fmla="*/ 2147483647 w 441"/>
              <a:gd name="T17" fmla="*/ 2147483647 h 276"/>
              <a:gd name="T18" fmla="*/ 2147483647 w 441"/>
              <a:gd name="T19" fmla="*/ 2147483647 h 276"/>
              <a:gd name="T20" fmla="*/ 2147483647 w 441"/>
              <a:gd name="T21" fmla="*/ 2147483647 h 276"/>
              <a:gd name="T22" fmla="*/ 2147483647 w 441"/>
              <a:gd name="T23" fmla="*/ 2147483647 h 276"/>
              <a:gd name="T24" fmla="*/ 2147483647 w 441"/>
              <a:gd name="T25" fmla="*/ 2147483647 h 276"/>
              <a:gd name="T26" fmla="*/ 2147483647 w 441"/>
              <a:gd name="T27" fmla="*/ 2147483647 h 276"/>
              <a:gd name="T28" fmla="*/ 2147483647 w 441"/>
              <a:gd name="T29" fmla="*/ 2147483647 h 276"/>
              <a:gd name="T30" fmla="*/ 2147483647 w 441"/>
              <a:gd name="T31" fmla="*/ 2147483647 h 276"/>
              <a:gd name="T32" fmla="*/ 2147483647 w 441"/>
              <a:gd name="T33" fmla="*/ 2147483647 h 276"/>
              <a:gd name="T34" fmla="*/ 2147483647 w 441"/>
              <a:gd name="T35" fmla="*/ 2147483647 h 276"/>
              <a:gd name="T36" fmla="*/ 2147483647 w 441"/>
              <a:gd name="T37" fmla="*/ 2147483647 h 276"/>
              <a:gd name="T38" fmla="*/ 2147483647 w 441"/>
              <a:gd name="T39" fmla="*/ 2147483647 h 276"/>
              <a:gd name="T40" fmla="*/ 2147483647 w 441"/>
              <a:gd name="T41" fmla="*/ 2147483647 h 276"/>
              <a:gd name="T42" fmla="*/ 2147483647 w 441"/>
              <a:gd name="T43" fmla="*/ 2147483647 h 276"/>
              <a:gd name="T44" fmla="*/ 2147483647 w 441"/>
              <a:gd name="T45" fmla="*/ 2147483647 h 276"/>
              <a:gd name="T46" fmla="*/ 2147483647 w 441"/>
              <a:gd name="T47" fmla="*/ 2147483647 h 276"/>
              <a:gd name="T48" fmla="*/ 2147483647 w 441"/>
              <a:gd name="T49" fmla="*/ 2147483647 h 276"/>
              <a:gd name="T50" fmla="*/ 2147483647 w 441"/>
              <a:gd name="T51" fmla="*/ 2147483647 h 276"/>
              <a:gd name="T52" fmla="*/ 2147483647 w 441"/>
              <a:gd name="T53" fmla="*/ 0 h 276"/>
              <a:gd name="T54" fmla="*/ 2147483647 w 441"/>
              <a:gd name="T55" fmla="*/ 0 h 276"/>
              <a:gd name="T56" fmla="*/ 0 w 441"/>
              <a:gd name="T57" fmla="*/ 2147483647 h 276"/>
              <a:gd name="T58" fmla="*/ 0 w 441"/>
              <a:gd name="T59" fmla="*/ 2147483647 h 276"/>
              <a:gd name="T60" fmla="*/ 2147483647 w 441"/>
              <a:gd name="T61" fmla="*/ 2147483647 h 276"/>
              <a:gd name="T62" fmla="*/ 2147483647 w 441"/>
              <a:gd name="T63" fmla="*/ 2147483647 h 276"/>
              <a:gd name="T64" fmla="*/ 2147483647 w 441"/>
              <a:gd name="T65" fmla="*/ 2147483647 h 276"/>
              <a:gd name="T66" fmla="*/ 2147483647 w 441"/>
              <a:gd name="T67" fmla="*/ 2147483647 h 276"/>
              <a:gd name="T68" fmla="*/ 2147483647 w 441"/>
              <a:gd name="T69" fmla="*/ 2147483647 h 276"/>
              <a:gd name="T70" fmla="*/ 2147483647 w 441"/>
              <a:gd name="T71" fmla="*/ 2147483647 h 276"/>
              <a:gd name="T72" fmla="*/ 2147483647 w 441"/>
              <a:gd name="T73" fmla="*/ 2147483647 h 276"/>
              <a:gd name="T74" fmla="*/ 2147483647 w 441"/>
              <a:gd name="T75" fmla="*/ 2147483647 h 276"/>
              <a:gd name="T76" fmla="*/ 2147483647 w 441"/>
              <a:gd name="T77" fmla="*/ 2147483647 h 276"/>
              <a:gd name="T78" fmla="*/ 2147483647 w 441"/>
              <a:gd name="T79" fmla="*/ 2147483647 h 276"/>
              <a:gd name="T80" fmla="*/ 2147483647 w 441"/>
              <a:gd name="T81" fmla="*/ 2147483647 h 276"/>
              <a:gd name="T82" fmla="*/ 2147483647 w 441"/>
              <a:gd name="T83" fmla="*/ 2147483647 h 276"/>
              <a:gd name="T84" fmla="*/ 2147483647 w 441"/>
              <a:gd name="T85" fmla="*/ 2147483647 h 276"/>
              <a:gd name="T86" fmla="*/ 2147483647 w 441"/>
              <a:gd name="T87" fmla="*/ 2147483647 h 276"/>
              <a:gd name="T88" fmla="*/ 2147483647 w 441"/>
              <a:gd name="T89" fmla="*/ 2147483647 h 276"/>
              <a:gd name="T90" fmla="*/ 2147483647 w 441"/>
              <a:gd name="T91" fmla="*/ 2147483647 h 276"/>
              <a:gd name="T92" fmla="*/ 2147483647 w 441"/>
              <a:gd name="T93" fmla="*/ 2147483647 h 276"/>
              <a:gd name="T94" fmla="*/ 2147483647 w 441"/>
              <a:gd name="T95" fmla="*/ 2147483647 h 276"/>
              <a:gd name="T96" fmla="*/ 2147483647 w 441"/>
              <a:gd name="T97" fmla="*/ 2147483647 h 276"/>
              <a:gd name="T98" fmla="*/ 2147483647 w 441"/>
              <a:gd name="T99" fmla="*/ 2147483647 h 276"/>
              <a:gd name="T100" fmla="*/ 2147483647 w 441"/>
              <a:gd name="T101" fmla="*/ 2147483647 h 276"/>
              <a:gd name="T102" fmla="*/ 2147483647 w 441"/>
              <a:gd name="T103" fmla="*/ 2147483647 h 276"/>
              <a:gd name="T104" fmla="*/ 2147483647 w 441"/>
              <a:gd name="T105" fmla="*/ 2147483647 h 276"/>
              <a:gd name="T106" fmla="*/ 2147483647 w 441"/>
              <a:gd name="T107" fmla="*/ 2147483647 h 276"/>
              <a:gd name="T108" fmla="*/ 2147483647 w 441"/>
              <a:gd name="T109" fmla="*/ 2147483647 h 276"/>
              <a:gd name="T110" fmla="*/ 2147483647 w 441"/>
              <a:gd name="T111" fmla="*/ 2147483647 h 276"/>
              <a:gd name="T112" fmla="*/ 2147483647 w 441"/>
              <a:gd name="T113" fmla="*/ 2147483647 h 276"/>
              <a:gd name="T114" fmla="*/ 2147483647 w 441"/>
              <a:gd name="T115" fmla="*/ 2147483647 h 276"/>
              <a:gd name="T116" fmla="*/ 2147483647 w 441"/>
              <a:gd name="T117" fmla="*/ 2147483647 h 276"/>
              <a:gd name="T118" fmla="*/ 2147483647 w 441"/>
              <a:gd name="T119" fmla="*/ 2147483647 h 276"/>
              <a:gd name="T120" fmla="*/ 2147483647 w 441"/>
              <a:gd name="T121" fmla="*/ 2147483647 h 276"/>
              <a:gd name="T122" fmla="*/ 2147483647 w 441"/>
              <a:gd name="T123" fmla="*/ 2147483647 h 276"/>
              <a:gd name="T124" fmla="*/ 2147483647 w 441"/>
              <a:gd name="T125" fmla="*/ 2147483647 h 27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41" h="276">
                <a:moveTo>
                  <a:pt x="43" y="32"/>
                </a:moveTo>
                <a:cubicBezTo>
                  <a:pt x="37" y="32"/>
                  <a:pt x="32" y="37"/>
                  <a:pt x="32" y="43"/>
                </a:cubicBezTo>
                <a:cubicBezTo>
                  <a:pt x="32" y="232"/>
                  <a:pt x="32" y="232"/>
                  <a:pt x="32" y="232"/>
                </a:cubicBezTo>
                <a:cubicBezTo>
                  <a:pt x="32" y="239"/>
                  <a:pt x="37" y="244"/>
                  <a:pt x="43" y="244"/>
                </a:cubicBezTo>
                <a:cubicBezTo>
                  <a:pt x="93" y="244"/>
                  <a:pt x="93" y="244"/>
                  <a:pt x="93" y="244"/>
                </a:cubicBezTo>
                <a:cubicBezTo>
                  <a:pt x="100" y="244"/>
                  <a:pt x="105" y="239"/>
                  <a:pt x="105" y="232"/>
                </a:cubicBezTo>
                <a:cubicBezTo>
                  <a:pt x="105" y="43"/>
                  <a:pt x="105" y="43"/>
                  <a:pt x="105" y="43"/>
                </a:cubicBezTo>
                <a:cubicBezTo>
                  <a:pt x="105" y="37"/>
                  <a:pt x="100" y="32"/>
                  <a:pt x="93" y="32"/>
                </a:cubicBezTo>
                <a:lnTo>
                  <a:pt x="43" y="32"/>
                </a:lnTo>
                <a:close/>
                <a:moveTo>
                  <a:pt x="421" y="79"/>
                </a:moveTo>
                <a:cubicBezTo>
                  <a:pt x="405" y="79"/>
                  <a:pt x="405" y="79"/>
                  <a:pt x="405" y="79"/>
                </a:cubicBezTo>
                <a:cubicBezTo>
                  <a:pt x="405" y="65"/>
                  <a:pt x="405" y="65"/>
                  <a:pt x="405" y="65"/>
                </a:cubicBezTo>
                <a:cubicBezTo>
                  <a:pt x="405" y="60"/>
                  <a:pt x="401" y="57"/>
                  <a:pt x="397" y="57"/>
                </a:cubicBezTo>
                <a:cubicBezTo>
                  <a:pt x="392" y="57"/>
                  <a:pt x="389" y="60"/>
                  <a:pt x="389" y="65"/>
                </a:cubicBezTo>
                <a:cubicBezTo>
                  <a:pt x="389" y="257"/>
                  <a:pt x="389" y="257"/>
                  <a:pt x="389" y="257"/>
                </a:cubicBezTo>
                <a:cubicBezTo>
                  <a:pt x="389" y="258"/>
                  <a:pt x="387" y="260"/>
                  <a:pt x="385" y="260"/>
                </a:cubicBezTo>
                <a:cubicBezTo>
                  <a:pt x="19" y="260"/>
                  <a:pt x="19" y="260"/>
                  <a:pt x="19" y="260"/>
                </a:cubicBezTo>
                <a:cubicBezTo>
                  <a:pt x="17" y="260"/>
                  <a:pt x="16" y="258"/>
                  <a:pt x="16" y="257"/>
                </a:cubicBezTo>
                <a:cubicBezTo>
                  <a:pt x="16" y="19"/>
                  <a:pt x="16" y="19"/>
                  <a:pt x="16" y="19"/>
                </a:cubicBezTo>
                <a:cubicBezTo>
                  <a:pt x="16" y="17"/>
                  <a:pt x="17" y="16"/>
                  <a:pt x="19" y="16"/>
                </a:cubicBezTo>
                <a:cubicBezTo>
                  <a:pt x="385" y="16"/>
                  <a:pt x="385" y="16"/>
                  <a:pt x="385" y="16"/>
                </a:cubicBezTo>
                <a:cubicBezTo>
                  <a:pt x="387" y="16"/>
                  <a:pt x="389" y="17"/>
                  <a:pt x="389" y="19"/>
                </a:cubicBezTo>
                <a:cubicBezTo>
                  <a:pt x="389" y="33"/>
                  <a:pt x="389" y="33"/>
                  <a:pt x="389" y="33"/>
                </a:cubicBezTo>
                <a:cubicBezTo>
                  <a:pt x="389" y="37"/>
                  <a:pt x="392" y="41"/>
                  <a:pt x="397" y="41"/>
                </a:cubicBezTo>
                <a:cubicBezTo>
                  <a:pt x="401" y="41"/>
                  <a:pt x="405" y="37"/>
                  <a:pt x="405" y="33"/>
                </a:cubicBezTo>
                <a:cubicBezTo>
                  <a:pt x="405" y="19"/>
                  <a:pt x="405" y="19"/>
                  <a:pt x="405" y="19"/>
                </a:cubicBezTo>
                <a:cubicBezTo>
                  <a:pt x="405" y="8"/>
                  <a:pt x="396" y="0"/>
                  <a:pt x="385" y="0"/>
                </a:cubicBezTo>
                <a:cubicBezTo>
                  <a:pt x="19" y="0"/>
                  <a:pt x="19" y="0"/>
                  <a:pt x="19" y="0"/>
                </a:cubicBezTo>
                <a:cubicBezTo>
                  <a:pt x="8" y="0"/>
                  <a:pt x="0" y="8"/>
                  <a:pt x="0" y="19"/>
                </a:cubicBezTo>
                <a:cubicBezTo>
                  <a:pt x="0" y="257"/>
                  <a:pt x="0" y="257"/>
                  <a:pt x="0" y="257"/>
                </a:cubicBezTo>
                <a:cubicBezTo>
                  <a:pt x="0" y="267"/>
                  <a:pt x="8" y="276"/>
                  <a:pt x="19" y="276"/>
                </a:cubicBezTo>
                <a:cubicBezTo>
                  <a:pt x="385" y="276"/>
                  <a:pt x="385" y="276"/>
                  <a:pt x="385" y="276"/>
                </a:cubicBezTo>
                <a:cubicBezTo>
                  <a:pt x="396" y="276"/>
                  <a:pt x="405" y="267"/>
                  <a:pt x="405" y="257"/>
                </a:cubicBezTo>
                <a:cubicBezTo>
                  <a:pt x="405" y="196"/>
                  <a:pt x="405" y="196"/>
                  <a:pt x="405" y="196"/>
                </a:cubicBezTo>
                <a:cubicBezTo>
                  <a:pt x="421" y="196"/>
                  <a:pt x="421" y="196"/>
                  <a:pt x="421" y="196"/>
                </a:cubicBezTo>
                <a:cubicBezTo>
                  <a:pt x="432" y="196"/>
                  <a:pt x="441" y="188"/>
                  <a:pt x="441" y="177"/>
                </a:cubicBezTo>
                <a:cubicBezTo>
                  <a:pt x="441" y="99"/>
                  <a:pt x="441" y="99"/>
                  <a:pt x="441" y="99"/>
                </a:cubicBezTo>
                <a:cubicBezTo>
                  <a:pt x="441" y="88"/>
                  <a:pt x="432" y="79"/>
                  <a:pt x="421" y="79"/>
                </a:cubicBezTo>
                <a:close/>
                <a:moveTo>
                  <a:pt x="425" y="177"/>
                </a:moveTo>
                <a:cubicBezTo>
                  <a:pt x="425" y="179"/>
                  <a:pt x="423" y="180"/>
                  <a:pt x="421" y="180"/>
                </a:cubicBezTo>
                <a:cubicBezTo>
                  <a:pt x="405" y="180"/>
                  <a:pt x="405" y="180"/>
                  <a:pt x="405" y="180"/>
                </a:cubicBezTo>
                <a:cubicBezTo>
                  <a:pt x="405" y="95"/>
                  <a:pt x="405" y="95"/>
                  <a:pt x="405" y="95"/>
                </a:cubicBezTo>
                <a:cubicBezTo>
                  <a:pt x="421" y="95"/>
                  <a:pt x="421" y="95"/>
                  <a:pt x="421" y="95"/>
                </a:cubicBezTo>
                <a:cubicBezTo>
                  <a:pt x="423" y="95"/>
                  <a:pt x="425" y="97"/>
                  <a:pt x="425" y="99"/>
                </a:cubicBezTo>
                <a:lnTo>
                  <a:pt x="425" y="177"/>
                </a:lnTo>
                <a:close/>
                <a:moveTo>
                  <a:pt x="221" y="32"/>
                </a:moveTo>
                <a:cubicBezTo>
                  <a:pt x="215" y="32"/>
                  <a:pt x="210" y="37"/>
                  <a:pt x="210" y="43"/>
                </a:cubicBezTo>
                <a:cubicBezTo>
                  <a:pt x="210" y="232"/>
                  <a:pt x="210" y="232"/>
                  <a:pt x="210" y="232"/>
                </a:cubicBezTo>
                <a:cubicBezTo>
                  <a:pt x="210" y="239"/>
                  <a:pt x="215" y="244"/>
                  <a:pt x="221" y="244"/>
                </a:cubicBezTo>
                <a:cubicBezTo>
                  <a:pt x="271" y="244"/>
                  <a:pt x="271" y="244"/>
                  <a:pt x="271" y="244"/>
                </a:cubicBezTo>
                <a:cubicBezTo>
                  <a:pt x="278" y="244"/>
                  <a:pt x="283" y="239"/>
                  <a:pt x="283" y="232"/>
                </a:cubicBezTo>
                <a:cubicBezTo>
                  <a:pt x="283" y="43"/>
                  <a:pt x="283" y="43"/>
                  <a:pt x="283" y="43"/>
                </a:cubicBezTo>
                <a:cubicBezTo>
                  <a:pt x="283" y="37"/>
                  <a:pt x="278" y="32"/>
                  <a:pt x="271" y="32"/>
                </a:cubicBezTo>
                <a:lnTo>
                  <a:pt x="221" y="32"/>
                </a:lnTo>
                <a:close/>
                <a:moveTo>
                  <a:pt x="132" y="32"/>
                </a:moveTo>
                <a:cubicBezTo>
                  <a:pt x="126" y="32"/>
                  <a:pt x="121" y="37"/>
                  <a:pt x="121" y="43"/>
                </a:cubicBezTo>
                <a:cubicBezTo>
                  <a:pt x="121" y="232"/>
                  <a:pt x="121" y="232"/>
                  <a:pt x="121" y="232"/>
                </a:cubicBezTo>
                <a:cubicBezTo>
                  <a:pt x="121" y="239"/>
                  <a:pt x="126" y="244"/>
                  <a:pt x="132" y="244"/>
                </a:cubicBezTo>
                <a:cubicBezTo>
                  <a:pt x="182" y="244"/>
                  <a:pt x="182" y="244"/>
                  <a:pt x="182" y="244"/>
                </a:cubicBezTo>
                <a:cubicBezTo>
                  <a:pt x="189" y="244"/>
                  <a:pt x="194" y="239"/>
                  <a:pt x="194" y="232"/>
                </a:cubicBezTo>
                <a:cubicBezTo>
                  <a:pt x="194" y="43"/>
                  <a:pt x="194" y="43"/>
                  <a:pt x="194" y="43"/>
                </a:cubicBezTo>
                <a:cubicBezTo>
                  <a:pt x="194" y="37"/>
                  <a:pt x="189" y="32"/>
                  <a:pt x="182" y="32"/>
                </a:cubicBezTo>
                <a:lnTo>
                  <a:pt x="132" y="32"/>
                </a:lnTo>
                <a:close/>
              </a:path>
            </a:pathLst>
          </a:custGeom>
          <a:solidFill>
            <a:schemeClr val="bg2">
              <a:lumMod val="75000"/>
            </a:schemeClr>
          </a:solidFill>
          <a:ln>
            <a:noFill/>
          </a:ln>
        </p:spPr>
        <p:txBody>
          <a:bodyPr/>
          <a:lstStyle/>
          <a:p>
            <a:endParaRPr lang="en-US" dirty="0"/>
          </a:p>
        </p:txBody>
      </p:sp>
      <p:sp>
        <p:nvSpPr>
          <p:cNvPr id="45" name="Freeform 3"/>
          <p:cNvSpPr>
            <a:spLocks noChangeAspect="1" noEditPoints="1"/>
          </p:cNvSpPr>
          <p:nvPr/>
        </p:nvSpPr>
        <p:spPr bwMode="auto">
          <a:xfrm>
            <a:off x="6838122" y="2978808"/>
            <a:ext cx="528668" cy="650668"/>
          </a:xfrm>
          <a:custGeom>
            <a:avLst/>
            <a:gdLst>
              <a:gd name="T0" fmla="*/ 2147483647 w 363"/>
              <a:gd name="T1" fmla="*/ 2147483647 h 447"/>
              <a:gd name="T2" fmla="*/ 2147483647 w 363"/>
              <a:gd name="T3" fmla="*/ 2147483647 h 447"/>
              <a:gd name="T4" fmla="*/ 2147483647 w 363"/>
              <a:gd name="T5" fmla="*/ 2147483647 h 447"/>
              <a:gd name="T6" fmla="*/ 2147483647 w 363"/>
              <a:gd name="T7" fmla="*/ 2147483647 h 447"/>
              <a:gd name="T8" fmla="*/ 2147483647 w 363"/>
              <a:gd name="T9" fmla="*/ 2147483647 h 447"/>
              <a:gd name="T10" fmla="*/ 2147483647 w 363"/>
              <a:gd name="T11" fmla="*/ 2147483647 h 447"/>
              <a:gd name="T12" fmla="*/ 2147483647 w 363"/>
              <a:gd name="T13" fmla="*/ 2147483647 h 447"/>
              <a:gd name="T14" fmla="*/ 2147483647 w 363"/>
              <a:gd name="T15" fmla="*/ 2147483647 h 447"/>
              <a:gd name="T16" fmla="*/ 2147483647 w 363"/>
              <a:gd name="T17" fmla="*/ 2147483647 h 447"/>
              <a:gd name="T18" fmla="*/ 2147483647 w 363"/>
              <a:gd name="T19" fmla="*/ 2147483647 h 447"/>
              <a:gd name="T20" fmla="*/ 2147483647 w 363"/>
              <a:gd name="T21" fmla="*/ 2147483647 h 447"/>
              <a:gd name="T22" fmla="*/ 2147483647 w 363"/>
              <a:gd name="T23" fmla="*/ 2147483647 h 447"/>
              <a:gd name="T24" fmla="*/ 2147483647 w 363"/>
              <a:gd name="T25" fmla="*/ 2147483647 h 447"/>
              <a:gd name="T26" fmla="*/ 2147483647 w 363"/>
              <a:gd name="T27" fmla="*/ 2147483647 h 447"/>
              <a:gd name="T28" fmla="*/ 2147483647 w 363"/>
              <a:gd name="T29" fmla="*/ 2147483647 h 447"/>
              <a:gd name="T30" fmla="*/ 2147483647 w 363"/>
              <a:gd name="T31" fmla="*/ 2147483647 h 447"/>
              <a:gd name="T32" fmla="*/ 2147483647 w 363"/>
              <a:gd name="T33" fmla="*/ 2147483647 h 447"/>
              <a:gd name="T34" fmla="*/ 2147483647 w 363"/>
              <a:gd name="T35" fmla="*/ 2147483647 h 447"/>
              <a:gd name="T36" fmla="*/ 2147483647 w 363"/>
              <a:gd name="T37" fmla="*/ 2147483647 h 447"/>
              <a:gd name="T38" fmla="*/ 2147483647 w 363"/>
              <a:gd name="T39" fmla="*/ 2147483647 h 447"/>
              <a:gd name="T40" fmla="*/ 2147483647 w 363"/>
              <a:gd name="T41" fmla="*/ 2147483647 h 447"/>
              <a:gd name="T42" fmla="*/ 0 w 363"/>
              <a:gd name="T43" fmla="*/ 2147483647 h 447"/>
              <a:gd name="T44" fmla="*/ 0 w 363"/>
              <a:gd name="T45" fmla="*/ 2147483647 h 447"/>
              <a:gd name="T46" fmla="*/ 2147483647 w 363"/>
              <a:gd name="T47" fmla="*/ 2147483647 h 447"/>
              <a:gd name="T48" fmla="*/ 2147483647 w 363"/>
              <a:gd name="T49" fmla="*/ 2147483647 h 447"/>
              <a:gd name="T50" fmla="*/ 2147483647 w 363"/>
              <a:gd name="T51" fmla="*/ 2147483647 h 447"/>
              <a:gd name="T52" fmla="*/ 2147483647 w 363"/>
              <a:gd name="T53" fmla="*/ 2147483647 h 447"/>
              <a:gd name="T54" fmla="*/ 2147483647 w 363"/>
              <a:gd name="T55" fmla="*/ 2147483647 h 447"/>
              <a:gd name="T56" fmla="*/ 2147483647 w 363"/>
              <a:gd name="T57" fmla="*/ 2147483647 h 447"/>
              <a:gd name="T58" fmla="*/ 2147483647 w 363"/>
              <a:gd name="T59" fmla="*/ 2147483647 h 447"/>
              <a:gd name="T60" fmla="*/ 2147483647 w 363"/>
              <a:gd name="T61" fmla="*/ 2147483647 h 447"/>
              <a:gd name="T62" fmla="*/ 2147483647 w 363"/>
              <a:gd name="T63" fmla="*/ 2147483647 h 447"/>
              <a:gd name="T64" fmla="*/ 2147483647 w 363"/>
              <a:gd name="T65" fmla="*/ 2147483647 h 447"/>
              <a:gd name="T66" fmla="*/ 2147483647 w 363"/>
              <a:gd name="T67" fmla="*/ 2147483647 h 447"/>
              <a:gd name="T68" fmla="*/ 2147483647 w 363"/>
              <a:gd name="T69" fmla="*/ 2147483647 h 447"/>
              <a:gd name="T70" fmla="*/ 2147483647 w 363"/>
              <a:gd name="T71" fmla="*/ 2147483647 h 447"/>
              <a:gd name="T72" fmla="*/ 2147483647 w 363"/>
              <a:gd name="T73" fmla="*/ 2147483647 h 447"/>
              <a:gd name="T74" fmla="*/ 2147483647 w 363"/>
              <a:gd name="T75" fmla="*/ 2147483647 h 447"/>
              <a:gd name="T76" fmla="*/ 2147483647 w 363"/>
              <a:gd name="T77" fmla="*/ 2147483647 h 447"/>
              <a:gd name="T78" fmla="*/ 2147483647 w 363"/>
              <a:gd name="T79" fmla="*/ 2147483647 h 447"/>
              <a:gd name="T80" fmla="*/ 2147483647 w 363"/>
              <a:gd name="T81" fmla="*/ 2147483647 h 447"/>
              <a:gd name="T82" fmla="*/ 2147483647 w 363"/>
              <a:gd name="T83" fmla="*/ 2147483647 h 447"/>
              <a:gd name="T84" fmla="*/ 2147483647 w 363"/>
              <a:gd name="T85" fmla="*/ 2147483647 h 447"/>
              <a:gd name="T86" fmla="*/ 2147483647 w 363"/>
              <a:gd name="T87" fmla="*/ 2147483647 h 447"/>
              <a:gd name="T88" fmla="*/ 2147483647 w 363"/>
              <a:gd name="T89" fmla="*/ 2147483647 h 447"/>
              <a:gd name="T90" fmla="*/ 2147483647 w 363"/>
              <a:gd name="T91" fmla="*/ 2147483647 h 447"/>
              <a:gd name="T92" fmla="*/ 2147483647 w 363"/>
              <a:gd name="T93" fmla="*/ 2147483647 h 447"/>
              <a:gd name="T94" fmla="*/ 2147483647 w 363"/>
              <a:gd name="T95" fmla="*/ 2147483647 h 447"/>
              <a:gd name="T96" fmla="*/ 2147483647 w 363"/>
              <a:gd name="T97" fmla="*/ 2147483647 h 447"/>
              <a:gd name="T98" fmla="*/ 2147483647 w 363"/>
              <a:gd name="T99" fmla="*/ 2147483647 h 44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363" h="447">
                <a:moveTo>
                  <a:pt x="85" y="38"/>
                </a:moveTo>
                <a:cubicBezTo>
                  <a:pt x="85" y="38"/>
                  <a:pt x="85" y="38"/>
                  <a:pt x="85" y="38"/>
                </a:cubicBezTo>
                <a:cubicBezTo>
                  <a:pt x="85" y="36"/>
                  <a:pt x="84" y="34"/>
                  <a:pt x="83" y="32"/>
                </a:cubicBezTo>
                <a:cubicBezTo>
                  <a:pt x="80" y="29"/>
                  <a:pt x="75" y="29"/>
                  <a:pt x="72" y="32"/>
                </a:cubicBezTo>
                <a:cubicBezTo>
                  <a:pt x="51" y="53"/>
                  <a:pt x="41" y="79"/>
                  <a:pt x="41" y="106"/>
                </a:cubicBezTo>
                <a:cubicBezTo>
                  <a:pt x="41" y="106"/>
                  <a:pt x="41" y="106"/>
                  <a:pt x="41" y="106"/>
                </a:cubicBezTo>
                <a:cubicBezTo>
                  <a:pt x="41" y="132"/>
                  <a:pt x="51" y="159"/>
                  <a:pt x="72" y="179"/>
                </a:cubicBezTo>
                <a:cubicBezTo>
                  <a:pt x="75" y="182"/>
                  <a:pt x="80" y="182"/>
                  <a:pt x="83" y="179"/>
                </a:cubicBezTo>
                <a:cubicBezTo>
                  <a:pt x="84" y="178"/>
                  <a:pt x="85" y="176"/>
                  <a:pt x="85" y="174"/>
                </a:cubicBezTo>
                <a:cubicBezTo>
                  <a:pt x="85" y="174"/>
                  <a:pt x="85" y="174"/>
                  <a:pt x="85" y="174"/>
                </a:cubicBezTo>
                <a:cubicBezTo>
                  <a:pt x="85" y="172"/>
                  <a:pt x="84" y="169"/>
                  <a:pt x="83" y="168"/>
                </a:cubicBezTo>
                <a:cubicBezTo>
                  <a:pt x="66" y="151"/>
                  <a:pt x="57" y="128"/>
                  <a:pt x="57" y="106"/>
                </a:cubicBezTo>
                <a:cubicBezTo>
                  <a:pt x="57" y="83"/>
                  <a:pt x="66" y="61"/>
                  <a:pt x="83" y="44"/>
                </a:cubicBezTo>
                <a:cubicBezTo>
                  <a:pt x="84" y="42"/>
                  <a:pt x="85" y="40"/>
                  <a:pt x="85" y="38"/>
                </a:cubicBezTo>
                <a:close/>
                <a:moveTo>
                  <a:pt x="48" y="191"/>
                </a:moveTo>
                <a:cubicBezTo>
                  <a:pt x="48" y="191"/>
                  <a:pt x="47" y="191"/>
                  <a:pt x="47" y="190"/>
                </a:cubicBezTo>
                <a:cubicBezTo>
                  <a:pt x="45" y="188"/>
                  <a:pt x="44" y="186"/>
                  <a:pt x="42" y="184"/>
                </a:cubicBezTo>
                <a:cubicBezTo>
                  <a:pt x="42" y="184"/>
                  <a:pt x="42" y="184"/>
                  <a:pt x="42" y="184"/>
                </a:cubicBezTo>
                <a:cubicBezTo>
                  <a:pt x="41" y="182"/>
                  <a:pt x="40" y="181"/>
                  <a:pt x="39" y="180"/>
                </a:cubicBezTo>
                <a:cubicBezTo>
                  <a:pt x="33" y="171"/>
                  <a:pt x="28" y="162"/>
                  <a:pt x="24" y="152"/>
                </a:cubicBezTo>
                <a:cubicBezTo>
                  <a:pt x="24" y="151"/>
                  <a:pt x="23" y="149"/>
                  <a:pt x="23" y="148"/>
                </a:cubicBezTo>
                <a:cubicBezTo>
                  <a:pt x="22" y="147"/>
                  <a:pt x="22" y="147"/>
                  <a:pt x="22" y="146"/>
                </a:cubicBezTo>
                <a:cubicBezTo>
                  <a:pt x="22" y="145"/>
                  <a:pt x="21" y="143"/>
                  <a:pt x="21" y="142"/>
                </a:cubicBezTo>
                <a:cubicBezTo>
                  <a:pt x="21" y="141"/>
                  <a:pt x="20" y="141"/>
                  <a:pt x="20" y="140"/>
                </a:cubicBezTo>
                <a:cubicBezTo>
                  <a:pt x="20" y="139"/>
                  <a:pt x="20" y="137"/>
                  <a:pt x="19" y="136"/>
                </a:cubicBezTo>
                <a:cubicBezTo>
                  <a:pt x="19" y="135"/>
                  <a:pt x="19" y="135"/>
                  <a:pt x="19" y="134"/>
                </a:cubicBezTo>
                <a:cubicBezTo>
                  <a:pt x="18" y="133"/>
                  <a:pt x="18" y="131"/>
                  <a:pt x="18" y="130"/>
                </a:cubicBezTo>
                <a:cubicBezTo>
                  <a:pt x="18" y="129"/>
                  <a:pt x="18" y="128"/>
                  <a:pt x="17" y="127"/>
                </a:cubicBezTo>
                <a:cubicBezTo>
                  <a:pt x="17" y="126"/>
                  <a:pt x="17" y="125"/>
                  <a:pt x="17" y="124"/>
                </a:cubicBezTo>
                <a:cubicBezTo>
                  <a:pt x="17" y="123"/>
                  <a:pt x="17" y="122"/>
                  <a:pt x="17" y="121"/>
                </a:cubicBezTo>
                <a:cubicBezTo>
                  <a:pt x="16" y="120"/>
                  <a:pt x="16" y="119"/>
                  <a:pt x="16" y="118"/>
                </a:cubicBezTo>
                <a:cubicBezTo>
                  <a:pt x="16" y="117"/>
                  <a:pt x="16" y="116"/>
                  <a:pt x="16" y="114"/>
                </a:cubicBezTo>
                <a:cubicBezTo>
                  <a:pt x="16" y="113"/>
                  <a:pt x="16" y="113"/>
                  <a:pt x="16" y="112"/>
                </a:cubicBezTo>
                <a:cubicBezTo>
                  <a:pt x="16" y="110"/>
                  <a:pt x="16" y="108"/>
                  <a:pt x="16" y="106"/>
                </a:cubicBezTo>
                <a:cubicBezTo>
                  <a:pt x="16" y="106"/>
                  <a:pt x="16" y="106"/>
                  <a:pt x="16" y="106"/>
                </a:cubicBezTo>
                <a:cubicBezTo>
                  <a:pt x="16" y="106"/>
                  <a:pt x="16" y="106"/>
                  <a:pt x="16" y="106"/>
                </a:cubicBezTo>
                <a:cubicBezTo>
                  <a:pt x="16" y="104"/>
                  <a:pt x="16" y="102"/>
                  <a:pt x="16" y="100"/>
                </a:cubicBezTo>
                <a:cubicBezTo>
                  <a:pt x="16" y="99"/>
                  <a:pt x="16" y="98"/>
                  <a:pt x="16" y="97"/>
                </a:cubicBezTo>
                <a:cubicBezTo>
                  <a:pt x="16" y="96"/>
                  <a:pt x="16" y="95"/>
                  <a:pt x="16" y="93"/>
                </a:cubicBezTo>
                <a:cubicBezTo>
                  <a:pt x="16" y="92"/>
                  <a:pt x="16" y="92"/>
                  <a:pt x="17" y="91"/>
                </a:cubicBezTo>
                <a:cubicBezTo>
                  <a:pt x="17" y="90"/>
                  <a:pt x="17" y="88"/>
                  <a:pt x="17" y="87"/>
                </a:cubicBezTo>
                <a:cubicBezTo>
                  <a:pt x="17" y="86"/>
                  <a:pt x="17" y="85"/>
                  <a:pt x="17" y="84"/>
                </a:cubicBezTo>
                <a:cubicBezTo>
                  <a:pt x="18" y="83"/>
                  <a:pt x="18" y="82"/>
                  <a:pt x="18" y="81"/>
                </a:cubicBezTo>
                <a:cubicBezTo>
                  <a:pt x="18" y="80"/>
                  <a:pt x="18" y="79"/>
                  <a:pt x="19" y="78"/>
                </a:cubicBezTo>
                <a:cubicBezTo>
                  <a:pt x="19" y="77"/>
                  <a:pt x="19" y="76"/>
                  <a:pt x="19" y="75"/>
                </a:cubicBezTo>
                <a:cubicBezTo>
                  <a:pt x="20" y="74"/>
                  <a:pt x="20" y="73"/>
                  <a:pt x="20" y="71"/>
                </a:cubicBezTo>
                <a:cubicBezTo>
                  <a:pt x="20" y="71"/>
                  <a:pt x="21" y="70"/>
                  <a:pt x="21" y="70"/>
                </a:cubicBezTo>
                <a:cubicBezTo>
                  <a:pt x="21" y="68"/>
                  <a:pt x="22" y="67"/>
                  <a:pt x="22" y="65"/>
                </a:cubicBezTo>
                <a:cubicBezTo>
                  <a:pt x="22" y="65"/>
                  <a:pt x="22" y="65"/>
                  <a:pt x="23" y="64"/>
                </a:cubicBezTo>
                <a:cubicBezTo>
                  <a:pt x="23" y="63"/>
                  <a:pt x="24" y="61"/>
                  <a:pt x="24" y="60"/>
                </a:cubicBezTo>
                <a:cubicBezTo>
                  <a:pt x="28" y="50"/>
                  <a:pt x="33" y="40"/>
                  <a:pt x="39" y="32"/>
                </a:cubicBezTo>
                <a:cubicBezTo>
                  <a:pt x="40" y="30"/>
                  <a:pt x="41" y="29"/>
                  <a:pt x="42" y="28"/>
                </a:cubicBezTo>
                <a:cubicBezTo>
                  <a:pt x="42" y="28"/>
                  <a:pt x="42" y="27"/>
                  <a:pt x="42" y="27"/>
                </a:cubicBezTo>
                <a:cubicBezTo>
                  <a:pt x="44" y="25"/>
                  <a:pt x="45" y="23"/>
                  <a:pt x="47" y="21"/>
                </a:cubicBezTo>
                <a:cubicBezTo>
                  <a:pt x="47" y="21"/>
                  <a:pt x="48" y="21"/>
                  <a:pt x="48" y="20"/>
                </a:cubicBezTo>
                <a:cubicBezTo>
                  <a:pt x="50" y="18"/>
                  <a:pt x="52" y="16"/>
                  <a:pt x="54" y="14"/>
                </a:cubicBezTo>
                <a:cubicBezTo>
                  <a:pt x="55" y="13"/>
                  <a:pt x="56" y="11"/>
                  <a:pt x="56" y="9"/>
                </a:cubicBezTo>
                <a:cubicBezTo>
                  <a:pt x="56" y="8"/>
                  <a:pt x="56" y="7"/>
                  <a:pt x="56" y="6"/>
                </a:cubicBezTo>
                <a:cubicBezTo>
                  <a:pt x="55" y="6"/>
                  <a:pt x="55" y="6"/>
                  <a:pt x="55" y="6"/>
                </a:cubicBezTo>
                <a:cubicBezTo>
                  <a:pt x="55" y="6"/>
                  <a:pt x="55" y="6"/>
                  <a:pt x="55" y="6"/>
                </a:cubicBezTo>
                <a:cubicBezTo>
                  <a:pt x="55" y="5"/>
                  <a:pt x="54" y="4"/>
                  <a:pt x="54" y="3"/>
                </a:cubicBezTo>
                <a:cubicBezTo>
                  <a:pt x="52" y="2"/>
                  <a:pt x="51" y="1"/>
                  <a:pt x="49" y="1"/>
                </a:cubicBezTo>
                <a:cubicBezTo>
                  <a:pt x="47" y="0"/>
                  <a:pt x="44" y="1"/>
                  <a:pt x="42" y="3"/>
                </a:cubicBezTo>
                <a:cubicBezTo>
                  <a:pt x="40" y="5"/>
                  <a:pt x="38" y="7"/>
                  <a:pt x="36" y="10"/>
                </a:cubicBezTo>
                <a:cubicBezTo>
                  <a:pt x="36" y="10"/>
                  <a:pt x="35" y="11"/>
                  <a:pt x="35" y="11"/>
                </a:cubicBezTo>
                <a:cubicBezTo>
                  <a:pt x="33" y="13"/>
                  <a:pt x="31" y="15"/>
                  <a:pt x="30" y="17"/>
                </a:cubicBezTo>
                <a:cubicBezTo>
                  <a:pt x="29" y="18"/>
                  <a:pt x="29" y="18"/>
                  <a:pt x="29" y="18"/>
                </a:cubicBezTo>
                <a:cubicBezTo>
                  <a:pt x="29" y="18"/>
                  <a:pt x="29" y="18"/>
                  <a:pt x="29" y="18"/>
                </a:cubicBezTo>
                <a:cubicBezTo>
                  <a:pt x="28" y="20"/>
                  <a:pt x="27" y="21"/>
                  <a:pt x="26" y="23"/>
                </a:cubicBezTo>
                <a:cubicBezTo>
                  <a:pt x="25" y="23"/>
                  <a:pt x="25" y="23"/>
                  <a:pt x="25" y="23"/>
                </a:cubicBezTo>
                <a:cubicBezTo>
                  <a:pt x="25" y="23"/>
                  <a:pt x="25" y="23"/>
                  <a:pt x="25" y="23"/>
                </a:cubicBezTo>
                <a:cubicBezTo>
                  <a:pt x="19" y="33"/>
                  <a:pt x="14" y="43"/>
                  <a:pt x="9" y="53"/>
                </a:cubicBezTo>
                <a:cubicBezTo>
                  <a:pt x="9" y="53"/>
                  <a:pt x="9" y="53"/>
                  <a:pt x="9" y="53"/>
                </a:cubicBezTo>
                <a:cubicBezTo>
                  <a:pt x="9" y="53"/>
                  <a:pt x="9" y="53"/>
                  <a:pt x="9" y="53"/>
                </a:cubicBezTo>
                <a:cubicBezTo>
                  <a:pt x="9" y="55"/>
                  <a:pt x="8" y="57"/>
                  <a:pt x="7" y="59"/>
                </a:cubicBezTo>
                <a:cubicBezTo>
                  <a:pt x="7" y="59"/>
                  <a:pt x="7" y="60"/>
                  <a:pt x="7" y="60"/>
                </a:cubicBezTo>
                <a:cubicBezTo>
                  <a:pt x="6" y="62"/>
                  <a:pt x="6" y="64"/>
                  <a:pt x="5" y="65"/>
                </a:cubicBezTo>
                <a:cubicBezTo>
                  <a:pt x="5" y="66"/>
                  <a:pt x="5" y="66"/>
                  <a:pt x="5" y="67"/>
                </a:cubicBezTo>
                <a:cubicBezTo>
                  <a:pt x="4" y="69"/>
                  <a:pt x="4" y="70"/>
                  <a:pt x="4" y="72"/>
                </a:cubicBezTo>
                <a:cubicBezTo>
                  <a:pt x="3" y="73"/>
                  <a:pt x="3" y="73"/>
                  <a:pt x="3" y="74"/>
                </a:cubicBezTo>
                <a:cubicBezTo>
                  <a:pt x="3" y="75"/>
                  <a:pt x="3" y="77"/>
                  <a:pt x="2" y="78"/>
                </a:cubicBezTo>
                <a:cubicBezTo>
                  <a:pt x="2" y="79"/>
                  <a:pt x="2" y="80"/>
                  <a:pt x="2" y="81"/>
                </a:cubicBezTo>
                <a:cubicBezTo>
                  <a:pt x="2" y="82"/>
                  <a:pt x="1" y="84"/>
                  <a:pt x="1" y="85"/>
                </a:cubicBezTo>
                <a:cubicBezTo>
                  <a:pt x="1" y="86"/>
                  <a:pt x="1" y="87"/>
                  <a:pt x="1" y="89"/>
                </a:cubicBezTo>
                <a:cubicBezTo>
                  <a:pt x="1" y="90"/>
                  <a:pt x="0" y="91"/>
                  <a:pt x="0" y="92"/>
                </a:cubicBezTo>
                <a:cubicBezTo>
                  <a:pt x="0" y="93"/>
                  <a:pt x="0" y="95"/>
                  <a:pt x="0" y="96"/>
                </a:cubicBezTo>
                <a:cubicBezTo>
                  <a:pt x="0" y="97"/>
                  <a:pt x="0" y="98"/>
                  <a:pt x="0" y="99"/>
                </a:cubicBezTo>
                <a:cubicBezTo>
                  <a:pt x="0" y="101"/>
                  <a:pt x="0" y="103"/>
                  <a:pt x="0" y="106"/>
                </a:cubicBezTo>
                <a:cubicBezTo>
                  <a:pt x="0" y="106"/>
                  <a:pt x="0" y="106"/>
                  <a:pt x="0" y="106"/>
                </a:cubicBezTo>
                <a:cubicBezTo>
                  <a:pt x="0" y="106"/>
                  <a:pt x="0" y="106"/>
                  <a:pt x="0" y="106"/>
                </a:cubicBezTo>
                <a:cubicBezTo>
                  <a:pt x="0" y="106"/>
                  <a:pt x="0" y="106"/>
                  <a:pt x="0" y="106"/>
                </a:cubicBezTo>
                <a:cubicBezTo>
                  <a:pt x="0" y="108"/>
                  <a:pt x="0" y="111"/>
                  <a:pt x="0" y="113"/>
                </a:cubicBezTo>
                <a:cubicBezTo>
                  <a:pt x="0" y="114"/>
                  <a:pt x="0" y="115"/>
                  <a:pt x="0" y="115"/>
                </a:cubicBezTo>
                <a:cubicBezTo>
                  <a:pt x="0" y="117"/>
                  <a:pt x="0" y="118"/>
                  <a:pt x="0" y="120"/>
                </a:cubicBezTo>
                <a:cubicBezTo>
                  <a:pt x="0" y="121"/>
                  <a:pt x="1" y="122"/>
                  <a:pt x="1" y="123"/>
                </a:cubicBezTo>
                <a:cubicBezTo>
                  <a:pt x="1" y="124"/>
                  <a:pt x="1" y="125"/>
                  <a:pt x="1" y="127"/>
                </a:cubicBezTo>
                <a:cubicBezTo>
                  <a:pt x="1" y="128"/>
                  <a:pt x="2" y="129"/>
                  <a:pt x="2" y="130"/>
                </a:cubicBezTo>
                <a:cubicBezTo>
                  <a:pt x="2" y="131"/>
                  <a:pt x="2" y="132"/>
                  <a:pt x="2" y="133"/>
                </a:cubicBezTo>
                <a:cubicBezTo>
                  <a:pt x="3" y="135"/>
                  <a:pt x="3" y="136"/>
                  <a:pt x="3" y="138"/>
                </a:cubicBezTo>
                <a:cubicBezTo>
                  <a:pt x="3" y="138"/>
                  <a:pt x="3" y="139"/>
                  <a:pt x="4" y="140"/>
                </a:cubicBezTo>
                <a:cubicBezTo>
                  <a:pt x="4" y="141"/>
                  <a:pt x="4" y="143"/>
                  <a:pt x="5" y="145"/>
                </a:cubicBezTo>
                <a:cubicBezTo>
                  <a:pt x="5" y="145"/>
                  <a:pt x="5" y="146"/>
                  <a:pt x="5" y="146"/>
                </a:cubicBezTo>
                <a:cubicBezTo>
                  <a:pt x="6" y="148"/>
                  <a:pt x="6" y="150"/>
                  <a:pt x="7" y="152"/>
                </a:cubicBezTo>
                <a:cubicBezTo>
                  <a:pt x="7" y="152"/>
                  <a:pt x="7" y="152"/>
                  <a:pt x="7" y="152"/>
                </a:cubicBezTo>
                <a:cubicBezTo>
                  <a:pt x="8" y="154"/>
                  <a:pt x="9" y="156"/>
                  <a:pt x="9" y="158"/>
                </a:cubicBezTo>
                <a:cubicBezTo>
                  <a:pt x="9" y="158"/>
                  <a:pt x="9" y="158"/>
                  <a:pt x="9" y="158"/>
                </a:cubicBezTo>
                <a:cubicBezTo>
                  <a:pt x="9" y="158"/>
                  <a:pt x="9" y="158"/>
                  <a:pt x="9" y="158"/>
                </a:cubicBezTo>
                <a:cubicBezTo>
                  <a:pt x="14" y="169"/>
                  <a:pt x="19" y="179"/>
                  <a:pt x="25" y="188"/>
                </a:cubicBezTo>
                <a:cubicBezTo>
                  <a:pt x="25" y="188"/>
                  <a:pt x="25" y="188"/>
                  <a:pt x="25" y="188"/>
                </a:cubicBezTo>
                <a:cubicBezTo>
                  <a:pt x="25" y="188"/>
                  <a:pt x="25" y="189"/>
                  <a:pt x="26" y="189"/>
                </a:cubicBezTo>
                <a:cubicBezTo>
                  <a:pt x="27" y="190"/>
                  <a:pt x="28" y="192"/>
                  <a:pt x="29" y="193"/>
                </a:cubicBezTo>
                <a:cubicBezTo>
                  <a:pt x="29" y="193"/>
                  <a:pt x="29" y="194"/>
                  <a:pt x="29" y="194"/>
                </a:cubicBezTo>
                <a:cubicBezTo>
                  <a:pt x="29" y="194"/>
                  <a:pt x="29" y="194"/>
                  <a:pt x="30" y="194"/>
                </a:cubicBezTo>
                <a:cubicBezTo>
                  <a:pt x="31" y="196"/>
                  <a:pt x="33" y="198"/>
                  <a:pt x="35" y="201"/>
                </a:cubicBezTo>
                <a:cubicBezTo>
                  <a:pt x="35" y="201"/>
                  <a:pt x="36" y="201"/>
                  <a:pt x="36" y="202"/>
                </a:cubicBezTo>
                <a:cubicBezTo>
                  <a:pt x="38" y="204"/>
                  <a:pt x="40" y="206"/>
                  <a:pt x="42" y="209"/>
                </a:cubicBezTo>
                <a:cubicBezTo>
                  <a:pt x="44" y="211"/>
                  <a:pt x="47" y="211"/>
                  <a:pt x="49" y="211"/>
                </a:cubicBezTo>
                <a:cubicBezTo>
                  <a:pt x="51" y="211"/>
                  <a:pt x="52" y="210"/>
                  <a:pt x="54" y="209"/>
                </a:cubicBezTo>
                <a:cubicBezTo>
                  <a:pt x="54" y="208"/>
                  <a:pt x="55" y="207"/>
                  <a:pt x="55" y="206"/>
                </a:cubicBezTo>
                <a:cubicBezTo>
                  <a:pt x="55" y="206"/>
                  <a:pt x="55" y="206"/>
                  <a:pt x="55" y="206"/>
                </a:cubicBezTo>
                <a:cubicBezTo>
                  <a:pt x="55" y="206"/>
                  <a:pt x="55" y="206"/>
                  <a:pt x="56" y="205"/>
                </a:cubicBezTo>
                <a:cubicBezTo>
                  <a:pt x="56" y="205"/>
                  <a:pt x="56" y="204"/>
                  <a:pt x="56" y="203"/>
                </a:cubicBezTo>
                <a:cubicBezTo>
                  <a:pt x="56" y="201"/>
                  <a:pt x="55" y="199"/>
                  <a:pt x="54" y="197"/>
                </a:cubicBezTo>
                <a:cubicBezTo>
                  <a:pt x="52" y="195"/>
                  <a:pt x="50" y="193"/>
                  <a:pt x="48" y="191"/>
                </a:cubicBezTo>
                <a:close/>
                <a:moveTo>
                  <a:pt x="207" y="60"/>
                </a:moveTo>
                <a:cubicBezTo>
                  <a:pt x="158" y="60"/>
                  <a:pt x="158" y="60"/>
                  <a:pt x="158" y="60"/>
                </a:cubicBezTo>
                <a:cubicBezTo>
                  <a:pt x="147" y="60"/>
                  <a:pt x="138" y="69"/>
                  <a:pt x="138" y="80"/>
                </a:cubicBezTo>
                <a:cubicBezTo>
                  <a:pt x="138" y="439"/>
                  <a:pt x="138" y="439"/>
                  <a:pt x="138" y="439"/>
                </a:cubicBezTo>
                <a:cubicBezTo>
                  <a:pt x="138" y="443"/>
                  <a:pt x="142" y="447"/>
                  <a:pt x="146" y="447"/>
                </a:cubicBezTo>
                <a:cubicBezTo>
                  <a:pt x="151" y="447"/>
                  <a:pt x="154" y="443"/>
                  <a:pt x="154" y="439"/>
                </a:cubicBezTo>
                <a:cubicBezTo>
                  <a:pt x="154" y="420"/>
                  <a:pt x="154" y="420"/>
                  <a:pt x="154" y="420"/>
                </a:cubicBezTo>
                <a:cubicBezTo>
                  <a:pt x="211" y="363"/>
                  <a:pt x="211" y="363"/>
                  <a:pt x="211" y="363"/>
                </a:cubicBezTo>
                <a:cubicBezTo>
                  <a:pt x="211" y="439"/>
                  <a:pt x="211" y="439"/>
                  <a:pt x="211" y="439"/>
                </a:cubicBezTo>
                <a:cubicBezTo>
                  <a:pt x="211" y="443"/>
                  <a:pt x="215" y="447"/>
                  <a:pt x="219" y="447"/>
                </a:cubicBezTo>
                <a:cubicBezTo>
                  <a:pt x="223" y="447"/>
                  <a:pt x="227" y="443"/>
                  <a:pt x="227" y="439"/>
                </a:cubicBezTo>
                <a:cubicBezTo>
                  <a:pt x="227" y="80"/>
                  <a:pt x="227" y="80"/>
                  <a:pt x="227" y="80"/>
                </a:cubicBezTo>
                <a:cubicBezTo>
                  <a:pt x="227" y="69"/>
                  <a:pt x="218" y="60"/>
                  <a:pt x="207" y="60"/>
                </a:cubicBezTo>
                <a:close/>
                <a:moveTo>
                  <a:pt x="154" y="80"/>
                </a:moveTo>
                <a:cubicBezTo>
                  <a:pt x="154" y="78"/>
                  <a:pt x="156" y="76"/>
                  <a:pt x="158" y="76"/>
                </a:cubicBezTo>
                <a:cubicBezTo>
                  <a:pt x="198" y="76"/>
                  <a:pt x="198" y="76"/>
                  <a:pt x="198" y="76"/>
                </a:cubicBezTo>
                <a:cubicBezTo>
                  <a:pt x="154" y="120"/>
                  <a:pt x="154" y="120"/>
                  <a:pt x="154" y="120"/>
                </a:cubicBezTo>
                <a:lnTo>
                  <a:pt x="154" y="80"/>
                </a:lnTo>
                <a:close/>
                <a:moveTo>
                  <a:pt x="154" y="155"/>
                </a:moveTo>
                <a:cubicBezTo>
                  <a:pt x="207" y="207"/>
                  <a:pt x="207" y="207"/>
                  <a:pt x="207" y="207"/>
                </a:cubicBezTo>
                <a:cubicBezTo>
                  <a:pt x="154" y="260"/>
                  <a:pt x="154" y="260"/>
                  <a:pt x="154" y="260"/>
                </a:cubicBezTo>
                <a:lnTo>
                  <a:pt x="154" y="155"/>
                </a:lnTo>
                <a:close/>
                <a:moveTo>
                  <a:pt x="154" y="397"/>
                </a:moveTo>
                <a:cubicBezTo>
                  <a:pt x="154" y="294"/>
                  <a:pt x="154" y="294"/>
                  <a:pt x="154" y="294"/>
                </a:cubicBezTo>
                <a:cubicBezTo>
                  <a:pt x="206" y="346"/>
                  <a:pt x="206" y="346"/>
                  <a:pt x="206" y="346"/>
                </a:cubicBezTo>
                <a:lnTo>
                  <a:pt x="154" y="397"/>
                </a:lnTo>
                <a:close/>
                <a:moveTo>
                  <a:pt x="211" y="328"/>
                </a:moveTo>
                <a:cubicBezTo>
                  <a:pt x="160" y="277"/>
                  <a:pt x="160" y="277"/>
                  <a:pt x="160" y="277"/>
                </a:cubicBezTo>
                <a:cubicBezTo>
                  <a:pt x="211" y="226"/>
                  <a:pt x="211" y="226"/>
                  <a:pt x="211" y="226"/>
                </a:cubicBezTo>
                <a:lnTo>
                  <a:pt x="211" y="328"/>
                </a:lnTo>
                <a:close/>
                <a:moveTo>
                  <a:pt x="211" y="189"/>
                </a:moveTo>
                <a:cubicBezTo>
                  <a:pt x="159" y="137"/>
                  <a:pt x="159" y="137"/>
                  <a:pt x="159" y="137"/>
                </a:cubicBezTo>
                <a:cubicBezTo>
                  <a:pt x="211" y="86"/>
                  <a:pt x="211" y="86"/>
                  <a:pt x="211" y="86"/>
                </a:cubicBezTo>
                <a:lnTo>
                  <a:pt x="211" y="189"/>
                </a:lnTo>
                <a:close/>
                <a:moveTo>
                  <a:pt x="107" y="58"/>
                </a:moveTo>
                <a:cubicBezTo>
                  <a:pt x="103" y="58"/>
                  <a:pt x="99" y="62"/>
                  <a:pt x="99" y="66"/>
                </a:cubicBezTo>
                <a:cubicBezTo>
                  <a:pt x="99" y="144"/>
                  <a:pt x="99" y="144"/>
                  <a:pt x="99" y="144"/>
                </a:cubicBezTo>
                <a:cubicBezTo>
                  <a:pt x="99" y="148"/>
                  <a:pt x="103" y="152"/>
                  <a:pt x="107" y="152"/>
                </a:cubicBezTo>
                <a:cubicBezTo>
                  <a:pt x="111" y="152"/>
                  <a:pt x="115" y="148"/>
                  <a:pt x="115" y="144"/>
                </a:cubicBezTo>
                <a:cubicBezTo>
                  <a:pt x="115" y="66"/>
                  <a:pt x="115" y="66"/>
                  <a:pt x="115" y="66"/>
                </a:cubicBezTo>
                <a:cubicBezTo>
                  <a:pt x="115" y="62"/>
                  <a:pt x="111" y="58"/>
                  <a:pt x="107" y="58"/>
                </a:cubicBezTo>
                <a:close/>
                <a:moveTo>
                  <a:pt x="320" y="28"/>
                </a:moveTo>
                <a:cubicBezTo>
                  <a:pt x="322" y="29"/>
                  <a:pt x="323" y="31"/>
                  <a:pt x="324" y="33"/>
                </a:cubicBezTo>
                <a:cubicBezTo>
                  <a:pt x="327" y="36"/>
                  <a:pt x="332" y="37"/>
                  <a:pt x="335" y="35"/>
                </a:cubicBezTo>
                <a:cubicBezTo>
                  <a:pt x="339" y="32"/>
                  <a:pt x="340" y="27"/>
                  <a:pt x="337" y="23"/>
                </a:cubicBezTo>
                <a:cubicBezTo>
                  <a:pt x="336" y="22"/>
                  <a:pt x="335" y="20"/>
                  <a:pt x="333" y="18"/>
                </a:cubicBezTo>
                <a:cubicBezTo>
                  <a:pt x="329" y="13"/>
                  <a:pt x="325" y="8"/>
                  <a:pt x="320" y="3"/>
                </a:cubicBezTo>
                <a:cubicBezTo>
                  <a:pt x="317" y="0"/>
                  <a:pt x="312" y="0"/>
                  <a:pt x="309" y="3"/>
                </a:cubicBezTo>
                <a:cubicBezTo>
                  <a:pt x="307" y="4"/>
                  <a:pt x="306" y="7"/>
                  <a:pt x="306" y="9"/>
                </a:cubicBezTo>
                <a:cubicBezTo>
                  <a:pt x="306" y="11"/>
                  <a:pt x="307" y="13"/>
                  <a:pt x="309" y="14"/>
                </a:cubicBezTo>
                <a:cubicBezTo>
                  <a:pt x="313" y="18"/>
                  <a:pt x="317" y="23"/>
                  <a:pt x="320" y="28"/>
                </a:cubicBezTo>
                <a:close/>
                <a:moveTo>
                  <a:pt x="257" y="59"/>
                </a:moveTo>
                <a:cubicBezTo>
                  <a:pt x="252" y="59"/>
                  <a:pt x="249" y="63"/>
                  <a:pt x="249" y="67"/>
                </a:cubicBezTo>
                <a:cubicBezTo>
                  <a:pt x="249" y="145"/>
                  <a:pt x="249" y="145"/>
                  <a:pt x="249" y="145"/>
                </a:cubicBezTo>
                <a:cubicBezTo>
                  <a:pt x="249" y="149"/>
                  <a:pt x="252" y="153"/>
                  <a:pt x="257" y="153"/>
                </a:cubicBezTo>
                <a:cubicBezTo>
                  <a:pt x="261" y="153"/>
                  <a:pt x="265" y="149"/>
                  <a:pt x="265" y="145"/>
                </a:cubicBezTo>
                <a:cubicBezTo>
                  <a:pt x="265" y="67"/>
                  <a:pt x="265" y="67"/>
                  <a:pt x="265" y="67"/>
                </a:cubicBezTo>
                <a:cubicBezTo>
                  <a:pt x="265" y="63"/>
                  <a:pt x="261" y="59"/>
                  <a:pt x="257" y="59"/>
                </a:cubicBezTo>
                <a:close/>
                <a:moveTo>
                  <a:pt x="291" y="32"/>
                </a:moveTo>
                <a:cubicBezTo>
                  <a:pt x="288" y="29"/>
                  <a:pt x="283" y="29"/>
                  <a:pt x="279" y="32"/>
                </a:cubicBezTo>
                <a:cubicBezTo>
                  <a:pt x="278" y="34"/>
                  <a:pt x="277" y="36"/>
                  <a:pt x="277" y="38"/>
                </a:cubicBezTo>
                <a:cubicBezTo>
                  <a:pt x="277" y="40"/>
                  <a:pt x="278" y="42"/>
                  <a:pt x="279" y="44"/>
                </a:cubicBezTo>
                <a:cubicBezTo>
                  <a:pt x="297" y="61"/>
                  <a:pt x="305" y="83"/>
                  <a:pt x="305" y="106"/>
                </a:cubicBezTo>
                <a:cubicBezTo>
                  <a:pt x="305" y="128"/>
                  <a:pt x="297" y="151"/>
                  <a:pt x="279" y="168"/>
                </a:cubicBezTo>
                <a:cubicBezTo>
                  <a:pt x="279" y="168"/>
                  <a:pt x="279" y="168"/>
                  <a:pt x="279" y="168"/>
                </a:cubicBezTo>
                <a:cubicBezTo>
                  <a:pt x="276" y="171"/>
                  <a:pt x="276" y="176"/>
                  <a:pt x="279" y="179"/>
                </a:cubicBezTo>
                <a:cubicBezTo>
                  <a:pt x="283" y="182"/>
                  <a:pt x="288" y="182"/>
                  <a:pt x="291" y="179"/>
                </a:cubicBezTo>
                <a:cubicBezTo>
                  <a:pt x="311" y="159"/>
                  <a:pt x="321" y="132"/>
                  <a:pt x="321" y="106"/>
                </a:cubicBezTo>
                <a:cubicBezTo>
                  <a:pt x="321" y="79"/>
                  <a:pt x="311" y="53"/>
                  <a:pt x="291" y="32"/>
                </a:cubicBezTo>
                <a:close/>
                <a:moveTo>
                  <a:pt x="353" y="53"/>
                </a:moveTo>
                <a:cubicBezTo>
                  <a:pt x="351" y="49"/>
                  <a:pt x="347" y="47"/>
                  <a:pt x="343" y="49"/>
                </a:cubicBezTo>
                <a:cubicBezTo>
                  <a:pt x="338" y="50"/>
                  <a:pt x="336" y="55"/>
                  <a:pt x="338" y="59"/>
                </a:cubicBezTo>
                <a:cubicBezTo>
                  <a:pt x="344" y="74"/>
                  <a:pt x="347" y="90"/>
                  <a:pt x="347" y="106"/>
                </a:cubicBezTo>
                <a:cubicBezTo>
                  <a:pt x="347" y="140"/>
                  <a:pt x="333" y="173"/>
                  <a:pt x="309" y="197"/>
                </a:cubicBezTo>
                <a:cubicBezTo>
                  <a:pt x="307" y="199"/>
                  <a:pt x="306" y="201"/>
                  <a:pt x="306" y="203"/>
                </a:cubicBezTo>
                <a:cubicBezTo>
                  <a:pt x="306" y="205"/>
                  <a:pt x="307" y="207"/>
                  <a:pt x="309" y="209"/>
                </a:cubicBezTo>
                <a:cubicBezTo>
                  <a:pt x="312" y="212"/>
                  <a:pt x="317" y="212"/>
                  <a:pt x="320" y="209"/>
                </a:cubicBezTo>
                <a:cubicBezTo>
                  <a:pt x="348" y="181"/>
                  <a:pt x="363" y="145"/>
                  <a:pt x="363" y="106"/>
                </a:cubicBezTo>
                <a:cubicBezTo>
                  <a:pt x="363" y="88"/>
                  <a:pt x="359" y="70"/>
                  <a:pt x="353" y="53"/>
                </a:cubicBezTo>
                <a:close/>
              </a:path>
            </a:pathLst>
          </a:custGeom>
          <a:solidFill>
            <a:schemeClr val="bg2">
              <a:lumMod val="75000"/>
            </a:schemeClr>
          </a:solidFill>
          <a:ln>
            <a:noFill/>
          </a:ln>
        </p:spPr>
        <p:txBody>
          <a:bodyPr/>
          <a:lstStyle/>
          <a:p>
            <a:endParaRPr lang="en-US" dirty="0"/>
          </a:p>
        </p:txBody>
      </p:sp>
      <p:sp>
        <p:nvSpPr>
          <p:cNvPr id="33" name="Title 3"/>
          <p:cNvSpPr>
            <a:spLocks noGrp="1"/>
          </p:cNvSpPr>
          <p:nvPr>
            <p:ph type="title"/>
          </p:nvPr>
        </p:nvSpPr>
        <p:spPr>
          <a:xfrm>
            <a:off x="525600" y="241200"/>
            <a:ext cx="10513179" cy="1085371"/>
          </a:xfrm>
        </p:spPr>
        <p:txBody>
          <a:bodyPr>
            <a:noAutofit/>
          </a:bodyPr>
          <a:lstStyle/>
          <a:p>
            <a:r>
              <a:rPr lang="en-US" sz="4800" dirty="0">
                <a:solidFill>
                  <a:schemeClr val="bg1"/>
                </a:solidFill>
              </a:rPr>
              <a:t>Differentiator</a:t>
            </a:r>
            <a:br>
              <a:rPr lang="en-US" sz="4800" dirty="0">
                <a:solidFill>
                  <a:schemeClr val="bg1"/>
                </a:solidFill>
              </a:rPr>
            </a:br>
            <a:r>
              <a:rPr lang="en-US" sz="3200" dirty="0">
                <a:solidFill>
                  <a:schemeClr val="bg1"/>
                </a:solidFill>
              </a:rPr>
              <a:t>using cat-m or </a:t>
            </a:r>
            <a:r>
              <a:rPr lang="en-US" sz="3200" dirty="0" err="1">
                <a:solidFill>
                  <a:schemeClr val="bg1"/>
                </a:solidFill>
              </a:rPr>
              <a:t>nB</a:t>
            </a:r>
            <a:r>
              <a:rPr lang="en-US" sz="3200" dirty="0">
                <a:solidFill>
                  <a:schemeClr val="bg1"/>
                </a:solidFill>
              </a:rPr>
              <a:t> </a:t>
            </a:r>
            <a:r>
              <a:rPr lang="en-US" sz="3200" dirty="0" err="1">
                <a:solidFill>
                  <a:schemeClr val="bg1"/>
                </a:solidFill>
              </a:rPr>
              <a:t>iot</a:t>
            </a:r>
            <a:r>
              <a:rPr lang="en-US" sz="3200" dirty="0">
                <a:solidFill>
                  <a:schemeClr val="bg1"/>
                </a:solidFill>
              </a:rPr>
              <a:t> </a:t>
            </a:r>
            <a:endParaRPr lang="en-US" sz="4800" dirty="0">
              <a:solidFill>
                <a:schemeClr val="bg1"/>
              </a:solidFill>
            </a:endParaRPr>
          </a:p>
        </p:txBody>
      </p:sp>
      <p:sp>
        <p:nvSpPr>
          <p:cNvPr id="42" name="Text Box 6"/>
          <p:cNvSpPr txBox="1">
            <a:spLocks noChangeArrowheads="1"/>
          </p:cNvSpPr>
          <p:nvPr/>
        </p:nvSpPr>
        <p:spPr bwMode="auto">
          <a:xfrm>
            <a:off x="711026" y="3799178"/>
            <a:ext cx="2138854" cy="646331"/>
          </a:xfrm>
          <a:prstGeom prst="rect">
            <a:avLst/>
          </a:prstGeom>
          <a:noFill/>
          <a:ln w="12700">
            <a:noFill/>
            <a:miter lim="800000"/>
            <a:headEnd/>
            <a:tailEnd/>
          </a:ln>
          <a:effectLst/>
        </p:spPr>
        <p:txBody>
          <a:bodyPr wrap="square" lIns="0" rIns="0">
            <a:spAutoFit/>
          </a:bodyPr>
          <a:lstStyle/>
          <a:p>
            <a:pPr algn="ctr" eaLnBrk="1" fontAlgn="auto" hangingPunct="1">
              <a:spcBef>
                <a:spcPts val="0"/>
              </a:spcBef>
              <a:spcAft>
                <a:spcPts val="0"/>
              </a:spcAft>
              <a:defRPr/>
            </a:pPr>
            <a:r>
              <a:rPr lang="sv-SE" sz="1800" dirty="0">
                <a:solidFill>
                  <a:srgbClr val="7C1563"/>
                </a:solidFill>
                <a:latin typeface="+mn-lt"/>
              </a:rPr>
              <a:t>DEVICE COST REDUCTION</a:t>
            </a:r>
            <a:endParaRPr lang="en-US" sz="1800" kern="0" dirty="0">
              <a:solidFill>
                <a:srgbClr val="7C1563"/>
              </a:solidFill>
              <a:latin typeface="+mn-lt"/>
            </a:endParaRPr>
          </a:p>
        </p:txBody>
      </p:sp>
      <p:sp>
        <p:nvSpPr>
          <p:cNvPr id="43" name="Text Box 6"/>
          <p:cNvSpPr txBox="1">
            <a:spLocks noChangeArrowheads="1"/>
          </p:cNvSpPr>
          <p:nvPr/>
        </p:nvSpPr>
        <p:spPr bwMode="auto">
          <a:xfrm>
            <a:off x="851021" y="3033827"/>
            <a:ext cx="1232960" cy="707886"/>
          </a:xfrm>
          <a:prstGeom prst="rect">
            <a:avLst/>
          </a:prstGeom>
          <a:noFill/>
          <a:ln w="12700">
            <a:noFill/>
            <a:miter lim="800000"/>
            <a:headEnd/>
            <a:tailEnd/>
          </a:ln>
          <a:effectLst/>
        </p:spPr>
        <p:txBody>
          <a:bodyPr wrap="square" lIns="0" rIns="0">
            <a:spAutoFit/>
          </a:bodyPr>
          <a:lstStyle/>
          <a:p>
            <a:pPr algn="ctr" eaLnBrk="1" fontAlgn="auto" hangingPunct="1">
              <a:spcBef>
                <a:spcPts val="0"/>
              </a:spcBef>
              <a:spcAft>
                <a:spcPts val="0"/>
              </a:spcAft>
              <a:defRPr/>
            </a:pPr>
            <a:r>
              <a:rPr lang="sv-SE" sz="4000" b="1" spc="-300" dirty="0">
                <a:solidFill>
                  <a:schemeClr val="bg2">
                    <a:lumMod val="75000"/>
                  </a:schemeClr>
                </a:solidFill>
                <a:latin typeface="+mj-lt"/>
                <a:ea typeface="Ericsson Capital" charset="0"/>
                <a:cs typeface="Ericsson Capital" charset="0"/>
              </a:rPr>
              <a:t>60%</a:t>
            </a:r>
            <a:endParaRPr lang="en-US" sz="4000" kern="0" spc="-300" dirty="0">
              <a:solidFill>
                <a:schemeClr val="bg2">
                  <a:lumMod val="75000"/>
                </a:schemeClr>
              </a:solidFill>
              <a:latin typeface="+mj-lt"/>
              <a:ea typeface="Ericsson Capital" charset="0"/>
              <a:cs typeface="Ericsson Capital" charset="0"/>
            </a:endParaRPr>
          </a:p>
        </p:txBody>
      </p:sp>
      <p:sp>
        <p:nvSpPr>
          <p:cNvPr id="46" name="Freeform 3"/>
          <p:cNvSpPr>
            <a:spLocks noChangeAspect="1" noEditPoints="1"/>
          </p:cNvSpPr>
          <p:nvPr/>
        </p:nvSpPr>
        <p:spPr bwMode="auto">
          <a:xfrm>
            <a:off x="2029121" y="3085287"/>
            <a:ext cx="625475" cy="503715"/>
          </a:xfrm>
          <a:custGeom>
            <a:avLst/>
            <a:gdLst>
              <a:gd name="T0" fmla="*/ 2147483647 w 524"/>
              <a:gd name="T1" fmla="*/ 2147483647 h 422"/>
              <a:gd name="T2" fmla="*/ 2147483647 w 524"/>
              <a:gd name="T3" fmla="*/ 2147483647 h 422"/>
              <a:gd name="T4" fmla="*/ 2147483647 w 524"/>
              <a:gd name="T5" fmla="*/ 2147483647 h 422"/>
              <a:gd name="T6" fmla="*/ 2147483647 w 524"/>
              <a:gd name="T7" fmla="*/ 2147483647 h 422"/>
              <a:gd name="T8" fmla="*/ 2147483647 w 524"/>
              <a:gd name="T9" fmla="*/ 2147483647 h 422"/>
              <a:gd name="T10" fmla="*/ 2147483647 w 524"/>
              <a:gd name="T11" fmla="*/ 2147483647 h 422"/>
              <a:gd name="T12" fmla="*/ 2147483647 w 524"/>
              <a:gd name="T13" fmla="*/ 2147483647 h 422"/>
              <a:gd name="T14" fmla="*/ 2147483647 w 524"/>
              <a:gd name="T15" fmla="*/ 2147483647 h 422"/>
              <a:gd name="T16" fmla="*/ 2147483647 w 524"/>
              <a:gd name="T17" fmla="*/ 2147483647 h 422"/>
              <a:gd name="T18" fmla="*/ 2147483647 w 524"/>
              <a:gd name="T19" fmla="*/ 2147483647 h 422"/>
              <a:gd name="T20" fmla="*/ 2147483647 w 524"/>
              <a:gd name="T21" fmla="*/ 2147483647 h 422"/>
              <a:gd name="T22" fmla="*/ 2147483647 w 524"/>
              <a:gd name="T23" fmla="*/ 2147483647 h 422"/>
              <a:gd name="T24" fmla="*/ 2147483647 w 524"/>
              <a:gd name="T25" fmla="*/ 2147483647 h 422"/>
              <a:gd name="T26" fmla="*/ 2147483647 w 524"/>
              <a:gd name="T27" fmla="*/ 2147483647 h 422"/>
              <a:gd name="T28" fmla="*/ 2147483647 w 524"/>
              <a:gd name="T29" fmla="*/ 2147483647 h 422"/>
              <a:gd name="T30" fmla="*/ 2147483647 w 524"/>
              <a:gd name="T31" fmla="*/ 2147483647 h 422"/>
              <a:gd name="T32" fmla="*/ 2147483647 w 524"/>
              <a:gd name="T33" fmla="*/ 2147483647 h 422"/>
              <a:gd name="T34" fmla="*/ 2147483647 w 524"/>
              <a:gd name="T35" fmla="*/ 2147483647 h 422"/>
              <a:gd name="T36" fmla="*/ 2147483647 w 524"/>
              <a:gd name="T37" fmla="*/ 2147483647 h 422"/>
              <a:gd name="T38" fmla="*/ 2147483647 w 524"/>
              <a:gd name="T39" fmla="*/ 2147483647 h 422"/>
              <a:gd name="T40" fmla="*/ 2147483647 w 524"/>
              <a:gd name="T41" fmla="*/ 2147483647 h 422"/>
              <a:gd name="T42" fmla="*/ 2147483647 w 524"/>
              <a:gd name="T43" fmla="*/ 2147483647 h 422"/>
              <a:gd name="T44" fmla="*/ 2147483647 w 524"/>
              <a:gd name="T45" fmla="*/ 2147483647 h 422"/>
              <a:gd name="T46" fmla="*/ 2147483647 w 524"/>
              <a:gd name="T47" fmla="*/ 2147483647 h 422"/>
              <a:gd name="T48" fmla="*/ 2147483647 w 524"/>
              <a:gd name="T49" fmla="*/ 2147483647 h 422"/>
              <a:gd name="T50" fmla="*/ 2147483647 w 524"/>
              <a:gd name="T51" fmla="*/ 2147483647 h 422"/>
              <a:gd name="T52" fmla="*/ 2147483647 w 524"/>
              <a:gd name="T53" fmla="*/ 2147483647 h 422"/>
              <a:gd name="T54" fmla="*/ 2147483647 w 524"/>
              <a:gd name="T55" fmla="*/ 2147483647 h 422"/>
              <a:gd name="T56" fmla="*/ 2147483647 w 524"/>
              <a:gd name="T57" fmla="*/ 2147483647 h 422"/>
              <a:gd name="T58" fmla="*/ 2147483647 w 524"/>
              <a:gd name="T59" fmla="*/ 2147483647 h 422"/>
              <a:gd name="T60" fmla="*/ 2147483647 w 524"/>
              <a:gd name="T61" fmla="*/ 2147483647 h 422"/>
              <a:gd name="T62" fmla="*/ 2147483647 w 524"/>
              <a:gd name="T63" fmla="*/ 2147483647 h 422"/>
              <a:gd name="T64" fmla="*/ 2147483647 w 524"/>
              <a:gd name="T65" fmla="*/ 2147483647 h 422"/>
              <a:gd name="T66" fmla="*/ 2147483647 w 524"/>
              <a:gd name="T67" fmla="*/ 2147483647 h 422"/>
              <a:gd name="T68" fmla="*/ 2147483647 w 524"/>
              <a:gd name="T69" fmla="*/ 2147483647 h 422"/>
              <a:gd name="T70" fmla="*/ 2147483647 w 524"/>
              <a:gd name="T71" fmla="*/ 2147483647 h 422"/>
              <a:gd name="T72" fmla="*/ 2147483647 w 524"/>
              <a:gd name="T73" fmla="*/ 2147483647 h 422"/>
              <a:gd name="T74" fmla="*/ 2147483647 w 524"/>
              <a:gd name="T75" fmla="*/ 2147483647 h 422"/>
              <a:gd name="T76" fmla="*/ 2147483647 w 524"/>
              <a:gd name="T77" fmla="*/ 2147483647 h 422"/>
              <a:gd name="T78" fmla="*/ 2147483647 w 524"/>
              <a:gd name="T79" fmla="*/ 2147483647 h 422"/>
              <a:gd name="T80" fmla="*/ 2147483647 w 524"/>
              <a:gd name="T81" fmla="*/ 2147483647 h 422"/>
              <a:gd name="T82" fmla="*/ 2147483647 w 524"/>
              <a:gd name="T83" fmla="*/ 2147483647 h 422"/>
              <a:gd name="T84" fmla="*/ 2147483647 w 524"/>
              <a:gd name="T85" fmla="*/ 2147483647 h 422"/>
              <a:gd name="T86" fmla="*/ 2147483647 w 524"/>
              <a:gd name="T87" fmla="*/ 2147483647 h 422"/>
              <a:gd name="T88" fmla="*/ 2147483647 w 524"/>
              <a:gd name="T89" fmla="*/ 2147483647 h 422"/>
              <a:gd name="T90" fmla="*/ 2147483647 w 524"/>
              <a:gd name="T91" fmla="*/ 2147483647 h 422"/>
              <a:gd name="T92" fmla="*/ 2147483647 w 524"/>
              <a:gd name="T93" fmla="*/ 2147483647 h 422"/>
              <a:gd name="T94" fmla="*/ 2147483647 w 524"/>
              <a:gd name="T95" fmla="*/ 2147483647 h 422"/>
              <a:gd name="T96" fmla="*/ 2147483647 w 524"/>
              <a:gd name="T97" fmla="*/ 2147483647 h 422"/>
              <a:gd name="T98" fmla="*/ 2147483647 w 524"/>
              <a:gd name="T99" fmla="*/ 2147483647 h 422"/>
              <a:gd name="T100" fmla="*/ 2147483647 w 524"/>
              <a:gd name="T101" fmla="*/ 2147483647 h 422"/>
              <a:gd name="T102" fmla="*/ 2147483647 w 524"/>
              <a:gd name="T103" fmla="*/ 2147483647 h 422"/>
              <a:gd name="T104" fmla="*/ 2147483647 w 524"/>
              <a:gd name="T105" fmla="*/ 2147483647 h 422"/>
              <a:gd name="T106" fmla="*/ 2147483647 w 524"/>
              <a:gd name="T107" fmla="*/ 2147483647 h 422"/>
              <a:gd name="T108" fmla="*/ 2147483647 w 524"/>
              <a:gd name="T109" fmla="*/ 2147483647 h 422"/>
              <a:gd name="T110" fmla="*/ 2147483647 w 524"/>
              <a:gd name="T111" fmla="*/ 2147483647 h 422"/>
              <a:gd name="T112" fmla="*/ 2147483647 w 524"/>
              <a:gd name="T113" fmla="*/ 2147483647 h 422"/>
              <a:gd name="T114" fmla="*/ 2147483647 w 524"/>
              <a:gd name="T115" fmla="*/ 2147483647 h 422"/>
              <a:gd name="T116" fmla="*/ 2147483647 w 524"/>
              <a:gd name="T117" fmla="*/ 2147483647 h 42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524" h="422">
                <a:moveTo>
                  <a:pt x="519" y="389"/>
                </a:moveTo>
                <a:cubicBezTo>
                  <a:pt x="469" y="372"/>
                  <a:pt x="469" y="372"/>
                  <a:pt x="469" y="372"/>
                </a:cubicBezTo>
                <a:cubicBezTo>
                  <a:pt x="467" y="371"/>
                  <a:pt x="464" y="371"/>
                  <a:pt x="462" y="373"/>
                </a:cubicBezTo>
                <a:cubicBezTo>
                  <a:pt x="460" y="374"/>
                  <a:pt x="458" y="377"/>
                  <a:pt x="458" y="379"/>
                </a:cubicBezTo>
                <a:cubicBezTo>
                  <a:pt x="458" y="388"/>
                  <a:pt x="458" y="388"/>
                  <a:pt x="458" y="388"/>
                </a:cubicBezTo>
                <a:cubicBezTo>
                  <a:pt x="419" y="388"/>
                  <a:pt x="419" y="388"/>
                  <a:pt x="419" y="388"/>
                </a:cubicBezTo>
                <a:cubicBezTo>
                  <a:pt x="415" y="388"/>
                  <a:pt x="411" y="392"/>
                  <a:pt x="411" y="396"/>
                </a:cubicBezTo>
                <a:cubicBezTo>
                  <a:pt x="411" y="401"/>
                  <a:pt x="415" y="404"/>
                  <a:pt x="419" y="404"/>
                </a:cubicBezTo>
                <a:cubicBezTo>
                  <a:pt x="459" y="404"/>
                  <a:pt x="459" y="404"/>
                  <a:pt x="459" y="404"/>
                </a:cubicBezTo>
                <a:cubicBezTo>
                  <a:pt x="459" y="414"/>
                  <a:pt x="459" y="414"/>
                  <a:pt x="459" y="414"/>
                </a:cubicBezTo>
                <a:cubicBezTo>
                  <a:pt x="459" y="417"/>
                  <a:pt x="460" y="419"/>
                  <a:pt x="462" y="420"/>
                </a:cubicBezTo>
                <a:cubicBezTo>
                  <a:pt x="463" y="421"/>
                  <a:pt x="465" y="422"/>
                  <a:pt x="467" y="422"/>
                </a:cubicBezTo>
                <a:cubicBezTo>
                  <a:pt x="467" y="422"/>
                  <a:pt x="468" y="422"/>
                  <a:pt x="469" y="421"/>
                </a:cubicBezTo>
                <a:cubicBezTo>
                  <a:pt x="519" y="404"/>
                  <a:pt x="519" y="404"/>
                  <a:pt x="519" y="404"/>
                </a:cubicBezTo>
                <a:cubicBezTo>
                  <a:pt x="522" y="403"/>
                  <a:pt x="524" y="400"/>
                  <a:pt x="524" y="396"/>
                </a:cubicBezTo>
                <a:cubicBezTo>
                  <a:pt x="524" y="393"/>
                  <a:pt x="522" y="390"/>
                  <a:pt x="519" y="389"/>
                </a:cubicBezTo>
                <a:close/>
                <a:moveTo>
                  <a:pt x="99" y="47"/>
                </a:moveTo>
                <a:cubicBezTo>
                  <a:pt x="410" y="122"/>
                  <a:pt x="410" y="122"/>
                  <a:pt x="410" y="122"/>
                </a:cubicBezTo>
                <a:cubicBezTo>
                  <a:pt x="408" y="131"/>
                  <a:pt x="408" y="131"/>
                  <a:pt x="408" y="131"/>
                </a:cubicBezTo>
                <a:cubicBezTo>
                  <a:pt x="408" y="133"/>
                  <a:pt x="408" y="136"/>
                  <a:pt x="410" y="138"/>
                </a:cubicBezTo>
                <a:cubicBezTo>
                  <a:pt x="411" y="139"/>
                  <a:pt x="414" y="140"/>
                  <a:pt x="416" y="140"/>
                </a:cubicBezTo>
                <a:cubicBezTo>
                  <a:pt x="416" y="140"/>
                  <a:pt x="416" y="140"/>
                  <a:pt x="417" y="140"/>
                </a:cubicBezTo>
                <a:cubicBezTo>
                  <a:pt x="469" y="135"/>
                  <a:pt x="469" y="135"/>
                  <a:pt x="469" y="135"/>
                </a:cubicBezTo>
                <a:cubicBezTo>
                  <a:pt x="472" y="135"/>
                  <a:pt x="475" y="132"/>
                  <a:pt x="476" y="129"/>
                </a:cubicBezTo>
                <a:cubicBezTo>
                  <a:pt x="477" y="126"/>
                  <a:pt x="475" y="122"/>
                  <a:pt x="472" y="121"/>
                </a:cubicBezTo>
                <a:cubicBezTo>
                  <a:pt x="428" y="92"/>
                  <a:pt x="428" y="92"/>
                  <a:pt x="428" y="92"/>
                </a:cubicBezTo>
                <a:cubicBezTo>
                  <a:pt x="426" y="91"/>
                  <a:pt x="424" y="90"/>
                  <a:pt x="421" y="91"/>
                </a:cubicBezTo>
                <a:cubicBezTo>
                  <a:pt x="419" y="92"/>
                  <a:pt x="417" y="94"/>
                  <a:pt x="416" y="97"/>
                </a:cubicBezTo>
                <a:cubicBezTo>
                  <a:pt x="414" y="106"/>
                  <a:pt x="414" y="106"/>
                  <a:pt x="414" y="106"/>
                </a:cubicBezTo>
                <a:cubicBezTo>
                  <a:pt x="103" y="32"/>
                  <a:pt x="103" y="32"/>
                  <a:pt x="103" y="32"/>
                </a:cubicBezTo>
                <a:cubicBezTo>
                  <a:pt x="98" y="31"/>
                  <a:pt x="94" y="34"/>
                  <a:pt x="93" y="38"/>
                </a:cubicBezTo>
                <a:cubicBezTo>
                  <a:pt x="92" y="42"/>
                  <a:pt x="95" y="46"/>
                  <a:pt x="99" y="47"/>
                </a:cubicBezTo>
                <a:close/>
                <a:moveTo>
                  <a:pt x="185" y="125"/>
                </a:moveTo>
                <a:cubicBezTo>
                  <a:pt x="185" y="125"/>
                  <a:pt x="184" y="124"/>
                  <a:pt x="183" y="123"/>
                </a:cubicBezTo>
                <a:cubicBezTo>
                  <a:pt x="184" y="122"/>
                  <a:pt x="184" y="120"/>
                  <a:pt x="183" y="119"/>
                </a:cubicBezTo>
                <a:cubicBezTo>
                  <a:pt x="182" y="118"/>
                  <a:pt x="180" y="118"/>
                  <a:pt x="179" y="119"/>
                </a:cubicBezTo>
                <a:cubicBezTo>
                  <a:pt x="179" y="120"/>
                  <a:pt x="179" y="120"/>
                  <a:pt x="179" y="120"/>
                </a:cubicBezTo>
                <a:cubicBezTo>
                  <a:pt x="178" y="120"/>
                  <a:pt x="177" y="120"/>
                  <a:pt x="176" y="120"/>
                </a:cubicBezTo>
                <a:cubicBezTo>
                  <a:pt x="174" y="120"/>
                  <a:pt x="172" y="121"/>
                  <a:pt x="170" y="123"/>
                </a:cubicBezTo>
                <a:cubicBezTo>
                  <a:pt x="169" y="124"/>
                  <a:pt x="168" y="125"/>
                  <a:pt x="168" y="126"/>
                </a:cubicBezTo>
                <a:cubicBezTo>
                  <a:pt x="168" y="128"/>
                  <a:pt x="170" y="130"/>
                  <a:pt x="170" y="130"/>
                </a:cubicBezTo>
                <a:cubicBezTo>
                  <a:pt x="171" y="131"/>
                  <a:pt x="172" y="132"/>
                  <a:pt x="173" y="132"/>
                </a:cubicBezTo>
                <a:cubicBezTo>
                  <a:pt x="173" y="132"/>
                  <a:pt x="174" y="133"/>
                  <a:pt x="174" y="133"/>
                </a:cubicBezTo>
                <a:cubicBezTo>
                  <a:pt x="174" y="133"/>
                  <a:pt x="174" y="133"/>
                  <a:pt x="174" y="133"/>
                </a:cubicBezTo>
                <a:cubicBezTo>
                  <a:pt x="174" y="133"/>
                  <a:pt x="174" y="133"/>
                  <a:pt x="174" y="133"/>
                </a:cubicBezTo>
                <a:cubicBezTo>
                  <a:pt x="174" y="133"/>
                  <a:pt x="174" y="133"/>
                  <a:pt x="174" y="133"/>
                </a:cubicBezTo>
                <a:cubicBezTo>
                  <a:pt x="174" y="133"/>
                  <a:pt x="174" y="134"/>
                  <a:pt x="174" y="134"/>
                </a:cubicBezTo>
                <a:cubicBezTo>
                  <a:pt x="173" y="135"/>
                  <a:pt x="173" y="135"/>
                  <a:pt x="171" y="135"/>
                </a:cubicBezTo>
                <a:cubicBezTo>
                  <a:pt x="171" y="135"/>
                  <a:pt x="170" y="135"/>
                  <a:pt x="170" y="135"/>
                </a:cubicBezTo>
                <a:cubicBezTo>
                  <a:pt x="169" y="135"/>
                  <a:pt x="169" y="135"/>
                  <a:pt x="169" y="134"/>
                </a:cubicBezTo>
                <a:cubicBezTo>
                  <a:pt x="169" y="134"/>
                  <a:pt x="169" y="134"/>
                  <a:pt x="169" y="134"/>
                </a:cubicBezTo>
                <a:cubicBezTo>
                  <a:pt x="169" y="134"/>
                  <a:pt x="169" y="134"/>
                  <a:pt x="169" y="134"/>
                </a:cubicBezTo>
                <a:cubicBezTo>
                  <a:pt x="168" y="134"/>
                  <a:pt x="167" y="134"/>
                  <a:pt x="167" y="133"/>
                </a:cubicBezTo>
                <a:cubicBezTo>
                  <a:pt x="167" y="133"/>
                  <a:pt x="167" y="132"/>
                  <a:pt x="166" y="132"/>
                </a:cubicBezTo>
                <a:cubicBezTo>
                  <a:pt x="166" y="132"/>
                  <a:pt x="166" y="132"/>
                  <a:pt x="166" y="132"/>
                </a:cubicBezTo>
                <a:cubicBezTo>
                  <a:pt x="166" y="131"/>
                  <a:pt x="164" y="130"/>
                  <a:pt x="163" y="131"/>
                </a:cubicBezTo>
                <a:cubicBezTo>
                  <a:pt x="162" y="131"/>
                  <a:pt x="161" y="133"/>
                  <a:pt x="162" y="134"/>
                </a:cubicBezTo>
                <a:cubicBezTo>
                  <a:pt x="162" y="134"/>
                  <a:pt x="162" y="136"/>
                  <a:pt x="164" y="137"/>
                </a:cubicBezTo>
                <a:cubicBezTo>
                  <a:pt x="164" y="137"/>
                  <a:pt x="164" y="137"/>
                  <a:pt x="164" y="137"/>
                </a:cubicBezTo>
                <a:cubicBezTo>
                  <a:pt x="163" y="138"/>
                  <a:pt x="163" y="140"/>
                  <a:pt x="164" y="141"/>
                </a:cubicBezTo>
                <a:cubicBezTo>
                  <a:pt x="165" y="141"/>
                  <a:pt x="165" y="141"/>
                  <a:pt x="166" y="141"/>
                </a:cubicBezTo>
                <a:cubicBezTo>
                  <a:pt x="167" y="141"/>
                  <a:pt x="167" y="141"/>
                  <a:pt x="168" y="141"/>
                </a:cubicBezTo>
                <a:cubicBezTo>
                  <a:pt x="169" y="139"/>
                  <a:pt x="169" y="139"/>
                  <a:pt x="169" y="139"/>
                </a:cubicBezTo>
                <a:cubicBezTo>
                  <a:pt x="169" y="140"/>
                  <a:pt x="170" y="140"/>
                  <a:pt x="171" y="140"/>
                </a:cubicBezTo>
                <a:cubicBezTo>
                  <a:pt x="171" y="140"/>
                  <a:pt x="171" y="140"/>
                  <a:pt x="172" y="140"/>
                </a:cubicBezTo>
                <a:cubicBezTo>
                  <a:pt x="173" y="140"/>
                  <a:pt x="176" y="139"/>
                  <a:pt x="178" y="137"/>
                </a:cubicBezTo>
                <a:cubicBezTo>
                  <a:pt x="178" y="136"/>
                  <a:pt x="179" y="136"/>
                  <a:pt x="179" y="135"/>
                </a:cubicBezTo>
                <a:cubicBezTo>
                  <a:pt x="179" y="134"/>
                  <a:pt x="179" y="134"/>
                  <a:pt x="179" y="133"/>
                </a:cubicBezTo>
                <a:cubicBezTo>
                  <a:pt x="179" y="132"/>
                  <a:pt x="178" y="130"/>
                  <a:pt x="178" y="129"/>
                </a:cubicBezTo>
                <a:cubicBezTo>
                  <a:pt x="177" y="129"/>
                  <a:pt x="176" y="128"/>
                  <a:pt x="175" y="128"/>
                </a:cubicBezTo>
                <a:cubicBezTo>
                  <a:pt x="175" y="127"/>
                  <a:pt x="174" y="127"/>
                  <a:pt x="174" y="127"/>
                </a:cubicBezTo>
                <a:cubicBezTo>
                  <a:pt x="174" y="127"/>
                  <a:pt x="173" y="126"/>
                  <a:pt x="173" y="126"/>
                </a:cubicBezTo>
                <a:cubicBezTo>
                  <a:pt x="173" y="126"/>
                  <a:pt x="174" y="126"/>
                  <a:pt x="174" y="126"/>
                </a:cubicBezTo>
                <a:cubicBezTo>
                  <a:pt x="174" y="125"/>
                  <a:pt x="175" y="125"/>
                  <a:pt x="176" y="125"/>
                </a:cubicBezTo>
                <a:cubicBezTo>
                  <a:pt x="177" y="125"/>
                  <a:pt x="177" y="125"/>
                  <a:pt x="178" y="125"/>
                </a:cubicBezTo>
                <a:cubicBezTo>
                  <a:pt x="178" y="125"/>
                  <a:pt x="178" y="125"/>
                  <a:pt x="178" y="125"/>
                </a:cubicBezTo>
                <a:cubicBezTo>
                  <a:pt x="178" y="125"/>
                  <a:pt x="178" y="125"/>
                  <a:pt x="178" y="125"/>
                </a:cubicBezTo>
                <a:cubicBezTo>
                  <a:pt x="178" y="125"/>
                  <a:pt x="178" y="125"/>
                  <a:pt x="178" y="125"/>
                </a:cubicBezTo>
                <a:cubicBezTo>
                  <a:pt x="180" y="126"/>
                  <a:pt x="180" y="126"/>
                  <a:pt x="180" y="126"/>
                </a:cubicBezTo>
                <a:cubicBezTo>
                  <a:pt x="180" y="127"/>
                  <a:pt x="180" y="127"/>
                  <a:pt x="180" y="127"/>
                </a:cubicBezTo>
                <a:cubicBezTo>
                  <a:pt x="181" y="128"/>
                  <a:pt x="182" y="128"/>
                  <a:pt x="183" y="128"/>
                </a:cubicBezTo>
                <a:cubicBezTo>
                  <a:pt x="185" y="128"/>
                  <a:pt x="185" y="126"/>
                  <a:pt x="185" y="125"/>
                </a:cubicBezTo>
                <a:close/>
                <a:moveTo>
                  <a:pt x="446" y="314"/>
                </a:moveTo>
                <a:cubicBezTo>
                  <a:pt x="448" y="312"/>
                  <a:pt x="449" y="309"/>
                  <a:pt x="449" y="306"/>
                </a:cubicBezTo>
                <a:cubicBezTo>
                  <a:pt x="449" y="301"/>
                  <a:pt x="446" y="297"/>
                  <a:pt x="441" y="295"/>
                </a:cubicBezTo>
                <a:cubicBezTo>
                  <a:pt x="435" y="292"/>
                  <a:pt x="435" y="292"/>
                  <a:pt x="435" y="292"/>
                </a:cubicBezTo>
                <a:cubicBezTo>
                  <a:pt x="446" y="279"/>
                  <a:pt x="446" y="279"/>
                  <a:pt x="446" y="279"/>
                </a:cubicBezTo>
                <a:cubicBezTo>
                  <a:pt x="448" y="277"/>
                  <a:pt x="449" y="274"/>
                  <a:pt x="449" y="271"/>
                </a:cubicBezTo>
                <a:cubicBezTo>
                  <a:pt x="449" y="266"/>
                  <a:pt x="446" y="261"/>
                  <a:pt x="441" y="260"/>
                </a:cubicBezTo>
                <a:cubicBezTo>
                  <a:pt x="435" y="256"/>
                  <a:pt x="435" y="256"/>
                  <a:pt x="435" y="256"/>
                </a:cubicBezTo>
                <a:cubicBezTo>
                  <a:pt x="446" y="244"/>
                  <a:pt x="446" y="244"/>
                  <a:pt x="446" y="244"/>
                </a:cubicBezTo>
                <a:cubicBezTo>
                  <a:pt x="448" y="242"/>
                  <a:pt x="449" y="239"/>
                  <a:pt x="449" y="235"/>
                </a:cubicBezTo>
                <a:cubicBezTo>
                  <a:pt x="449" y="231"/>
                  <a:pt x="446" y="226"/>
                  <a:pt x="441" y="225"/>
                </a:cubicBezTo>
                <a:cubicBezTo>
                  <a:pt x="435" y="221"/>
                  <a:pt x="435" y="221"/>
                  <a:pt x="435" y="221"/>
                </a:cubicBezTo>
                <a:cubicBezTo>
                  <a:pt x="446" y="208"/>
                  <a:pt x="446" y="208"/>
                  <a:pt x="446" y="208"/>
                </a:cubicBezTo>
                <a:cubicBezTo>
                  <a:pt x="448" y="206"/>
                  <a:pt x="449" y="203"/>
                  <a:pt x="449" y="200"/>
                </a:cubicBezTo>
                <a:cubicBezTo>
                  <a:pt x="449" y="195"/>
                  <a:pt x="445" y="191"/>
                  <a:pt x="441" y="189"/>
                </a:cubicBezTo>
                <a:cubicBezTo>
                  <a:pt x="340" y="151"/>
                  <a:pt x="340" y="151"/>
                  <a:pt x="340" y="151"/>
                </a:cubicBezTo>
                <a:cubicBezTo>
                  <a:pt x="338" y="150"/>
                  <a:pt x="336" y="150"/>
                  <a:pt x="334" y="150"/>
                </a:cubicBezTo>
                <a:cubicBezTo>
                  <a:pt x="330" y="150"/>
                  <a:pt x="325" y="152"/>
                  <a:pt x="322" y="156"/>
                </a:cubicBezTo>
                <a:cubicBezTo>
                  <a:pt x="290" y="192"/>
                  <a:pt x="290" y="192"/>
                  <a:pt x="290" y="192"/>
                </a:cubicBezTo>
                <a:cubicBezTo>
                  <a:pt x="288" y="195"/>
                  <a:pt x="287" y="197"/>
                  <a:pt x="287" y="201"/>
                </a:cubicBezTo>
                <a:cubicBezTo>
                  <a:pt x="287" y="206"/>
                  <a:pt x="291" y="210"/>
                  <a:pt x="295" y="212"/>
                </a:cubicBezTo>
                <a:cubicBezTo>
                  <a:pt x="303" y="215"/>
                  <a:pt x="303" y="215"/>
                  <a:pt x="303" y="215"/>
                </a:cubicBezTo>
                <a:cubicBezTo>
                  <a:pt x="290" y="227"/>
                  <a:pt x="290" y="227"/>
                  <a:pt x="290" y="227"/>
                </a:cubicBezTo>
                <a:cubicBezTo>
                  <a:pt x="290" y="228"/>
                  <a:pt x="290" y="228"/>
                  <a:pt x="290" y="228"/>
                </a:cubicBezTo>
                <a:cubicBezTo>
                  <a:pt x="288" y="230"/>
                  <a:pt x="287" y="233"/>
                  <a:pt x="287" y="236"/>
                </a:cubicBezTo>
                <a:cubicBezTo>
                  <a:pt x="287" y="241"/>
                  <a:pt x="291" y="246"/>
                  <a:pt x="295" y="247"/>
                </a:cubicBezTo>
                <a:cubicBezTo>
                  <a:pt x="303" y="250"/>
                  <a:pt x="303" y="250"/>
                  <a:pt x="303" y="250"/>
                </a:cubicBezTo>
                <a:cubicBezTo>
                  <a:pt x="290" y="263"/>
                  <a:pt x="290" y="263"/>
                  <a:pt x="290" y="263"/>
                </a:cubicBezTo>
                <a:cubicBezTo>
                  <a:pt x="290" y="263"/>
                  <a:pt x="290" y="263"/>
                  <a:pt x="290" y="263"/>
                </a:cubicBezTo>
                <a:cubicBezTo>
                  <a:pt x="288" y="265"/>
                  <a:pt x="287" y="268"/>
                  <a:pt x="287" y="271"/>
                </a:cubicBezTo>
                <a:cubicBezTo>
                  <a:pt x="287" y="276"/>
                  <a:pt x="291" y="281"/>
                  <a:pt x="295" y="282"/>
                </a:cubicBezTo>
                <a:cubicBezTo>
                  <a:pt x="303" y="285"/>
                  <a:pt x="303" y="285"/>
                  <a:pt x="303" y="285"/>
                </a:cubicBezTo>
                <a:cubicBezTo>
                  <a:pt x="290" y="298"/>
                  <a:pt x="290" y="298"/>
                  <a:pt x="290" y="298"/>
                </a:cubicBezTo>
                <a:cubicBezTo>
                  <a:pt x="290" y="298"/>
                  <a:pt x="290" y="298"/>
                  <a:pt x="290" y="298"/>
                </a:cubicBezTo>
                <a:cubicBezTo>
                  <a:pt x="288" y="300"/>
                  <a:pt x="287" y="303"/>
                  <a:pt x="287" y="306"/>
                </a:cubicBezTo>
                <a:cubicBezTo>
                  <a:pt x="287" y="311"/>
                  <a:pt x="291" y="316"/>
                  <a:pt x="295" y="317"/>
                </a:cubicBezTo>
                <a:cubicBezTo>
                  <a:pt x="396" y="356"/>
                  <a:pt x="396" y="356"/>
                  <a:pt x="396" y="356"/>
                </a:cubicBezTo>
                <a:cubicBezTo>
                  <a:pt x="398" y="356"/>
                  <a:pt x="400" y="357"/>
                  <a:pt x="401" y="357"/>
                </a:cubicBezTo>
                <a:cubicBezTo>
                  <a:pt x="406" y="357"/>
                  <a:pt x="411" y="355"/>
                  <a:pt x="414" y="351"/>
                </a:cubicBezTo>
                <a:lnTo>
                  <a:pt x="446" y="314"/>
                </a:lnTo>
                <a:close/>
                <a:moveTo>
                  <a:pt x="402" y="305"/>
                </a:moveTo>
                <a:cubicBezTo>
                  <a:pt x="306" y="269"/>
                  <a:pt x="306" y="269"/>
                  <a:pt x="306" y="269"/>
                </a:cubicBezTo>
                <a:cubicBezTo>
                  <a:pt x="319" y="256"/>
                  <a:pt x="319" y="256"/>
                  <a:pt x="319" y="256"/>
                </a:cubicBezTo>
                <a:cubicBezTo>
                  <a:pt x="396" y="285"/>
                  <a:pt x="396" y="285"/>
                  <a:pt x="396" y="285"/>
                </a:cubicBezTo>
                <a:cubicBezTo>
                  <a:pt x="398" y="286"/>
                  <a:pt x="400" y="286"/>
                  <a:pt x="401" y="286"/>
                </a:cubicBezTo>
                <a:cubicBezTo>
                  <a:pt x="406" y="286"/>
                  <a:pt x="411" y="284"/>
                  <a:pt x="414" y="280"/>
                </a:cubicBezTo>
                <a:cubicBezTo>
                  <a:pt x="424" y="269"/>
                  <a:pt x="424" y="269"/>
                  <a:pt x="424" y="269"/>
                </a:cubicBezTo>
                <a:cubicBezTo>
                  <a:pt x="430" y="272"/>
                  <a:pt x="430" y="272"/>
                  <a:pt x="430" y="272"/>
                </a:cubicBezTo>
                <a:cubicBezTo>
                  <a:pt x="402" y="305"/>
                  <a:pt x="402" y="305"/>
                  <a:pt x="402" y="305"/>
                </a:cubicBezTo>
                <a:cubicBezTo>
                  <a:pt x="402" y="305"/>
                  <a:pt x="402" y="305"/>
                  <a:pt x="402" y="305"/>
                </a:cubicBezTo>
                <a:cubicBezTo>
                  <a:pt x="402" y="305"/>
                  <a:pt x="402" y="305"/>
                  <a:pt x="402" y="305"/>
                </a:cubicBezTo>
                <a:close/>
                <a:moveTo>
                  <a:pt x="402" y="270"/>
                </a:moveTo>
                <a:cubicBezTo>
                  <a:pt x="402" y="270"/>
                  <a:pt x="402" y="270"/>
                  <a:pt x="402" y="270"/>
                </a:cubicBezTo>
                <a:cubicBezTo>
                  <a:pt x="306" y="234"/>
                  <a:pt x="306" y="234"/>
                  <a:pt x="306" y="234"/>
                </a:cubicBezTo>
                <a:cubicBezTo>
                  <a:pt x="319" y="221"/>
                  <a:pt x="319" y="221"/>
                  <a:pt x="319" y="221"/>
                </a:cubicBezTo>
                <a:cubicBezTo>
                  <a:pt x="396" y="250"/>
                  <a:pt x="396" y="250"/>
                  <a:pt x="396" y="250"/>
                </a:cubicBezTo>
                <a:cubicBezTo>
                  <a:pt x="398" y="251"/>
                  <a:pt x="400" y="251"/>
                  <a:pt x="401" y="251"/>
                </a:cubicBezTo>
                <a:cubicBezTo>
                  <a:pt x="406" y="251"/>
                  <a:pt x="411" y="249"/>
                  <a:pt x="414" y="245"/>
                </a:cubicBezTo>
                <a:cubicBezTo>
                  <a:pt x="408" y="240"/>
                  <a:pt x="408" y="240"/>
                  <a:pt x="408" y="240"/>
                </a:cubicBezTo>
                <a:cubicBezTo>
                  <a:pt x="414" y="245"/>
                  <a:pt x="414" y="245"/>
                  <a:pt x="414" y="245"/>
                </a:cubicBezTo>
                <a:cubicBezTo>
                  <a:pt x="424" y="234"/>
                  <a:pt x="424" y="234"/>
                  <a:pt x="424" y="234"/>
                </a:cubicBezTo>
                <a:cubicBezTo>
                  <a:pt x="430" y="237"/>
                  <a:pt x="430" y="237"/>
                  <a:pt x="430" y="237"/>
                </a:cubicBezTo>
                <a:lnTo>
                  <a:pt x="402" y="270"/>
                </a:lnTo>
                <a:close/>
                <a:moveTo>
                  <a:pt x="334" y="166"/>
                </a:moveTo>
                <a:cubicBezTo>
                  <a:pt x="334" y="166"/>
                  <a:pt x="334" y="166"/>
                  <a:pt x="334" y="166"/>
                </a:cubicBezTo>
                <a:cubicBezTo>
                  <a:pt x="430" y="202"/>
                  <a:pt x="430" y="202"/>
                  <a:pt x="430" y="202"/>
                </a:cubicBezTo>
                <a:cubicBezTo>
                  <a:pt x="402" y="235"/>
                  <a:pt x="402" y="235"/>
                  <a:pt x="402" y="235"/>
                </a:cubicBezTo>
                <a:cubicBezTo>
                  <a:pt x="402" y="235"/>
                  <a:pt x="402" y="235"/>
                  <a:pt x="402" y="235"/>
                </a:cubicBezTo>
                <a:cubicBezTo>
                  <a:pt x="402" y="235"/>
                  <a:pt x="402" y="235"/>
                  <a:pt x="402" y="235"/>
                </a:cubicBezTo>
                <a:cubicBezTo>
                  <a:pt x="306" y="199"/>
                  <a:pt x="306" y="199"/>
                  <a:pt x="306" y="199"/>
                </a:cubicBezTo>
                <a:lnTo>
                  <a:pt x="334" y="166"/>
                </a:lnTo>
                <a:close/>
                <a:moveTo>
                  <a:pt x="402" y="341"/>
                </a:moveTo>
                <a:cubicBezTo>
                  <a:pt x="306" y="305"/>
                  <a:pt x="306" y="305"/>
                  <a:pt x="306" y="305"/>
                </a:cubicBezTo>
                <a:cubicBezTo>
                  <a:pt x="319" y="291"/>
                  <a:pt x="319" y="291"/>
                  <a:pt x="319" y="291"/>
                </a:cubicBezTo>
                <a:cubicBezTo>
                  <a:pt x="396" y="320"/>
                  <a:pt x="396" y="320"/>
                  <a:pt x="396" y="320"/>
                </a:cubicBezTo>
                <a:cubicBezTo>
                  <a:pt x="398" y="321"/>
                  <a:pt x="400" y="321"/>
                  <a:pt x="401" y="321"/>
                </a:cubicBezTo>
                <a:cubicBezTo>
                  <a:pt x="406" y="321"/>
                  <a:pt x="411" y="320"/>
                  <a:pt x="414" y="316"/>
                </a:cubicBezTo>
                <a:cubicBezTo>
                  <a:pt x="424" y="304"/>
                  <a:pt x="424" y="304"/>
                  <a:pt x="424" y="304"/>
                </a:cubicBezTo>
                <a:cubicBezTo>
                  <a:pt x="430" y="307"/>
                  <a:pt x="430" y="307"/>
                  <a:pt x="430" y="307"/>
                </a:cubicBezTo>
                <a:cubicBezTo>
                  <a:pt x="402" y="340"/>
                  <a:pt x="402" y="340"/>
                  <a:pt x="402" y="340"/>
                </a:cubicBezTo>
                <a:cubicBezTo>
                  <a:pt x="402" y="340"/>
                  <a:pt x="402" y="341"/>
                  <a:pt x="402" y="341"/>
                </a:cubicBezTo>
                <a:close/>
                <a:moveTo>
                  <a:pt x="379" y="196"/>
                </a:moveTo>
                <a:cubicBezTo>
                  <a:pt x="379" y="195"/>
                  <a:pt x="379" y="194"/>
                  <a:pt x="377" y="193"/>
                </a:cubicBezTo>
                <a:cubicBezTo>
                  <a:pt x="378" y="192"/>
                  <a:pt x="378" y="191"/>
                  <a:pt x="377" y="190"/>
                </a:cubicBezTo>
                <a:cubicBezTo>
                  <a:pt x="376" y="189"/>
                  <a:pt x="375" y="189"/>
                  <a:pt x="374" y="190"/>
                </a:cubicBezTo>
                <a:cubicBezTo>
                  <a:pt x="373" y="191"/>
                  <a:pt x="373" y="191"/>
                  <a:pt x="373" y="191"/>
                </a:cubicBezTo>
                <a:cubicBezTo>
                  <a:pt x="372" y="191"/>
                  <a:pt x="371" y="191"/>
                  <a:pt x="370" y="191"/>
                </a:cubicBezTo>
                <a:cubicBezTo>
                  <a:pt x="369" y="191"/>
                  <a:pt x="366" y="191"/>
                  <a:pt x="364" y="193"/>
                </a:cubicBezTo>
                <a:cubicBezTo>
                  <a:pt x="363" y="194"/>
                  <a:pt x="363" y="196"/>
                  <a:pt x="363" y="197"/>
                </a:cubicBezTo>
                <a:cubicBezTo>
                  <a:pt x="363" y="199"/>
                  <a:pt x="364" y="200"/>
                  <a:pt x="365" y="201"/>
                </a:cubicBezTo>
                <a:cubicBezTo>
                  <a:pt x="365" y="202"/>
                  <a:pt x="366" y="202"/>
                  <a:pt x="367" y="202"/>
                </a:cubicBezTo>
                <a:cubicBezTo>
                  <a:pt x="367" y="203"/>
                  <a:pt x="368" y="203"/>
                  <a:pt x="368" y="203"/>
                </a:cubicBezTo>
                <a:cubicBezTo>
                  <a:pt x="369" y="204"/>
                  <a:pt x="369" y="204"/>
                  <a:pt x="369" y="204"/>
                </a:cubicBezTo>
                <a:cubicBezTo>
                  <a:pt x="369" y="204"/>
                  <a:pt x="369" y="204"/>
                  <a:pt x="369" y="204"/>
                </a:cubicBezTo>
                <a:cubicBezTo>
                  <a:pt x="369" y="204"/>
                  <a:pt x="369" y="204"/>
                  <a:pt x="369" y="204"/>
                </a:cubicBezTo>
                <a:cubicBezTo>
                  <a:pt x="369" y="204"/>
                  <a:pt x="369" y="204"/>
                  <a:pt x="368" y="204"/>
                </a:cubicBezTo>
                <a:cubicBezTo>
                  <a:pt x="368" y="205"/>
                  <a:pt x="367" y="205"/>
                  <a:pt x="366" y="205"/>
                </a:cubicBezTo>
                <a:cubicBezTo>
                  <a:pt x="365" y="205"/>
                  <a:pt x="364" y="205"/>
                  <a:pt x="364" y="205"/>
                </a:cubicBezTo>
                <a:cubicBezTo>
                  <a:pt x="363" y="205"/>
                  <a:pt x="363" y="205"/>
                  <a:pt x="363" y="205"/>
                </a:cubicBezTo>
                <a:cubicBezTo>
                  <a:pt x="363" y="205"/>
                  <a:pt x="363" y="205"/>
                  <a:pt x="363" y="205"/>
                </a:cubicBezTo>
                <a:cubicBezTo>
                  <a:pt x="363" y="205"/>
                  <a:pt x="363" y="205"/>
                  <a:pt x="363" y="205"/>
                </a:cubicBezTo>
                <a:cubicBezTo>
                  <a:pt x="362" y="205"/>
                  <a:pt x="362" y="204"/>
                  <a:pt x="361" y="203"/>
                </a:cubicBezTo>
                <a:cubicBezTo>
                  <a:pt x="361" y="203"/>
                  <a:pt x="361" y="203"/>
                  <a:pt x="361" y="203"/>
                </a:cubicBezTo>
                <a:cubicBezTo>
                  <a:pt x="361" y="203"/>
                  <a:pt x="361" y="203"/>
                  <a:pt x="361" y="203"/>
                </a:cubicBezTo>
                <a:cubicBezTo>
                  <a:pt x="361" y="203"/>
                  <a:pt x="361" y="203"/>
                  <a:pt x="361" y="203"/>
                </a:cubicBezTo>
                <a:cubicBezTo>
                  <a:pt x="360" y="201"/>
                  <a:pt x="359" y="201"/>
                  <a:pt x="357" y="201"/>
                </a:cubicBezTo>
                <a:cubicBezTo>
                  <a:pt x="356" y="202"/>
                  <a:pt x="356" y="203"/>
                  <a:pt x="356" y="204"/>
                </a:cubicBezTo>
                <a:cubicBezTo>
                  <a:pt x="356" y="204"/>
                  <a:pt x="357" y="206"/>
                  <a:pt x="358" y="208"/>
                </a:cubicBezTo>
                <a:cubicBezTo>
                  <a:pt x="358" y="208"/>
                  <a:pt x="358" y="208"/>
                  <a:pt x="358" y="208"/>
                </a:cubicBezTo>
                <a:cubicBezTo>
                  <a:pt x="357" y="209"/>
                  <a:pt x="358" y="210"/>
                  <a:pt x="359" y="211"/>
                </a:cubicBezTo>
                <a:cubicBezTo>
                  <a:pt x="359" y="212"/>
                  <a:pt x="360" y="212"/>
                  <a:pt x="360" y="212"/>
                </a:cubicBezTo>
                <a:cubicBezTo>
                  <a:pt x="361" y="212"/>
                  <a:pt x="362" y="212"/>
                  <a:pt x="362" y="211"/>
                </a:cubicBezTo>
                <a:cubicBezTo>
                  <a:pt x="363" y="210"/>
                  <a:pt x="363" y="210"/>
                  <a:pt x="363" y="210"/>
                </a:cubicBezTo>
                <a:cubicBezTo>
                  <a:pt x="364" y="210"/>
                  <a:pt x="365" y="210"/>
                  <a:pt x="366" y="210"/>
                </a:cubicBezTo>
                <a:cubicBezTo>
                  <a:pt x="366" y="210"/>
                  <a:pt x="366" y="210"/>
                  <a:pt x="366" y="210"/>
                </a:cubicBezTo>
                <a:cubicBezTo>
                  <a:pt x="368" y="210"/>
                  <a:pt x="370" y="210"/>
                  <a:pt x="372" y="208"/>
                </a:cubicBezTo>
                <a:cubicBezTo>
                  <a:pt x="373" y="207"/>
                  <a:pt x="373" y="206"/>
                  <a:pt x="373" y="205"/>
                </a:cubicBezTo>
                <a:cubicBezTo>
                  <a:pt x="373" y="205"/>
                  <a:pt x="374" y="204"/>
                  <a:pt x="374" y="204"/>
                </a:cubicBezTo>
                <a:cubicBezTo>
                  <a:pt x="374" y="202"/>
                  <a:pt x="373" y="201"/>
                  <a:pt x="372" y="200"/>
                </a:cubicBezTo>
                <a:cubicBezTo>
                  <a:pt x="371" y="199"/>
                  <a:pt x="370" y="199"/>
                  <a:pt x="370" y="198"/>
                </a:cubicBezTo>
                <a:cubicBezTo>
                  <a:pt x="369" y="198"/>
                  <a:pt x="368" y="197"/>
                  <a:pt x="368" y="197"/>
                </a:cubicBezTo>
                <a:cubicBezTo>
                  <a:pt x="368" y="197"/>
                  <a:pt x="368" y="197"/>
                  <a:pt x="368" y="197"/>
                </a:cubicBezTo>
                <a:cubicBezTo>
                  <a:pt x="368" y="197"/>
                  <a:pt x="368" y="197"/>
                  <a:pt x="368" y="196"/>
                </a:cubicBezTo>
                <a:cubicBezTo>
                  <a:pt x="368" y="196"/>
                  <a:pt x="369" y="196"/>
                  <a:pt x="370" y="196"/>
                </a:cubicBezTo>
                <a:cubicBezTo>
                  <a:pt x="371" y="196"/>
                  <a:pt x="372" y="196"/>
                  <a:pt x="372" y="196"/>
                </a:cubicBezTo>
                <a:cubicBezTo>
                  <a:pt x="372" y="196"/>
                  <a:pt x="372" y="196"/>
                  <a:pt x="373" y="196"/>
                </a:cubicBezTo>
                <a:cubicBezTo>
                  <a:pt x="373" y="196"/>
                  <a:pt x="373" y="196"/>
                  <a:pt x="373" y="196"/>
                </a:cubicBezTo>
                <a:cubicBezTo>
                  <a:pt x="373" y="196"/>
                  <a:pt x="373" y="196"/>
                  <a:pt x="373" y="196"/>
                </a:cubicBezTo>
                <a:cubicBezTo>
                  <a:pt x="374" y="196"/>
                  <a:pt x="374" y="197"/>
                  <a:pt x="375" y="197"/>
                </a:cubicBezTo>
                <a:cubicBezTo>
                  <a:pt x="375" y="197"/>
                  <a:pt x="375" y="197"/>
                  <a:pt x="375" y="197"/>
                </a:cubicBezTo>
                <a:cubicBezTo>
                  <a:pt x="375" y="198"/>
                  <a:pt x="376" y="199"/>
                  <a:pt x="378" y="199"/>
                </a:cubicBezTo>
                <a:cubicBezTo>
                  <a:pt x="379" y="198"/>
                  <a:pt x="380" y="197"/>
                  <a:pt x="379" y="196"/>
                </a:cubicBezTo>
                <a:close/>
                <a:moveTo>
                  <a:pt x="386" y="388"/>
                </a:moveTo>
                <a:cubicBezTo>
                  <a:pt x="37" y="388"/>
                  <a:pt x="37" y="388"/>
                  <a:pt x="37" y="388"/>
                </a:cubicBezTo>
                <a:cubicBezTo>
                  <a:pt x="35" y="388"/>
                  <a:pt x="34" y="387"/>
                  <a:pt x="34" y="385"/>
                </a:cubicBezTo>
                <a:cubicBezTo>
                  <a:pt x="34" y="65"/>
                  <a:pt x="34" y="65"/>
                  <a:pt x="34" y="65"/>
                </a:cubicBezTo>
                <a:cubicBezTo>
                  <a:pt x="43" y="65"/>
                  <a:pt x="43" y="65"/>
                  <a:pt x="43" y="65"/>
                </a:cubicBezTo>
                <a:cubicBezTo>
                  <a:pt x="46" y="65"/>
                  <a:pt x="48" y="64"/>
                  <a:pt x="50" y="62"/>
                </a:cubicBezTo>
                <a:cubicBezTo>
                  <a:pt x="51" y="60"/>
                  <a:pt x="52" y="57"/>
                  <a:pt x="51" y="54"/>
                </a:cubicBezTo>
                <a:cubicBezTo>
                  <a:pt x="33" y="5"/>
                  <a:pt x="33" y="5"/>
                  <a:pt x="33" y="5"/>
                </a:cubicBezTo>
                <a:cubicBezTo>
                  <a:pt x="32" y="2"/>
                  <a:pt x="29" y="0"/>
                  <a:pt x="26" y="0"/>
                </a:cubicBezTo>
                <a:cubicBezTo>
                  <a:pt x="22" y="0"/>
                  <a:pt x="19" y="2"/>
                  <a:pt x="18" y="5"/>
                </a:cubicBezTo>
                <a:cubicBezTo>
                  <a:pt x="1" y="55"/>
                  <a:pt x="1" y="55"/>
                  <a:pt x="1" y="55"/>
                </a:cubicBezTo>
                <a:cubicBezTo>
                  <a:pt x="0" y="57"/>
                  <a:pt x="0" y="60"/>
                  <a:pt x="2" y="62"/>
                </a:cubicBezTo>
                <a:cubicBezTo>
                  <a:pt x="3" y="64"/>
                  <a:pt x="6" y="65"/>
                  <a:pt x="8" y="65"/>
                </a:cubicBezTo>
                <a:cubicBezTo>
                  <a:pt x="8" y="65"/>
                  <a:pt x="8" y="65"/>
                  <a:pt x="8" y="65"/>
                </a:cubicBezTo>
                <a:cubicBezTo>
                  <a:pt x="18" y="65"/>
                  <a:pt x="18" y="65"/>
                  <a:pt x="18" y="65"/>
                </a:cubicBezTo>
                <a:cubicBezTo>
                  <a:pt x="18" y="385"/>
                  <a:pt x="18" y="385"/>
                  <a:pt x="18" y="385"/>
                </a:cubicBezTo>
                <a:cubicBezTo>
                  <a:pt x="18" y="396"/>
                  <a:pt x="26" y="404"/>
                  <a:pt x="37" y="404"/>
                </a:cubicBezTo>
                <a:cubicBezTo>
                  <a:pt x="37" y="404"/>
                  <a:pt x="37" y="404"/>
                  <a:pt x="37" y="404"/>
                </a:cubicBezTo>
                <a:cubicBezTo>
                  <a:pt x="386" y="404"/>
                  <a:pt x="386" y="404"/>
                  <a:pt x="386" y="404"/>
                </a:cubicBezTo>
                <a:cubicBezTo>
                  <a:pt x="390" y="404"/>
                  <a:pt x="394" y="401"/>
                  <a:pt x="394" y="396"/>
                </a:cubicBezTo>
                <a:cubicBezTo>
                  <a:pt x="394" y="392"/>
                  <a:pt x="390" y="388"/>
                  <a:pt x="386" y="388"/>
                </a:cubicBezTo>
                <a:close/>
                <a:moveTo>
                  <a:pt x="255" y="130"/>
                </a:moveTo>
                <a:cubicBezTo>
                  <a:pt x="255" y="125"/>
                  <a:pt x="251" y="120"/>
                  <a:pt x="247" y="119"/>
                </a:cubicBezTo>
                <a:cubicBezTo>
                  <a:pt x="145" y="80"/>
                  <a:pt x="145" y="80"/>
                  <a:pt x="145" y="80"/>
                </a:cubicBezTo>
                <a:cubicBezTo>
                  <a:pt x="144" y="80"/>
                  <a:pt x="142" y="79"/>
                  <a:pt x="140" y="79"/>
                </a:cubicBezTo>
                <a:cubicBezTo>
                  <a:pt x="135" y="80"/>
                  <a:pt x="131" y="81"/>
                  <a:pt x="127" y="85"/>
                </a:cubicBezTo>
                <a:cubicBezTo>
                  <a:pt x="96" y="122"/>
                  <a:pt x="96" y="122"/>
                  <a:pt x="96" y="122"/>
                </a:cubicBezTo>
                <a:cubicBezTo>
                  <a:pt x="94" y="124"/>
                  <a:pt x="93" y="127"/>
                  <a:pt x="93" y="130"/>
                </a:cubicBezTo>
                <a:cubicBezTo>
                  <a:pt x="93" y="135"/>
                  <a:pt x="96" y="140"/>
                  <a:pt x="101" y="141"/>
                </a:cubicBezTo>
                <a:cubicBezTo>
                  <a:pt x="108" y="144"/>
                  <a:pt x="108" y="144"/>
                  <a:pt x="108" y="144"/>
                </a:cubicBezTo>
                <a:cubicBezTo>
                  <a:pt x="96" y="157"/>
                  <a:pt x="96" y="157"/>
                  <a:pt x="96" y="157"/>
                </a:cubicBezTo>
                <a:cubicBezTo>
                  <a:pt x="96" y="157"/>
                  <a:pt x="96" y="157"/>
                  <a:pt x="96" y="157"/>
                </a:cubicBezTo>
                <a:cubicBezTo>
                  <a:pt x="94" y="159"/>
                  <a:pt x="93" y="162"/>
                  <a:pt x="93" y="165"/>
                </a:cubicBezTo>
                <a:cubicBezTo>
                  <a:pt x="93" y="170"/>
                  <a:pt x="96" y="175"/>
                  <a:pt x="100" y="176"/>
                </a:cubicBezTo>
                <a:cubicBezTo>
                  <a:pt x="108" y="179"/>
                  <a:pt x="108" y="179"/>
                  <a:pt x="108" y="179"/>
                </a:cubicBezTo>
                <a:cubicBezTo>
                  <a:pt x="96" y="192"/>
                  <a:pt x="96" y="192"/>
                  <a:pt x="96" y="192"/>
                </a:cubicBezTo>
                <a:cubicBezTo>
                  <a:pt x="96" y="192"/>
                  <a:pt x="96" y="192"/>
                  <a:pt x="96" y="192"/>
                </a:cubicBezTo>
                <a:cubicBezTo>
                  <a:pt x="94" y="195"/>
                  <a:pt x="93" y="197"/>
                  <a:pt x="93" y="201"/>
                </a:cubicBezTo>
                <a:cubicBezTo>
                  <a:pt x="93" y="206"/>
                  <a:pt x="96" y="210"/>
                  <a:pt x="100" y="212"/>
                </a:cubicBezTo>
                <a:cubicBezTo>
                  <a:pt x="108" y="215"/>
                  <a:pt x="108" y="215"/>
                  <a:pt x="108" y="215"/>
                </a:cubicBezTo>
                <a:cubicBezTo>
                  <a:pt x="96" y="227"/>
                  <a:pt x="96" y="227"/>
                  <a:pt x="96" y="227"/>
                </a:cubicBezTo>
                <a:cubicBezTo>
                  <a:pt x="96" y="228"/>
                  <a:pt x="96" y="228"/>
                  <a:pt x="96" y="228"/>
                </a:cubicBezTo>
                <a:cubicBezTo>
                  <a:pt x="94" y="230"/>
                  <a:pt x="93" y="233"/>
                  <a:pt x="93" y="236"/>
                </a:cubicBezTo>
                <a:cubicBezTo>
                  <a:pt x="93" y="241"/>
                  <a:pt x="96" y="246"/>
                  <a:pt x="100" y="247"/>
                </a:cubicBezTo>
                <a:cubicBezTo>
                  <a:pt x="108" y="250"/>
                  <a:pt x="108" y="250"/>
                  <a:pt x="108" y="250"/>
                </a:cubicBezTo>
                <a:cubicBezTo>
                  <a:pt x="96" y="263"/>
                  <a:pt x="96" y="263"/>
                  <a:pt x="96" y="263"/>
                </a:cubicBezTo>
                <a:cubicBezTo>
                  <a:pt x="96" y="263"/>
                  <a:pt x="96" y="263"/>
                  <a:pt x="96" y="263"/>
                </a:cubicBezTo>
                <a:cubicBezTo>
                  <a:pt x="94" y="265"/>
                  <a:pt x="93" y="268"/>
                  <a:pt x="93" y="271"/>
                </a:cubicBezTo>
                <a:cubicBezTo>
                  <a:pt x="93" y="276"/>
                  <a:pt x="96" y="281"/>
                  <a:pt x="100" y="282"/>
                </a:cubicBezTo>
                <a:cubicBezTo>
                  <a:pt x="108" y="285"/>
                  <a:pt x="108" y="285"/>
                  <a:pt x="108" y="285"/>
                </a:cubicBezTo>
                <a:cubicBezTo>
                  <a:pt x="96" y="298"/>
                  <a:pt x="96" y="298"/>
                  <a:pt x="96" y="298"/>
                </a:cubicBezTo>
                <a:cubicBezTo>
                  <a:pt x="96" y="298"/>
                  <a:pt x="96" y="298"/>
                  <a:pt x="96" y="298"/>
                </a:cubicBezTo>
                <a:cubicBezTo>
                  <a:pt x="94" y="300"/>
                  <a:pt x="93" y="303"/>
                  <a:pt x="93" y="306"/>
                </a:cubicBezTo>
                <a:cubicBezTo>
                  <a:pt x="93" y="311"/>
                  <a:pt x="96" y="316"/>
                  <a:pt x="100" y="317"/>
                </a:cubicBezTo>
                <a:cubicBezTo>
                  <a:pt x="202" y="356"/>
                  <a:pt x="202" y="356"/>
                  <a:pt x="202" y="356"/>
                </a:cubicBezTo>
                <a:cubicBezTo>
                  <a:pt x="204" y="356"/>
                  <a:pt x="205" y="357"/>
                  <a:pt x="207" y="357"/>
                </a:cubicBezTo>
                <a:cubicBezTo>
                  <a:pt x="212" y="357"/>
                  <a:pt x="216" y="355"/>
                  <a:pt x="220" y="351"/>
                </a:cubicBezTo>
                <a:cubicBezTo>
                  <a:pt x="252" y="314"/>
                  <a:pt x="252" y="314"/>
                  <a:pt x="252" y="314"/>
                </a:cubicBezTo>
                <a:cubicBezTo>
                  <a:pt x="253" y="312"/>
                  <a:pt x="255" y="309"/>
                  <a:pt x="255" y="306"/>
                </a:cubicBezTo>
                <a:cubicBezTo>
                  <a:pt x="255" y="301"/>
                  <a:pt x="251" y="297"/>
                  <a:pt x="247" y="295"/>
                </a:cubicBezTo>
                <a:cubicBezTo>
                  <a:pt x="241" y="292"/>
                  <a:pt x="241" y="292"/>
                  <a:pt x="241" y="292"/>
                </a:cubicBezTo>
                <a:cubicBezTo>
                  <a:pt x="252" y="279"/>
                  <a:pt x="252" y="279"/>
                  <a:pt x="252" y="279"/>
                </a:cubicBezTo>
                <a:cubicBezTo>
                  <a:pt x="253" y="277"/>
                  <a:pt x="255" y="274"/>
                  <a:pt x="255" y="271"/>
                </a:cubicBezTo>
                <a:cubicBezTo>
                  <a:pt x="255" y="266"/>
                  <a:pt x="251" y="261"/>
                  <a:pt x="247" y="260"/>
                </a:cubicBezTo>
                <a:cubicBezTo>
                  <a:pt x="241" y="256"/>
                  <a:pt x="241" y="256"/>
                  <a:pt x="241" y="256"/>
                </a:cubicBezTo>
                <a:cubicBezTo>
                  <a:pt x="252" y="244"/>
                  <a:pt x="252" y="244"/>
                  <a:pt x="252" y="244"/>
                </a:cubicBezTo>
                <a:cubicBezTo>
                  <a:pt x="253" y="242"/>
                  <a:pt x="255" y="239"/>
                  <a:pt x="255" y="235"/>
                </a:cubicBezTo>
                <a:cubicBezTo>
                  <a:pt x="255" y="231"/>
                  <a:pt x="251" y="226"/>
                  <a:pt x="247" y="225"/>
                </a:cubicBezTo>
                <a:cubicBezTo>
                  <a:pt x="241" y="221"/>
                  <a:pt x="241" y="221"/>
                  <a:pt x="241" y="221"/>
                </a:cubicBezTo>
                <a:cubicBezTo>
                  <a:pt x="252" y="208"/>
                  <a:pt x="252" y="208"/>
                  <a:pt x="252" y="208"/>
                </a:cubicBezTo>
                <a:cubicBezTo>
                  <a:pt x="253" y="206"/>
                  <a:pt x="255" y="203"/>
                  <a:pt x="255" y="200"/>
                </a:cubicBezTo>
                <a:cubicBezTo>
                  <a:pt x="255" y="195"/>
                  <a:pt x="251" y="191"/>
                  <a:pt x="247" y="189"/>
                </a:cubicBezTo>
                <a:cubicBezTo>
                  <a:pt x="241" y="186"/>
                  <a:pt x="241" y="186"/>
                  <a:pt x="241" y="186"/>
                </a:cubicBezTo>
                <a:cubicBezTo>
                  <a:pt x="252" y="173"/>
                  <a:pt x="252" y="173"/>
                  <a:pt x="252" y="173"/>
                </a:cubicBezTo>
                <a:cubicBezTo>
                  <a:pt x="253" y="171"/>
                  <a:pt x="255" y="168"/>
                  <a:pt x="255" y="165"/>
                </a:cubicBezTo>
                <a:cubicBezTo>
                  <a:pt x="255" y="160"/>
                  <a:pt x="251" y="156"/>
                  <a:pt x="247" y="154"/>
                </a:cubicBezTo>
                <a:cubicBezTo>
                  <a:pt x="241" y="151"/>
                  <a:pt x="241" y="151"/>
                  <a:pt x="241" y="151"/>
                </a:cubicBezTo>
                <a:cubicBezTo>
                  <a:pt x="252" y="138"/>
                  <a:pt x="252" y="138"/>
                  <a:pt x="252" y="138"/>
                </a:cubicBezTo>
                <a:cubicBezTo>
                  <a:pt x="253" y="136"/>
                  <a:pt x="255" y="133"/>
                  <a:pt x="255" y="130"/>
                </a:cubicBezTo>
                <a:close/>
                <a:moveTo>
                  <a:pt x="139" y="96"/>
                </a:moveTo>
                <a:cubicBezTo>
                  <a:pt x="140" y="96"/>
                  <a:pt x="140" y="96"/>
                  <a:pt x="140" y="95"/>
                </a:cubicBezTo>
                <a:cubicBezTo>
                  <a:pt x="236" y="132"/>
                  <a:pt x="236" y="132"/>
                  <a:pt x="236" y="132"/>
                </a:cubicBezTo>
                <a:cubicBezTo>
                  <a:pt x="208" y="164"/>
                  <a:pt x="208" y="164"/>
                  <a:pt x="208" y="164"/>
                </a:cubicBezTo>
                <a:cubicBezTo>
                  <a:pt x="208" y="164"/>
                  <a:pt x="207" y="164"/>
                  <a:pt x="207" y="164"/>
                </a:cubicBezTo>
                <a:cubicBezTo>
                  <a:pt x="112" y="128"/>
                  <a:pt x="112" y="128"/>
                  <a:pt x="112" y="128"/>
                </a:cubicBezTo>
                <a:lnTo>
                  <a:pt x="139" y="96"/>
                </a:lnTo>
                <a:close/>
                <a:moveTo>
                  <a:pt x="207" y="235"/>
                </a:moveTo>
                <a:cubicBezTo>
                  <a:pt x="112" y="199"/>
                  <a:pt x="112" y="199"/>
                  <a:pt x="112" y="199"/>
                </a:cubicBezTo>
                <a:cubicBezTo>
                  <a:pt x="125" y="186"/>
                  <a:pt x="125" y="186"/>
                  <a:pt x="125" y="186"/>
                </a:cubicBezTo>
                <a:cubicBezTo>
                  <a:pt x="202" y="215"/>
                  <a:pt x="202" y="215"/>
                  <a:pt x="202" y="215"/>
                </a:cubicBezTo>
                <a:cubicBezTo>
                  <a:pt x="204" y="215"/>
                  <a:pt x="205" y="216"/>
                  <a:pt x="207" y="216"/>
                </a:cubicBezTo>
                <a:cubicBezTo>
                  <a:pt x="212" y="216"/>
                  <a:pt x="216" y="214"/>
                  <a:pt x="220" y="210"/>
                </a:cubicBezTo>
                <a:cubicBezTo>
                  <a:pt x="230" y="198"/>
                  <a:pt x="230" y="198"/>
                  <a:pt x="230" y="198"/>
                </a:cubicBezTo>
                <a:cubicBezTo>
                  <a:pt x="236" y="202"/>
                  <a:pt x="236" y="202"/>
                  <a:pt x="236" y="202"/>
                </a:cubicBezTo>
                <a:cubicBezTo>
                  <a:pt x="208" y="235"/>
                  <a:pt x="208" y="235"/>
                  <a:pt x="208" y="235"/>
                </a:cubicBezTo>
                <a:cubicBezTo>
                  <a:pt x="208" y="235"/>
                  <a:pt x="208" y="235"/>
                  <a:pt x="208" y="235"/>
                </a:cubicBezTo>
                <a:cubicBezTo>
                  <a:pt x="208" y="235"/>
                  <a:pt x="208" y="235"/>
                  <a:pt x="208" y="235"/>
                </a:cubicBezTo>
                <a:cubicBezTo>
                  <a:pt x="208" y="235"/>
                  <a:pt x="207" y="235"/>
                  <a:pt x="207" y="235"/>
                </a:cubicBezTo>
                <a:close/>
                <a:moveTo>
                  <a:pt x="208" y="340"/>
                </a:moveTo>
                <a:cubicBezTo>
                  <a:pt x="208" y="340"/>
                  <a:pt x="208" y="340"/>
                  <a:pt x="208" y="340"/>
                </a:cubicBezTo>
                <a:cubicBezTo>
                  <a:pt x="208" y="340"/>
                  <a:pt x="207" y="341"/>
                  <a:pt x="207" y="341"/>
                </a:cubicBezTo>
                <a:cubicBezTo>
                  <a:pt x="112" y="305"/>
                  <a:pt x="112" y="305"/>
                  <a:pt x="112" y="305"/>
                </a:cubicBezTo>
                <a:cubicBezTo>
                  <a:pt x="125" y="291"/>
                  <a:pt x="125" y="291"/>
                  <a:pt x="125" y="291"/>
                </a:cubicBezTo>
                <a:cubicBezTo>
                  <a:pt x="202" y="320"/>
                  <a:pt x="202" y="320"/>
                  <a:pt x="202" y="320"/>
                </a:cubicBezTo>
                <a:cubicBezTo>
                  <a:pt x="204" y="321"/>
                  <a:pt x="205" y="321"/>
                  <a:pt x="207" y="321"/>
                </a:cubicBezTo>
                <a:cubicBezTo>
                  <a:pt x="212" y="321"/>
                  <a:pt x="216" y="320"/>
                  <a:pt x="220" y="316"/>
                </a:cubicBezTo>
                <a:cubicBezTo>
                  <a:pt x="230" y="304"/>
                  <a:pt x="230" y="304"/>
                  <a:pt x="230" y="304"/>
                </a:cubicBezTo>
                <a:cubicBezTo>
                  <a:pt x="236" y="307"/>
                  <a:pt x="236" y="307"/>
                  <a:pt x="236" y="307"/>
                </a:cubicBezTo>
                <a:lnTo>
                  <a:pt x="208" y="340"/>
                </a:lnTo>
                <a:close/>
                <a:moveTo>
                  <a:pt x="208" y="305"/>
                </a:moveTo>
                <a:cubicBezTo>
                  <a:pt x="208" y="305"/>
                  <a:pt x="208" y="305"/>
                  <a:pt x="208" y="305"/>
                </a:cubicBezTo>
                <a:cubicBezTo>
                  <a:pt x="208" y="305"/>
                  <a:pt x="207" y="305"/>
                  <a:pt x="207" y="305"/>
                </a:cubicBezTo>
                <a:cubicBezTo>
                  <a:pt x="112" y="269"/>
                  <a:pt x="112" y="269"/>
                  <a:pt x="112" y="269"/>
                </a:cubicBezTo>
                <a:cubicBezTo>
                  <a:pt x="125" y="256"/>
                  <a:pt x="125" y="256"/>
                  <a:pt x="125" y="256"/>
                </a:cubicBezTo>
                <a:cubicBezTo>
                  <a:pt x="202" y="285"/>
                  <a:pt x="202" y="285"/>
                  <a:pt x="202" y="285"/>
                </a:cubicBezTo>
                <a:cubicBezTo>
                  <a:pt x="204" y="286"/>
                  <a:pt x="205" y="286"/>
                  <a:pt x="207" y="286"/>
                </a:cubicBezTo>
                <a:cubicBezTo>
                  <a:pt x="212" y="286"/>
                  <a:pt x="216" y="284"/>
                  <a:pt x="220" y="280"/>
                </a:cubicBezTo>
                <a:cubicBezTo>
                  <a:pt x="230" y="269"/>
                  <a:pt x="230" y="269"/>
                  <a:pt x="230" y="269"/>
                </a:cubicBezTo>
                <a:cubicBezTo>
                  <a:pt x="236" y="272"/>
                  <a:pt x="236" y="272"/>
                  <a:pt x="236" y="272"/>
                </a:cubicBezTo>
                <a:lnTo>
                  <a:pt x="208" y="305"/>
                </a:lnTo>
                <a:close/>
                <a:moveTo>
                  <a:pt x="208" y="270"/>
                </a:moveTo>
                <a:cubicBezTo>
                  <a:pt x="208" y="270"/>
                  <a:pt x="208" y="270"/>
                  <a:pt x="208" y="270"/>
                </a:cubicBezTo>
                <a:cubicBezTo>
                  <a:pt x="208" y="270"/>
                  <a:pt x="208" y="270"/>
                  <a:pt x="208" y="270"/>
                </a:cubicBezTo>
                <a:cubicBezTo>
                  <a:pt x="208" y="270"/>
                  <a:pt x="207" y="270"/>
                  <a:pt x="207" y="270"/>
                </a:cubicBezTo>
                <a:cubicBezTo>
                  <a:pt x="112" y="234"/>
                  <a:pt x="112" y="234"/>
                  <a:pt x="112" y="234"/>
                </a:cubicBezTo>
                <a:cubicBezTo>
                  <a:pt x="125" y="221"/>
                  <a:pt x="125" y="221"/>
                  <a:pt x="125" y="221"/>
                </a:cubicBezTo>
                <a:cubicBezTo>
                  <a:pt x="202" y="250"/>
                  <a:pt x="202" y="250"/>
                  <a:pt x="202" y="250"/>
                </a:cubicBezTo>
                <a:cubicBezTo>
                  <a:pt x="204" y="251"/>
                  <a:pt x="205" y="251"/>
                  <a:pt x="207" y="251"/>
                </a:cubicBezTo>
                <a:cubicBezTo>
                  <a:pt x="212" y="251"/>
                  <a:pt x="216" y="249"/>
                  <a:pt x="220" y="245"/>
                </a:cubicBezTo>
                <a:cubicBezTo>
                  <a:pt x="230" y="234"/>
                  <a:pt x="230" y="234"/>
                  <a:pt x="230" y="234"/>
                </a:cubicBezTo>
                <a:cubicBezTo>
                  <a:pt x="236" y="237"/>
                  <a:pt x="236" y="237"/>
                  <a:pt x="236" y="237"/>
                </a:cubicBezTo>
                <a:lnTo>
                  <a:pt x="208" y="270"/>
                </a:lnTo>
                <a:close/>
                <a:moveTo>
                  <a:pt x="208" y="199"/>
                </a:moveTo>
                <a:cubicBezTo>
                  <a:pt x="208" y="199"/>
                  <a:pt x="208" y="199"/>
                  <a:pt x="208" y="199"/>
                </a:cubicBezTo>
                <a:cubicBezTo>
                  <a:pt x="208" y="199"/>
                  <a:pt x="208" y="199"/>
                  <a:pt x="208" y="199"/>
                </a:cubicBezTo>
                <a:cubicBezTo>
                  <a:pt x="208" y="199"/>
                  <a:pt x="207" y="200"/>
                  <a:pt x="207" y="200"/>
                </a:cubicBezTo>
                <a:cubicBezTo>
                  <a:pt x="112" y="164"/>
                  <a:pt x="112" y="164"/>
                  <a:pt x="112" y="164"/>
                </a:cubicBezTo>
                <a:cubicBezTo>
                  <a:pt x="125" y="150"/>
                  <a:pt x="125" y="150"/>
                  <a:pt x="125" y="150"/>
                </a:cubicBezTo>
                <a:cubicBezTo>
                  <a:pt x="202" y="179"/>
                  <a:pt x="202" y="179"/>
                  <a:pt x="202" y="179"/>
                </a:cubicBezTo>
                <a:cubicBezTo>
                  <a:pt x="204" y="180"/>
                  <a:pt x="205" y="180"/>
                  <a:pt x="207" y="180"/>
                </a:cubicBezTo>
                <a:cubicBezTo>
                  <a:pt x="212" y="180"/>
                  <a:pt x="216" y="179"/>
                  <a:pt x="220" y="175"/>
                </a:cubicBezTo>
                <a:cubicBezTo>
                  <a:pt x="230" y="163"/>
                  <a:pt x="230" y="163"/>
                  <a:pt x="230" y="163"/>
                </a:cubicBezTo>
                <a:cubicBezTo>
                  <a:pt x="236" y="166"/>
                  <a:pt x="236" y="166"/>
                  <a:pt x="236" y="166"/>
                </a:cubicBezTo>
                <a:lnTo>
                  <a:pt x="208" y="199"/>
                </a:lnTo>
                <a:close/>
              </a:path>
            </a:pathLst>
          </a:custGeom>
          <a:solidFill>
            <a:schemeClr val="bg2">
              <a:lumMod val="75000"/>
            </a:schemeClr>
          </a:solidFill>
          <a:ln>
            <a:noFill/>
          </a:ln>
        </p:spPr>
        <p:txBody>
          <a:bodyPr/>
          <a:lstStyle/>
          <a:p>
            <a:endParaRPr lang="sv-SE" dirty="0"/>
          </a:p>
        </p:txBody>
      </p:sp>
    </p:spTree>
    <p:extLst>
      <p:ext uri="{BB962C8B-B14F-4D97-AF65-F5344CB8AC3E}">
        <p14:creationId xmlns:p14="http://schemas.microsoft.com/office/powerpoint/2010/main" val="340987658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Rectangle 86"/>
          <p:cNvSpPr/>
          <p:nvPr/>
        </p:nvSpPr>
        <p:spPr bwMode="auto">
          <a:xfrm>
            <a:off x="0" y="0"/>
            <a:ext cx="12192000" cy="6858000"/>
          </a:xfrm>
          <a:prstGeom prst="rect">
            <a:avLst/>
          </a:prstGeom>
          <a:solidFill>
            <a:srgbClr val="00285F"/>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CA" sz="2000" b="0" i="0" u="none" strike="noStrike" cap="none" normalizeH="0" baseline="0" dirty="0">
              <a:ln>
                <a:noFill/>
              </a:ln>
              <a:solidFill>
                <a:srgbClr val="FFFFFF"/>
              </a:solidFill>
              <a:effectLst/>
              <a:latin typeface="Arial" charset="0"/>
            </a:endParaRPr>
          </a:p>
        </p:txBody>
      </p:sp>
      <p:pic>
        <p:nvPicPr>
          <p:cNvPr id="3" name="Picture 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7734" y="3922964"/>
            <a:ext cx="1073120" cy="1777733"/>
          </a:xfrm>
          <a:prstGeom prst="rect">
            <a:avLst/>
          </a:prstGeom>
          <a:solidFill>
            <a:srgbClr val="FFFFFF">
              <a:shade val="85000"/>
            </a:srgbClr>
          </a:solidFill>
          <a:ln w="190500" cap="rnd">
            <a:solidFill>
              <a:srgbClr val="FFFFFF"/>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a:extLst/>
        </p:spPr>
      </p:pic>
      <p:sp>
        <p:nvSpPr>
          <p:cNvPr id="4" name="TextBox 3"/>
          <p:cNvSpPr txBox="1"/>
          <p:nvPr/>
        </p:nvSpPr>
        <p:spPr>
          <a:xfrm>
            <a:off x="343532" y="3172459"/>
            <a:ext cx="1684633" cy="584775"/>
          </a:xfrm>
          <a:prstGeom prst="rect">
            <a:avLst/>
          </a:prstGeom>
          <a:noFill/>
        </p:spPr>
        <p:txBody>
          <a:bodyPr wrap="square" rtlCol="0">
            <a:spAutoFit/>
          </a:bodyPr>
          <a:lstStyle/>
          <a:p>
            <a:r>
              <a:rPr lang="en-US" sz="1600" dirty="0">
                <a:solidFill>
                  <a:schemeClr val="bg1"/>
                </a:solidFill>
              </a:rPr>
              <a:t>Ericsson Core Network </a:t>
            </a:r>
            <a:endParaRPr lang="en-CA" sz="1600" dirty="0">
              <a:solidFill>
                <a:schemeClr val="bg1"/>
              </a:solidFill>
            </a:endParaRPr>
          </a:p>
        </p:txBody>
      </p:sp>
      <p:sp>
        <p:nvSpPr>
          <p:cNvPr id="8" name="Freeform 29"/>
          <p:cNvSpPr>
            <a:spLocks noChangeAspect="1"/>
          </p:cNvSpPr>
          <p:nvPr/>
        </p:nvSpPr>
        <p:spPr bwMode="auto">
          <a:xfrm>
            <a:off x="1668964" y="1638142"/>
            <a:ext cx="2125680" cy="1332022"/>
          </a:xfrm>
          <a:custGeom>
            <a:avLst/>
            <a:gdLst>
              <a:gd name="T0" fmla="*/ 2147483647 w 462"/>
              <a:gd name="T1" fmla="*/ 2147483647 h 293"/>
              <a:gd name="T2" fmla="*/ 2147483647 w 462"/>
              <a:gd name="T3" fmla="*/ 2147483647 h 293"/>
              <a:gd name="T4" fmla="*/ 2147483647 w 462"/>
              <a:gd name="T5" fmla="*/ 2147483647 h 293"/>
              <a:gd name="T6" fmla="*/ 2147483647 w 462"/>
              <a:gd name="T7" fmla="*/ 2147483647 h 293"/>
              <a:gd name="T8" fmla="*/ 2147483647 w 462"/>
              <a:gd name="T9" fmla="*/ 2147483647 h 293"/>
              <a:gd name="T10" fmla="*/ 2147483647 w 462"/>
              <a:gd name="T11" fmla="*/ 2147483647 h 293"/>
              <a:gd name="T12" fmla="*/ 2147483647 w 462"/>
              <a:gd name="T13" fmla="*/ 2147483647 h 293"/>
              <a:gd name="T14" fmla="*/ 2147483647 w 462"/>
              <a:gd name="T15" fmla="*/ 2147483647 h 293"/>
              <a:gd name="T16" fmla="*/ 2147483647 w 462"/>
              <a:gd name="T17" fmla="*/ 2147483647 h 293"/>
              <a:gd name="T18" fmla="*/ 2147483647 w 462"/>
              <a:gd name="T19" fmla="*/ 2147483647 h 293"/>
              <a:gd name="T20" fmla="*/ 2147483647 w 462"/>
              <a:gd name="T21" fmla="*/ 2147483647 h 293"/>
              <a:gd name="T22" fmla="*/ 2147483647 w 462"/>
              <a:gd name="T23" fmla="*/ 2147483647 h 293"/>
              <a:gd name="T24" fmla="*/ 2147483647 w 462"/>
              <a:gd name="T25" fmla="*/ 2147483647 h 293"/>
              <a:gd name="T26" fmla="*/ 2147483647 w 462"/>
              <a:gd name="T27" fmla="*/ 2147483647 h 293"/>
              <a:gd name="T28" fmla="*/ 2147483647 w 462"/>
              <a:gd name="T29" fmla="*/ 2147483647 h 293"/>
              <a:gd name="T30" fmla="*/ 2147483647 w 462"/>
              <a:gd name="T31" fmla="*/ 2147483647 h 293"/>
              <a:gd name="T32" fmla="*/ 2147483647 w 462"/>
              <a:gd name="T33" fmla="*/ 2147483647 h 293"/>
              <a:gd name="T34" fmla="*/ 2147483647 w 462"/>
              <a:gd name="T35" fmla="*/ 2147483647 h 293"/>
              <a:gd name="T36" fmla="*/ 2147483647 w 462"/>
              <a:gd name="T37" fmla="*/ 2147483647 h 293"/>
              <a:gd name="T38" fmla="*/ 2147483647 w 462"/>
              <a:gd name="T39" fmla="*/ 2147483647 h 293"/>
              <a:gd name="T40" fmla="*/ 2147483647 w 462"/>
              <a:gd name="T41" fmla="*/ 2147483647 h 293"/>
              <a:gd name="T42" fmla="*/ 2147483647 w 462"/>
              <a:gd name="T43" fmla="*/ 2147483647 h 293"/>
              <a:gd name="T44" fmla="*/ 2147483647 w 462"/>
              <a:gd name="T45" fmla="*/ 2147483647 h 293"/>
              <a:gd name="T46" fmla="*/ 2147483647 w 462"/>
              <a:gd name="T47" fmla="*/ 2147483647 h 293"/>
              <a:gd name="T48" fmla="*/ 2147483647 w 462"/>
              <a:gd name="T49" fmla="*/ 2147483647 h 293"/>
              <a:gd name="T50" fmla="*/ 2147483647 w 462"/>
              <a:gd name="T51" fmla="*/ 2147483647 h 293"/>
              <a:gd name="T52" fmla="*/ 2147483647 w 462"/>
              <a:gd name="T53" fmla="*/ 0 h 293"/>
              <a:gd name="T54" fmla="*/ 2147483647 w 462"/>
              <a:gd name="T55" fmla="*/ 2147483647 h 293"/>
              <a:gd name="T56" fmla="*/ 0 w 462"/>
              <a:gd name="T57" fmla="*/ 2147483647 h 293"/>
              <a:gd name="T58" fmla="*/ 2147483647 w 462"/>
              <a:gd name="T59" fmla="*/ 2147483647 h 293"/>
              <a:gd name="T60" fmla="*/ 2147483647 w 462"/>
              <a:gd name="T61" fmla="*/ 2147483647 h 293"/>
              <a:gd name="T62" fmla="*/ 2147483647 w 462"/>
              <a:gd name="T63" fmla="*/ 2147483647 h 293"/>
              <a:gd name="T64" fmla="*/ 2147483647 w 462"/>
              <a:gd name="T65" fmla="*/ 2147483647 h 29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462" h="293">
                <a:moveTo>
                  <a:pt x="435" y="148"/>
                </a:moveTo>
                <a:cubicBezTo>
                  <a:pt x="437" y="140"/>
                  <a:pt x="439" y="132"/>
                  <a:pt x="439" y="123"/>
                </a:cubicBezTo>
                <a:cubicBezTo>
                  <a:pt x="439" y="104"/>
                  <a:pt x="433" y="86"/>
                  <a:pt x="422" y="70"/>
                </a:cubicBezTo>
                <a:cubicBezTo>
                  <a:pt x="420" y="67"/>
                  <a:pt x="415" y="66"/>
                  <a:pt x="411" y="68"/>
                </a:cubicBezTo>
                <a:cubicBezTo>
                  <a:pt x="407" y="71"/>
                  <a:pt x="406" y="76"/>
                  <a:pt x="409" y="79"/>
                </a:cubicBezTo>
                <a:cubicBezTo>
                  <a:pt x="418" y="92"/>
                  <a:pt x="423" y="108"/>
                  <a:pt x="423" y="123"/>
                </a:cubicBezTo>
                <a:cubicBezTo>
                  <a:pt x="423" y="132"/>
                  <a:pt x="421" y="140"/>
                  <a:pt x="419" y="148"/>
                </a:cubicBezTo>
                <a:cubicBezTo>
                  <a:pt x="418" y="151"/>
                  <a:pt x="419" y="154"/>
                  <a:pt x="421" y="156"/>
                </a:cubicBezTo>
                <a:cubicBezTo>
                  <a:pt x="437" y="170"/>
                  <a:pt x="446" y="189"/>
                  <a:pt x="446" y="209"/>
                </a:cubicBezTo>
                <a:cubicBezTo>
                  <a:pt x="446" y="247"/>
                  <a:pt x="415" y="277"/>
                  <a:pt x="378" y="277"/>
                </a:cubicBezTo>
                <a:cubicBezTo>
                  <a:pt x="88" y="277"/>
                  <a:pt x="88" y="277"/>
                  <a:pt x="88" y="277"/>
                </a:cubicBezTo>
                <a:cubicBezTo>
                  <a:pt x="48" y="277"/>
                  <a:pt x="16" y="245"/>
                  <a:pt x="16" y="206"/>
                </a:cubicBezTo>
                <a:cubicBezTo>
                  <a:pt x="16" y="178"/>
                  <a:pt x="31" y="154"/>
                  <a:pt x="56" y="141"/>
                </a:cubicBezTo>
                <a:cubicBezTo>
                  <a:pt x="59" y="140"/>
                  <a:pt x="60" y="137"/>
                  <a:pt x="60" y="134"/>
                </a:cubicBezTo>
                <a:cubicBezTo>
                  <a:pt x="60" y="134"/>
                  <a:pt x="60" y="133"/>
                  <a:pt x="60" y="133"/>
                </a:cubicBezTo>
                <a:cubicBezTo>
                  <a:pt x="60" y="69"/>
                  <a:pt x="113" y="16"/>
                  <a:pt x="178" y="16"/>
                </a:cubicBezTo>
                <a:cubicBezTo>
                  <a:pt x="217" y="16"/>
                  <a:pt x="254" y="36"/>
                  <a:pt x="276" y="68"/>
                </a:cubicBezTo>
                <a:cubicBezTo>
                  <a:pt x="277" y="70"/>
                  <a:pt x="279" y="72"/>
                  <a:pt x="282" y="72"/>
                </a:cubicBezTo>
                <a:cubicBezTo>
                  <a:pt x="284" y="72"/>
                  <a:pt x="287" y="71"/>
                  <a:pt x="288" y="70"/>
                </a:cubicBezTo>
                <a:cubicBezTo>
                  <a:pt x="288" y="70"/>
                  <a:pt x="289" y="69"/>
                  <a:pt x="289" y="69"/>
                </a:cubicBezTo>
                <a:cubicBezTo>
                  <a:pt x="290" y="68"/>
                  <a:pt x="309" y="45"/>
                  <a:pt x="344" y="45"/>
                </a:cubicBezTo>
                <a:cubicBezTo>
                  <a:pt x="360" y="45"/>
                  <a:pt x="375" y="50"/>
                  <a:pt x="388" y="59"/>
                </a:cubicBezTo>
                <a:cubicBezTo>
                  <a:pt x="392" y="61"/>
                  <a:pt x="397" y="60"/>
                  <a:pt x="399" y="56"/>
                </a:cubicBezTo>
                <a:cubicBezTo>
                  <a:pt x="402" y="53"/>
                  <a:pt x="401" y="48"/>
                  <a:pt x="397" y="45"/>
                </a:cubicBezTo>
                <a:cubicBezTo>
                  <a:pt x="381" y="35"/>
                  <a:pt x="363" y="29"/>
                  <a:pt x="344" y="29"/>
                </a:cubicBezTo>
                <a:cubicBezTo>
                  <a:pt x="314" y="29"/>
                  <a:pt x="294" y="43"/>
                  <a:pt x="284" y="52"/>
                </a:cubicBezTo>
                <a:cubicBezTo>
                  <a:pt x="258" y="19"/>
                  <a:pt x="220" y="0"/>
                  <a:pt x="178" y="0"/>
                </a:cubicBezTo>
                <a:cubicBezTo>
                  <a:pt x="106" y="0"/>
                  <a:pt x="47" y="58"/>
                  <a:pt x="44" y="129"/>
                </a:cubicBezTo>
                <a:cubicBezTo>
                  <a:pt x="17" y="145"/>
                  <a:pt x="0" y="174"/>
                  <a:pt x="0" y="206"/>
                </a:cubicBezTo>
                <a:cubicBezTo>
                  <a:pt x="0" y="254"/>
                  <a:pt x="39" y="293"/>
                  <a:pt x="88" y="293"/>
                </a:cubicBezTo>
                <a:cubicBezTo>
                  <a:pt x="378" y="293"/>
                  <a:pt x="378" y="293"/>
                  <a:pt x="378" y="293"/>
                </a:cubicBezTo>
                <a:cubicBezTo>
                  <a:pt x="424" y="293"/>
                  <a:pt x="462" y="256"/>
                  <a:pt x="462" y="209"/>
                </a:cubicBezTo>
                <a:cubicBezTo>
                  <a:pt x="462" y="186"/>
                  <a:pt x="452" y="164"/>
                  <a:pt x="435" y="14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defPPr>
              <a:defRPr lang="en-GB"/>
            </a:defPPr>
            <a:lvl1pPr algn="l" rtl="0" fontAlgn="base">
              <a:spcBef>
                <a:spcPct val="50000"/>
              </a:spcBef>
              <a:spcAft>
                <a:spcPct val="0"/>
              </a:spcAft>
              <a:defRPr sz="2000" kern="1200">
                <a:solidFill>
                  <a:schemeClr val="tx1"/>
                </a:solidFill>
                <a:latin typeface="Arial" charset="0"/>
                <a:ea typeface="+mn-ea"/>
                <a:cs typeface="+mn-cs"/>
              </a:defRPr>
            </a:lvl1pPr>
            <a:lvl2pPr marL="457200" algn="l" rtl="0" fontAlgn="base">
              <a:spcBef>
                <a:spcPct val="50000"/>
              </a:spcBef>
              <a:spcAft>
                <a:spcPct val="0"/>
              </a:spcAft>
              <a:defRPr sz="2000" kern="1200">
                <a:solidFill>
                  <a:schemeClr val="tx1"/>
                </a:solidFill>
                <a:latin typeface="Arial" charset="0"/>
                <a:ea typeface="+mn-ea"/>
                <a:cs typeface="+mn-cs"/>
              </a:defRPr>
            </a:lvl2pPr>
            <a:lvl3pPr marL="914400" algn="l" rtl="0" fontAlgn="base">
              <a:spcBef>
                <a:spcPct val="50000"/>
              </a:spcBef>
              <a:spcAft>
                <a:spcPct val="0"/>
              </a:spcAft>
              <a:defRPr sz="2000" kern="1200">
                <a:solidFill>
                  <a:schemeClr val="tx1"/>
                </a:solidFill>
                <a:latin typeface="Arial" charset="0"/>
                <a:ea typeface="+mn-ea"/>
                <a:cs typeface="+mn-cs"/>
              </a:defRPr>
            </a:lvl3pPr>
            <a:lvl4pPr marL="1371600" algn="l" rtl="0" fontAlgn="base">
              <a:spcBef>
                <a:spcPct val="50000"/>
              </a:spcBef>
              <a:spcAft>
                <a:spcPct val="0"/>
              </a:spcAft>
              <a:defRPr sz="2000" kern="1200">
                <a:solidFill>
                  <a:schemeClr val="tx1"/>
                </a:solidFill>
                <a:latin typeface="Arial" charset="0"/>
                <a:ea typeface="+mn-ea"/>
                <a:cs typeface="+mn-cs"/>
              </a:defRPr>
            </a:lvl4pPr>
            <a:lvl5pPr marL="1828800" algn="l" rtl="0" fontAlgn="base">
              <a:spcBef>
                <a:spcPct val="5000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endParaRPr lang="en-US"/>
          </a:p>
        </p:txBody>
      </p:sp>
      <p:sp>
        <p:nvSpPr>
          <p:cNvPr id="9" name="TextBox 8"/>
          <p:cNvSpPr txBox="1"/>
          <p:nvPr/>
        </p:nvSpPr>
        <p:spPr>
          <a:xfrm>
            <a:off x="2139719" y="2029734"/>
            <a:ext cx="1246028" cy="646331"/>
          </a:xfrm>
          <a:prstGeom prst="rect">
            <a:avLst/>
          </a:prstGeom>
          <a:noFill/>
        </p:spPr>
        <p:txBody>
          <a:bodyPr wrap="square" rtlCol="0">
            <a:spAutoFit/>
          </a:bodyPr>
          <a:lstStyle/>
          <a:p>
            <a:r>
              <a:rPr lang="en-US" sz="1800" dirty="0">
                <a:solidFill>
                  <a:schemeClr val="bg1"/>
                </a:solidFill>
              </a:rPr>
              <a:t>Ericsson </a:t>
            </a:r>
            <a:r>
              <a:rPr lang="en-US" sz="1800" dirty="0" err="1">
                <a:solidFill>
                  <a:schemeClr val="bg1"/>
                </a:solidFill>
              </a:rPr>
              <a:t>AppIoT</a:t>
            </a:r>
            <a:r>
              <a:rPr lang="en-US" sz="1800" dirty="0">
                <a:solidFill>
                  <a:schemeClr val="bg1"/>
                </a:solidFill>
              </a:rPr>
              <a:t> </a:t>
            </a:r>
            <a:endParaRPr lang="en-CA" sz="1800" dirty="0">
              <a:solidFill>
                <a:schemeClr val="bg1"/>
              </a:solidFill>
            </a:endParaRPr>
          </a:p>
        </p:txBody>
      </p:sp>
      <p:sp>
        <p:nvSpPr>
          <p:cNvPr id="10" name="laptop"/>
          <p:cNvSpPr>
            <a:spLocks noEditPoints="1" noChangeArrowheads="1"/>
          </p:cNvSpPr>
          <p:nvPr/>
        </p:nvSpPr>
        <p:spPr bwMode="auto">
          <a:xfrm>
            <a:off x="4281172" y="1975928"/>
            <a:ext cx="1179622" cy="776817"/>
          </a:xfrm>
          <a:custGeom>
            <a:avLst/>
            <a:gdLst>
              <a:gd name="T0" fmla="*/ 171088 w 21600"/>
              <a:gd name="T1" fmla="*/ 0 h 21600"/>
              <a:gd name="T2" fmla="*/ 171088 w 21600"/>
              <a:gd name="T3" fmla="*/ 193490 h 21600"/>
              <a:gd name="T4" fmla="*/ 932640 w 21600"/>
              <a:gd name="T5" fmla="*/ 0 h 21600"/>
              <a:gd name="T6" fmla="*/ 932640 w 21600"/>
              <a:gd name="T7" fmla="*/ 193490 h 21600"/>
              <a:gd name="T8" fmla="*/ 549600 w 21600"/>
              <a:gd name="T9" fmla="*/ 0 h 21600"/>
              <a:gd name="T10" fmla="*/ 549600 w 21600"/>
              <a:gd name="T11" fmla="*/ 582655 h 21600"/>
              <a:gd name="T12" fmla="*/ 0 w 21600"/>
              <a:gd name="T13" fmla="*/ 582655 h 21600"/>
              <a:gd name="T14" fmla="*/ 1099199 w 21600"/>
              <a:gd name="T15" fmla="*/ 582655 h 21600"/>
              <a:gd name="T16" fmla="*/ 0 60000 65536"/>
              <a:gd name="T17" fmla="*/ 0 60000 65536"/>
              <a:gd name="T18" fmla="*/ 0 60000 65536"/>
              <a:gd name="T19" fmla="*/ 0 60000 65536"/>
              <a:gd name="T20" fmla="*/ 0 60000 65536"/>
              <a:gd name="T21" fmla="*/ 0 60000 65536"/>
              <a:gd name="T22" fmla="*/ 0 60000 65536"/>
              <a:gd name="T23" fmla="*/ 0 60000 65536"/>
              <a:gd name="T24" fmla="*/ 4445 w 21600"/>
              <a:gd name="T25" fmla="*/ 1858 h 21600"/>
              <a:gd name="T26" fmla="*/ 17311 w 21600"/>
              <a:gd name="T27" fmla="*/ 12323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extrusionOk="0">
                <a:moveTo>
                  <a:pt x="3362" y="0"/>
                </a:moveTo>
                <a:lnTo>
                  <a:pt x="18327" y="0"/>
                </a:lnTo>
                <a:lnTo>
                  <a:pt x="18327" y="14347"/>
                </a:lnTo>
                <a:lnTo>
                  <a:pt x="3362" y="14347"/>
                </a:lnTo>
                <a:lnTo>
                  <a:pt x="3362" y="0"/>
                </a:lnTo>
                <a:close/>
              </a:path>
              <a:path w="21600" h="21600" extrusionOk="0">
                <a:moveTo>
                  <a:pt x="3340" y="15068"/>
                </a:moveTo>
                <a:lnTo>
                  <a:pt x="0" y="19877"/>
                </a:lnTo>
                <a:lnTo>
                  <a:pt x="21600" y="19877"/>
                </a:lnTo>
                <a:lnTo>
                  <a:pt x="18327" y="15068"/>
                </a:lnTo>
                <a:lnTo>
                  <a:pt x="3340" y="15068"/>
                </a:lnTo>
                <a:close/>
              </a:path>
              <a:path w="21600" h="21600" extrusionOk="0">
                <a:moveTo>
                  <a:pt x="0" y="19877"/>
                </a:moveTo>
                <a:lnTo>
                  <a:pt x="0" y="21600"/>
                </a:lnTo>
                <a:lnTo>
                  <a:pt x="21600" y="21600"/>
                </a:lnTo>
                <a:lnTo>
                  <a:pt x="21600" y="19877"/>
                </a:lnTo>
                <a:lnTo>
                  <a:pt x="0" y="19877"/>
                </a:lnTo>
                <a:close/>
              </a:path>
              <a:path w="21600" h="21600" extrusionOk="0">
                <a:moveTo>
                  <a:pt x="4186" y="1523"/>
                </a:moveTo>
                <a:lnTo>
                  <a:pt x="17547" y="1523"/>
                </a:lnTo>
                <a:lnTo>
                  <a:pt x="17547" y="12744"/>
                </a:lnTo>
                <a:lnTo>
                  <a:pt x="4186" y="12744"/>
                </a:lnTo>
                <a:lnTo>
                  <a:pt x="4186" y="1523"/>
                </a:lnTo>
                <a:close/>
              </a:path>
              <a:path w="21600" h="21600" extrusionOk="0">
                <a:moveTo>
                  <a:pt x="3318" y="15549"/>
                </a:moveTo>
                <a:lnTo>
                  <a:pt x="2917" y="16110"/>
                </a:lnTo>
                <a:lnTo>
                  <a:pt x="18727" y="16110"/>
                </a:lnTo>
                <a:lnTo>
                  <a:pt x="18327" y="15549"/>
                </a:lnTo>
                <a:lnTo>
                  <a:pt x="3318" y="15549"/>
                </a:lnTo>
                <a:close/>
              </a:path>
              <a:path w="21600" h="21600" extrusionOk="0">
                <a:moveTo>
                  <a:pt x="6213" y="18314"/>
                </a:moveTo>
                <a:lnTo>
                  <a:pt x="5946" y="18875"/>
                </a:lnTo>
                <a:lnTo>
                  <a:pt x="15766" y="18875"/>
                </a:lnTo>
                <a:lnTo>
                  <a:pt x="15499" y="18314"/>
                </a:lnTo>
                <a:lnTo>
                  <a:pt x="6213" y="18314"/>
                </a:lnTo>
                <a:close/>
              </a:path>
              <a:path w="21600" h="21600" extrusionOk="0">
                <a:moveTo>
                  <a:pt x="2828" y="16471"/>
                </a:moveTo>
                <a:lnTo>
                  <a:pt x="2405" y="17072"/>
                </a:lnTo>
                <a:lnTo>
                  <a:pt x="19284" y="17072"/>
                </a:lnTo>
                <a:lnTo>
                  <a:pt x="18839" y="16471"/>
                </a:lnTo>
                <a:lnTo>
                  <a:pt x="2828" y="16471"/>
                </a:lnTo>
                <a:close/>
              </a:path>
              <a:path w="21600" h="21600" extrusionOk="0">
                <a:moveTo>
                  <a:pt x="2316" y="17352"/>
                </a:moveTo>
                <a:lnTo>
                  <a:pt x="1871" y="17953"/>
                </a:lnTo>
                <a:lnTo>
                  <a:pt x="19863" y="17953"/>
                </a:lnTo>
                <a:lnTo>
                  <a:pt x="19395" y="17352"/>
                </a:lnTo>
                <a:lnTo>
                  <a:pt x="2316" y="17352"/>
                </a:lnTo>
                <a:close/>
              </a:path>
            </a:pathLst>
          </a:custGeom>
          <a:solidFill>
            <a:srgbClr val="C0C0C0"/>
          </a:solidFill>
          <a:ln w="9525">
            <a:solidFill>
              <a:srgbClr val="000000"/>
            </a:solidFill>
            <a:miter lim="800000"/>
            <a:headEnd/>
            <a:tailEnd/>
          </a:ln>
        </p:spPr>
        <p:txBody>
          <a:bodyPr lIns="121917" tIns="60958" rIns="121917" bIns="60958"/>
          <a:lstStyle/>
          <a:p>
            <a:endParaRPr lang="en-US"/>
          </a:p>
        </p:txBody>
      </p:sp>
      <p:cxnSp>
        <p:nvCxnSpPr>
          <p:cNvPr id="16" name="Straight Arrow Connector 15"/>
          <p:cNvCxnSpPr>
            <a:cxnSpLocks/>
            <a:stCxn id="17" idx="1"/>
          </p:cNvCxnSpPr>
          <p:nvPr/>
        </p:nvCxnSpPr>
        <p:spPr bwMode="auto">
          <a:xfrm flipH="1">
            <a:off x="6959972" y="5506176"/>
            <a:ext cx="580601" cy="0"/>
          </a:xfrm>
          <a:prstGeom prst="straightConnector1">
            <a:avLst/>
          </a:prstGeom>
          <a:solidFill>
            <a:schemeClr val="accent1"/>
          </a:solidFill>
          <a:ln w="12700" cap="flat" cmpd="sng" algn="ctr">
            <a:solidFill>
              <a:srgbClr val="FFFFFF"/>
            </a:solidFill>
            <a:prstDash val="solid"/>
            <a:round/>
            <a:headEnd type="arrow" w="med" len="med"/>
            <a:tailEnd type="arrow" w="med" len="med"/>
          </a:ln>
          <a:effectLst/>
        </p:spPr>
      </p:cxnSp>
      <p:sp>
        <p:nvSpPr>
          <p:cNvPr id="17" name="Rectangle 16"/>
          <p:cNvSpPr/>
          <p:nvPr/>
        </p:nvSpPr>
        <p:spPr bwMode="auto">
          <a:xfrm>
            <a:off x="7540573" y="5158026"/>
            <a:ext cx="848747" cy="696300"/>
          </a:xfrm>
          <a:prstGeom prst="rect">
            <a:avLst/>
          </a:prstGeom>
          <a:solidFill>
            <a:srgbClr val="8F3F7B"/>
          </a:solidFill>
          <a:ln w="12700" cap="flat" cmpd="sng" algn="ctr">
            <a:solidFill>
              <a:srgbClr val="FFFFFF"/>
            </a:solid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defPPr>
              <a:defRPr lang="en-US"/>
            </a:defPPr>
            <a:lvl1pPr marL="0" algn="l" defTabSz="568803" rtl="0" eaLnBrk="1" latinLnBrk="0" hangingPunct="1">
              <a:defRPr sz="2200" kern="1200">
                <a:solidFill>
                  <a:schemeClr val="tx1"/>
                </a:solidFill>
                <a:latin typeface="+mn-lt"/>
                <a:ea typeface="+mn-ea"/>
                <a:cs typeface="+mn-cs"/>
              </a:defRPr>
            </a:lvl1pPr>
            <a:lvl2pPr marL="568803" algn="l" defTabSz="568803" rtl="0" eaLnBrk="1" latinLnBrk="0" hangingPunct="1">
              <a:defRPr sz="2200" kern="1200">
                <a:solidFill>
                  <a:schemeClr val="tx1"/>
                </a:solidFill>
                <a:latin typeface="+mn-lt"/>
                <a:ea typeface="+mn-ea"/>
                <a:cs typeface="+mn-cs"/>
              </a:defRPr>
            </a:lvl2pPr>
            <a:lvl3pPr marL="1137605" algn="l" defTabSz="568803" rtl="0" eaLnBrk="1" latinLnBrk="0" hangingPunct="1">
              <a:defRPr sz="2200" kern="1200">
                <a:solidFill>
                  <a:schemeClr val="tx1"/>
                </a:solidFill>
                <a:latin typeface="+mn-lt"/>
                <a:ea typeface="+mn-ea"/>
                <a:cs typeface="+mn-cs"/>
              </a:defRPr>
            </a:lvl3pPr>
            <a:lvl4pPr marL="1706408" algn="l" defTabSz="568803" rtl="0" eaLnBrk="1" latinLnBrk="0" hangingPunct="1">
              <a:defRPr sz="2200" kern="1200">
                <a:solidFill>
                  <a:schemeClr val="tx1"/>
                </a:solidFill>
                <a:latin typeface="+mn-lt"/>
                <a:ea typeface="+mn-ea"/>
                <a:cs typeface="+mn-cs"/>
              </a:defRPr>
            </a:lvl4pPr>
            <a:lvl5pPr marL="2275210" algn="l" defTabSz="568803" rtl="0" eaLnBrk="1" latinLnBrk="0" hangingPunct="1">
              <a:defRPr sz="2200" kern="1200">
                <a:solidFill>
                  <a:schemeClr val="tx1"/>
                </a:solidFill>
                <a:latin typeface="+mn-lt"/>
                <a:ea typeface="+mn-ea"/>
                <a:cs typeface="+mn-cs"/>
              </a:defRPr>
            </a:lvl5pPr>
            <a:lvl6pPr marL="2844013" algn="l" defTabSz="568803" rtl="0" eaLnBrk="1" latinLnBrk="0" hangingPunct="1">
              <a:defRPr sz="2200" kern="1200">
                <a:solidFill>
                  <a:schemeClr val="tx1"/>
                </a:solidFill>
                <a:latin typeface="+mn-lt"/>
                <a:ea typeface="+mn-ea"/>
                <a:cs typeface="+mn-cs"/>
              </a:defRPr>
            </a:lvl6pPr>
            <a:lvl7pPr marL="3412815" algn="l" defTabSz="568803" rtl="0" eaLnBrk="1" latinLnBrk="0" hangingPunct="1">
              <a:defRPr sz="2200" kern="1200">
                <a:solidFill>
                  <a:schemeClr val="tx1"/>
                </a:solidFill>
                <a:latin typeface="+mn-lt"/>
                <a:ea typeface="+mn-ea"/>
                <a:cs typeface="+mn-cs"/>
              </a:defRPr>
            </a:lvl7pPr>
            <a:lvl8pPr marL="3981618" algn="l" defTabSz="568803" rtl="0" eaLnBrk="1" latinLnBrk="0" hangingPunct="1">
              <a:defRPr sz="2200" kern="1200">
                <a:solidFill>
                  <a:schemeClr val="tx1"/>
                </a:solidFill>
                <a:latin typeface="+mn-lt"/>
                <a:ea typeface="+mn-ea"/>
                <a:cs typeface="+mn-cs"/>
              </a:defRPr>
            </a:lvl8pPr>
            <a:lvl9pPr marL="4550420" algn="l" defTabSz="568803" rtl="0" eaLnBrk="1" latinLnBrk="0" hangingPunct="1">
              <a:defRPr sz="2200" kern="1200">
                <a:solidFill>
                  <a:schemeClr val="tx1"/>
                </a:solidFill>
                <a:latin typeface="+mn-lt"/>
                <a:ea typeface="+mn-ea"/>
                <a:cs typeface="+mn-cs"/>
              </a:defRPr>
            </a:lvl9pPr>
          </a:lstStyle>
          <a:p>
            <a:pPr marL="0" marR="0" indent="0" algn="ctr" defTabSz="914400" rtl="0" eaLnBrk="1" fontAlgn="base" latinLnBrk="0" hangingPunct="1">
              <a:lnSpc>
                <a:spcPct val="100000"/>
              </a:lnSpc>
              <a:spcBef>
                <a:spcPct val="50000"/>
              </a:spcBef>
              <a:spcAft>
                <a:spcPct val="0"/>
              </a:spcAft>
              <a:buClrTx/>
              <a:buSzTx/>
              <a:buFontTx/>
              <a:buNone/>
              <a:tabLst/>
            </a:pPr>
            <a:r>
              <a:rPr kumimoji="0" lang="en-US" sz="1200" b="0" i="0" u="none" strike="noStrike" cap="none" normalizeH="0" baseline="0" dirty="0" err="1">
                <a:ln>
                  <a:noFill/>
                </a:ln>
                <a:solidFill>
                  <a:schemeClr val="bg1"/>
                </a:solidFill>
                <a:effectLst/>
                <a:latin typeface="Arial" charset="0"/>
              </a:rPr>
              <a:t>RPi</a:t>
            </a:r>
            <a:endParaRPr kumimoji="0" lang="en-CA" sz="1200" b="0" i="0" u="none" strike="noStrike" cap="none" normalizeH="0" baseline="0" dirty="0">
              <a:ln>
                <a:noFill/>
              </a:ln>
              <a:solidFill>
                <a:schemeClr val="bg1"/>
              </a:solidFill>
              <a:effectLst/>
              <a:latin typeface="Arial" charset="0"/>
            </a:endParaRPr>
          </a:p>
        </p:txBody>
      </p:sp>
      <p:cxnSp>
        <p:nvCxnSpPr>
          <p:cNvPr id="20" name="Straight Arrow Connector 19"/>
          <p:cNvCxnSpPr>
            <a:cxnSpLocks/>
            <a:stCxn id="2" idx="1"/>
            <a:endCxn id="17" idx="3"/>
          </p:cNvCxnSpPr>
          <p:nvPr/>
        </p:nvCxnSpPr>
        <p:spPr bwMode="auto">
          <a:xfrm flipH="1" flipV="1">
            <a:off x="8389320" y="5506176"/>
            <a:ext cx="683887" cy="5615"/>
          </a:xfrm>
          <a:prstGeom prst="straightConnector1">
            <a:avLst/>
          </a:prstGeom>
          <a:solidFill>
            <a:schemeClr val="accent1"/>
          </a:solidFill>
          <a:ln w="12700" cap="flat" cmpd="sng" algn="ctr">
            <a:solidFill>
              <a:srgbClr val="FFFFFF"/>
            </a:solidFill>
            <a:prstDash val="solid"/>
            <a:round/>
            <a:headEnd type="none" w="med" len="med"/>
            <a:tailEnd type="triangle" w="med" len="med"/>
          </a:ln>
          <a:effectLst/>
        </p:spPr>
      </p:cxnSp>
      <p:cxnSp>
        <p:nvCxnSpPr>
          <p:cNvPr id="23" name="Straight Connector 22"/>
          <p:cNvCxnSpPr>
            <a:cxnSpLocks/>
          </p:cNvCxnSpPr>
          <p:nvPr/>
        </p:nvCxnSpPr>
        <p:spPr bwMode="auto">
          <a:xfrm flipV="1">
            <a:off x="5312631" y="1195154"/>
            <a:ext cx="1145319" cy="766300"/>
          </a:xfrm>
          <a:prstGeom prst="line">
            <a:avLst/>
          </a:prstGeom>
          <a:solidFill>
            <a:schemeClr val="accent1"/>
          </a:solidFill>
          <a:ln w="12700" cap="flat" cmpd="sng" algn="ctr">
            <a:solidFill>
              <a:srgbClr val="FFFFFF"/>
            </a:solidFill>
            <a:prstDash val="solid"/>
            <a:round/>
            <a:headEnd type="none" w="med" len="med"/>
            <a:tailEnd type="none" w="med" len="med"/>
          </a:ln>
          <a:effectLst/>
        </p:spPr>
      </p:cxnSp>
      <p:cxnSp>
        <p:nvCxnSpPr>
          <p:cNvPr id="25" name="Straight Connector 24"/>
          <p:cNvCxnSpPr>
            <a:cxnSpLocks/>
          </p:cNvCxnSpPr>
          <p:nvPr/>
        </p:nvCxnSpPr>
        <p:spPr bwMode="auto">
          <a:xfrm>
            <a:off x="5460794" y="2814867"/>
            <a:ext cx="997156" cy="942367"/>
          </a:xfrm>
          <a:prstGeom prst="line">
            <a:avLst/>
          </a:prstGeom>
          <a:solidFill>
            <a:schemeClr val="accent1"/>
          </a:solidFill>
          <a:ln w="12700" cap="flat" cmpd="sng" algn="ctr">
            <a:solidFill>
              <a:srgbClr val="FFFFFF"/>
            </a:solidFill>
            <a:prstDash val="solid"/>
            <a:round/>
            <a:headEnd type="none" w="med" len="med"/>
            <a:tailEnd type="none" w="med" len="med"/>
          </a:ln>
          <a:effectLst/>
        </p:spPr>
      </p:cxnSp>
      <p:cxnSp>
        <p:nvCxnSpPr>
          <p:cNvPr id="31" name="Connector: Curved 30"/>
          <p:cNvCxnSpPr>
            <a:cxnSpLocks/>
          </p:cNvCxnSpPr>
          <p:nvPr/>
        </p:nvCxnSpPr>
        <p:spPr bwMode="auto">
          <a:xfrm flipV="1">
            <a:off x="912093" y="2436561"/>
            <a:ext cx="756871" cy="735900"/>
          </a:xfrm>
          <a:prstGeom prst="curvedConnector3">
            <a:avLst>
              <a:gd name="adj1" fmla="val 50000"/>
            </a:avLst>
          </a:prstGeom>
          <a:solidFill>
            <a:schemeClr val="accent1"/>
          </a:solidFill>
          <a:ln w="12700" cap="flat" cmpd="sng" algn="ctr">
            <a:solidFill>
              <a:srgbClr val="FFFFFF"/>
            </a:solidFill>
            <a:prstDash val="solid"/>
            <a:round/>
            <a:headEnd type="none" w="med" len="med"/>
            <a:tailEnd type="triangle" w="med" len="med"/>
          </a:ln>
          <a:effectLst/>
        </p:spPr>
      </p:cxnSp>
      <p:pic>
        <p:nvPicPr>
          <p:cNvPr id="1026" name="Picture 2" descr="image00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457951" y="1019331"/>
            <a:ext cx="2420421" cy="30428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38" name="Straight Arrow Connector 37"/>
          <p:cNvCxnSpPr/>
          <p:nvPr/>
        </p:nvCxnSpPr>
        <p:spPr bwMode="auto">
          <a:xfrm>
            <a:off x="3794644" y="2364969"/>
            <a:ext cx="611739" cy="0"/>
          </a:xfrm>
          <a:prstGeom prst="straightConnector1">
            <a:avLst/>
          </a:prstGeom>
          <a:solidFill>
            <a:schemeClr val="accent1"/>
          </a:solidFill>
          <a:ln w="12700" cap="flat" cmpd="sng" algn="ctr">
            <a:solidFill>
              <a:srgbClr val="FFFFFF"/>
            </a:solidFill>
            <a:prstDash val="solid"/>
            <a:round/>
            <a:headEnd type="triangle" w="med" len="med"/>
            <a:tailEnd type="triangle" w="med" len="med"/>
          </a:ln>
          <a:effectLst/>
        </p:spPr>
      </p:cxnSp>
      <p:pic>
        <p:nvPicPr>
          <p:cNvPr id="41" name="Picture 40"/>
          <p:cNvPicPr>
            <a:picLocks noChangeAspect="1"/>
          </p:cNvPicPr>
          <p:nvPr/>
        </p:nvPicPr>
        <p:blipFill>
          <a:blip r:embed="rId5"/>
          <a:stretch>
            <a:fillRect/>
          </a:stretch>
        </p:blipFill>
        <p:spPr>
          <a:xfrm>
            <a:off x="8878372" y="1019331"/>
            <a:ext cx="3165991" cy="3042830"/>
          </a:xfrm>
          <a:prstGeom prst="rect">
            <a:avLst/>
          </a:prstGeom>
        </p:spPr>
      </p:pic>
      <p:sp>
        <p:nvSpPr>
          <p:cNvPr id="6" name="Rectangle 5"/>
          <p:cNvSpPr/>
          <p:nvPr/>
        </p:nvSpPr>
        <p:spPr bwMode="auto">
          <a:xfrm>
            <a:off x="1904452" y="3359205"/>
            <a:ext cx="3684058" cy="2721412"/>
          </a:xfrm>
          <a:prstGeom prst="rect">
            <a:avLst/>
          </a:prstGeom>
          <a:solidFill>
            <a:srgbClr val="F08A00"/>
          </a:solidFill>
          <a:ln w="28575" cap="flat" cmpd="sng" algn="ctr">
            <a:solidFill>
              <a:schemeClr val="bg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CA" sz="2000" b="0" i="0" u="none" strike="noStrike" cap="none" normalizeH="0" baseline="0">
              <a:ln>
                <a:noFill/>
              </a:ln>
              <a:solidFill>
                <a:schemeClr val="tx1"/>
              </a:solidFill>
              <a:effectLst/>
              <a:latin typeface="Arial" charset="0"/>
            </a:endParaRPr>
          </a:p>
        </p:txBody>
      </p:sp>
      <p:cxnSp>
        <p:nvCxnSpPr>
          <p:cNvPr id="58" name="Connector: Curved 57"/>
          <p:cNvCxnSpPr>
            <a:cxnSpLocks/>
          </p:cNvCxnSpPr>
          <p:nvPr/>
        </p:nvCxnSpPr>
        <p:spPr bwMode="auto">
          <a:xfrm>
            <a:off x="4344519" y="4935623"/>
            <a:ext cx="1116275" cy="382399"/>
          </a:xfrm>
          <a:prstGeom prst="curvedConnector3">
            <a:avLst/>
          </a:prstGeom>
          <a:solidFill>
            <a:schemeClr val="accent1"/>
          </a:solidFill>
          <a:ln w="12700" cap="flat" cmpd="sng" algn="ctr">
            <a:solidFill>
              <a:srgbClr val="FFFFFF"/>
            </a:solidFill>
            <a:prstDash val="solid"/>
            <a:round/>
            <a:headEnd type="none" w="med" len="med"/>
            <a:tailEnd type="triangle" w="med" len="med"/>
          </a:ln>
          <a:effectLst/>
        </p:spPr>
      </p:cxnSp>
      <p:sp>
        <p:nvSpPr>
          <p:cNvPr id="59" name="TextBox 58"/>
          <p:cNvSpPr txBox="1"/>
          <p:nvPr/>
        </p:nvSpPr>
        <p:spPr>
          <a:xfrm>
            <a:off x="4498451" y="4669917"/>
            <a:ext cx="962342" cy="307777"/>
          </a:xfrm>
          <a:prstGeom prst="rect">
            <a:avLst/>
          </a:prstGeom>
          <a:noFill/>
        </p:spPr>
        <p:txBody>
          <a:bodyPr wrap="square" rtlCol="0">
            <a:spAutoFit/>
          </a:bodyPr>
          <a:lstStyle/>
          <a:p>
            <a:r>
              <a:rPr lang="en-US" sz="1400" dirty="0">
                <a:solidFill>
                  <a:schemeClr val="bg1"/>
                </a:solidFill>
              </a:rPr>
              <a:t>RF Cable</a:t>
            </a:r>
            <a:endParaRPr lang="en-CA" sz="1400" dirty="0">
              <a:solidFill>
                <a:schemeClr val="bg1"/>
              </a:solidFill>
            </a:endParaRPr>
          </a:p>
        </p:txBody>
      </p:sp>
      <p:sp>
        <p:nvSpPr>
          <p:cNvPr id="61" name="TextBox 60"/>
          <p:cNvSpPr txBox="1"/>
          <p:nvPr/>
        </p:nvSpPr>
        <p:spPr>
          <a:xfrm>
            <a:off x="3665652" y="5433580"/>
            <a:ext cx="1324742" cy="307777"/>
          </a:xfrm>
          <a:prstGeom prst="rect">
            <a:avLst/>
          </a:prstGeom>
          <a:noFill/>
        </p:spPr>
        <p:txBody>
          <a:bodyPr wrap="square" rtlCol="0">
            <a:spAutoFit/>
          </a:bodyPr>
          <a:lstStyle/>
          <a:p>
            <a:r>
              <a:rPr lang="en-US" sz="1400" dirty="0" err="1">
                <a:solidFill>
                  <a:schemeClr val="bg1"/>
                </a:solidFill>
              </a:rPr>
              <a:t>mRRU</a:t>
            </a:r>
            <a:endParaRPr lang="en-CA" sz="1400" dirty="0">
              <a:solidFill>
                <a:schemeClr val="bg1"/>
              </a:solidFill>
            </a:endParaRPr>
          </a:p>
        </p:txBody>
      </p:sp>
      <p:grpSp>
        <p:nvGrpSpPr>
          <p:cNvPr id="30" name="Group 29"/>
          <p:cNvGrpSpPr/>
          <p:nvPr/>
        </p:nvGrpSpPr>
        <p:grpSpPr>
          <a:xfrm>
            <a:off x="9073207" y="4518525"/>
            <a:ext cx="2622881" cy="1986531"/>
            <a:chOff x="9298057" y="4518525"/>
            <a:chExt cx="2622881" cy="1986531"/>
          </a:xfrm>
        </p:grpSpPr>
        <p:pic>
          <p:nvPicPr>
            <p:cNvPr id="2" name="Picture 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298057" y="4518525"/>
              <a:ext cx="2622881" cy="1986531"/>
            </a:xfrm>
            <a:prstGeom prst="rect">
              <a:avLst/>
            </a:prstGeom>
          </p:spPr>
        </p:pic>
        <p:sp>
          <p:nvSpPr>
            <p:cNvPr id="11" name="Freeform 3"/>
            <p:cNvSpPr>
              <a:spLocks noChangeAspect="1" noEditPoints="1"/>
            </p:cNvSpPr>
            <p:nvPr/>
          </p:nvSpPr>
          <p:spPr bwMode="auto">
            <a:xfrm>
              <a:off x="9431261" y="4777729"/>
              <a:ext cx="215971" cy="321953"/>
            </a:xfrm>
            <a:custGeom>
              <a:avLst/>
              <a:gdLst>
                <a:gd name="T0" fmla="*/ 2147483647 w 189"/>
                <a:gd name="T1" fmla="*/ 2147483647 h 466"/>
                <a:gd name="T2" fmla="*/ 2147483647 w 189"/>
                <a:gd name="T3" fmla="*/ 2147483647 h 466"/>
                <a:gd name="T4" fmla="*/ 2147483647 w 189"/>
                <a:gd name="T5" fmla="*/ 2147483647 h 466"/>
                <a:gd name="T6" fmla="*/ 2147483647 w 189"/>
                <a:gd name="T7" fmla="*/ 2147483647 h 466"/>
                <a:gd name="T8" fmla="*/ 2147483647 w 189"/>
                <a:gd name="T9" fmla="*/ 2147483647 h 466"/>
                <a:gd name="T10" fmla="*/ 2147483647 w 189"/>
                <a:gd name="T11" fmla="*/ 2147483647 h 466"/>
                <a:gd name="T12" fmla="*/ 2147483647 w 189"/>
                <a:gd name="T13" fmla="*/ 2147483647 h 466"/>
                <a:gd name="T14" fmla="*/ 2147483647 w 189"/>
                <a:gd name="T15" fmla="*/ 2147483647 h 466"/>
                <a:gd name="T16" fmla="*/ 2147483647 w 189"/>
                <a:gd name="T17" fmla="*/ 2147483647 h 466"/>
                <a:gd name="T18" fmla="*/ 2147483647 w 189"/>
                <a:gd name="T19" fmla="*/ 2147483647 h 466"/>
                <a:gd name="T20" fmla="*/ 2147483647 w 189"/>
                <a:gd name="T21" fmla="*/ 2147483647 h 466"/>
                <a:gd name="T22" fmla="*/ 2147483647 w 189"/>
                <a:gd name="T23" fmla="*/ 2147483647 h 466"/>
                <a:gd name="T24" fmla="*/ 2147483647 w 189"/>
                <a:gd name="T25" fmla="*/ 2147483647 h 466"/>
                <a:gd name="T26" fmla="*/ 2147483647 w 189"/>
                <a:gd name="T27" fmla="*/ 2147483647 h 466"/>
                <a:gd name="T28" fmla="*/ 2147483647 w 189"/>
                <a:gd name="T29" fmla="*/ 2147483647 h 466"/>
                <a:gd name="T30" fmla="*/ 2147483647 w 189"/>
                <a:gd name="T31" fmla="*/ 2147483647 h 466"/>
                <a:gd name="T32" fmla="*/ 2147483647 w 189"/>
                <a:gd name="T33" fmla="*/ 2147483647 h 466"/>
                <a:gd name="T34" fmla="*/ 2147483647 w 189"/>
                <a:gd name="T35" fmla="*/ 2147483647 h 466"/>
                <a:gd name="T36" fmla="*/ 2147483647 w 189"/>
                <a:gd name="T37" fmla="*/ 2147483647 h 466"/>
                <a:gd name="T38" fmla="*/ 2147483647 w 189"/>
                <a:gd name="T39" fmla="*/ 2147483647 h 466"/>
                <a:gd name="T40" fmla="*/ 2147483647 w 189"/>
                <a:gd name="T41" fmla="*/ 2147483647 h 466"/>
                <a:gd name="T42" fmla="*/ 2147483647 w 189"/>
                <a:gd name="T43" fmla="*/ 2147483647 h 466"/>
                <a:gd name="T44" fmla="*/ 2147483647 w 189"/>
                <a:gd name="T45" fmla="*/ 2147483647 h 466"/>
                <a:gd name="T46" fmla="*/ 2147483647 w 189"/>
                <a:gd name="T47" fmla="*/ 2147483647 h 466"/>
                <a:gd name="T48" fmla="*/ 2147483647 w 189"/>
                <a:gd name="T49" fmla="*/ 2147483647 h 466"/>
                <a:gd name="T50" fmla="*/ 2147483647 w 189"/>
                <a:gd name="T51" fmla="*/ 2147483647 h 466"/>
                <a:gd name="T52" fmla="*/ 2147483647 w 189"/>
                <a:gd name="T53" fmla="*/ 2147483647 h 466"/>
                <a:gd name="T54" fmla="*/ 2147483647 w 189"/>
                <a:gd name="T55" fmla="*/ 2147483647 h 466"/>
                <a:gd name="T56" fmla="*/ 2147483647 w 189"/>
                <a:gd name="T57" fmla="*/ 2147483647 h 466"/>
                <a:gd name="T58" fmla="*/ 2147483647 w 189"/>
                <a:gd name="T59" fmla="*/ 2147483647 h 466"/>
                <a:gd name="T60" fmla="*/ 2147483647 w 189"/>
                <a:gd name="T61" fmla="*/ 2147483647 h 466"/>
                <a:gd name="T62" fmla="*/ 2147483647 w 189"/>
                <a:gd name="T63" fmla="*/ 2147483647 h 466"/>
                <a:gd name="T64" fmla="*/ 2147483647 w 189"/>
                <a:gd name="T65" fmla="*/ 2147483647 h 466"/>
                <a:gd name="T66" fmla="*/ 2147483647 w 189"/>
                <a:gd name="T67" fmla="*/ 2147483647 h 466"/>
                <a:gd name="T68" fmla="*/ 2147483647 w 189"/>
                <a:gd name="T69" fmla="*/ 2147483647 h 466"/>
                <a:gd name="T70" fmla="*/ 2147483647 w 189"/>
                <a:gd name="T71" fmla="*/ 2147483647 h 466"/>
                <a:gd name="T72" fmla="*/ 2147483647 w 189"/>
                <a:gd name="T73" fmla="*/ 2147483647 h 466"/>
                <a:gd name="T74" fmla="*/ 2147483647 w 189"/>
                <a:gd name="T75" fmla="*/ 2147483647 h 466"/>
                <a:gd name="T76" fmla="*/ 2147483647 w 189"/>
                <a:gd name="T77" fmla="*/ 2147483647 h 466"/>
                <a:gd name="T78" fmla="*/ 2147483647 w 189"/>
                <a:gd name="T79" fmla="*/ 2147483647 h 466"/>
                <a:gd name="T80" fmla="*/ 2147483647 w 189"/>
                <a:gd name="T81" fmla="*/ 0 h 466"/>
                <a:gd name="T82" fmla="*/ 2147483647 w 189"/>
                <a:gd name="T83" fmla="*/ 0 h 466"/>
                <a:gd name="T84" fmla="*/ 2147483647 w 189"/>
                <a:gd name="T85" fmla="*/ 2147483647 h 466"/>
                <a:gd name="T86" fmla="*/ 2147483647 w 189"/>
                <a:gd name="T87" fmla="*/ 2147483647 h 466"/>
                <a:gd name="T88" fmla="*/ 0 w 189"/>
                <a:gd name="T89" fmla="*/ 2147483647 h 466"/>
                <a:gd name="T90" fmla="*/ 2147483647 w 189"/>
                <a:gd name="T91" fmla="*/ 2147483647 h 466"/>
                <a:gd name="T92" fmla="*/ 2147483647 w 189"/>
                <a:gd name="T93" fmla="*/ 2147483647 h 466"/>
                <a:gd name="T94" fmla="*/ 2147483647 w 189"/>
                <a:gd name="T95" fmla="*/ 2147483647 h 466"/>
                <a:gd name="T96" fmla="*/ 2147483647 w 189"/>
                <a:gd name="T97" fmla="*/ 2147483647 h 466"/>
                <a:gd name="T98" fmla="*/ 2147483647 w 189"/>
                <a:gd name="T99" fmla="*/ 2147483647 h 466"/>
                <a:gd name="T100" fmla="*/ 2147483647 w 189"/>
                <a:gd name="T101" fmla="*/ 2147483647 h 466"/>
                <a:gd name="T102" fmla="*/ 2147483647 w 189"/>
                <a:gd name="T103" fmla="*/ 2147483647 h 466"/>
                <a:gd name="T104" fmla="*/ 2147483647 w 189"/>
                <a:gd name="T105" fmla="*/ 2147483647 h 466"/>
                <a:gd name="T106" fmla="*/ 2147483647 w 189"/>
                <a:gd name="T107" fmla="*/ 2147483647 h 466"/>
                <a:gd name="T108" fmla="*/ 2147483647 w 189"/>
                <a:gd name="T109" fmla="*/ 2147483647 h 46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89" h="466">
                  <a:moveTo>
                    <a:pt x="144" y="292"/>
                  </a:moveTo>
                  <a:cubicBezTo>
                    <a:pt x="144" y="83"/>
                    <a:pt x="144" y="83"/>
                    <a:pt x="144" y="83"/>
                  </a:cubicBezTo>
                  <a:cubicBezTo>
                    <a:pt x="144" y="79"/>
                    <a:pt x="141" y="75"/>
                    <a:pt x="136" y="75"/>
                  </a:cubicBezTo>
                  <a:cubicBezTo>
                    <a:pt x="132" y="75"/>
                    <a:pt x="128" y="79"/>
                    <a:pt x="128" y="83"/>
                  </a:cubicBezTo>
                  <a:cubicBezTo>
                    <a:pt x="128" y="107"/>
                    <a:pt x="128" y="107"/>
                    <a:pt x="128" y="107"/>
                  </a:cubicBezTo>
                  <a:cubicBezTo>
                    <a:pt x="94" y="107"/>
                    <a:pt x="94" y="107"/>
                    <a:pt x="94" y="107"/>
                  </a:cubicBezTo>
                  <a:cubicBezTo>
                    <a:pt x="90" y="107"/>
                    <a:pt x="86" y="110"/>
                    <a:pt x="86" y="115"/>
                  </a:cubicBezTo>
                  <a:cubicBezTo>
                    <a:pt x="86" y="119"/>
                    <a:pt x="90" y="123"/>
                    <a:pt x="94" y="123"/>
                  </a:cubicBezTo>
                  <a:cubicBezTo>
                    <a:pt x="128" y="123"/>
                    <a:pt x="128" y="123"/>
                    <a:pt x="128" y="123"/>
                  </a:cubicBezTo>
                  <a:cubicBezTo>
                    <a:pt x="128" y="146"/>
                    <a:pt x="128" y="146"/>
                    <a:pt x="128" y="146"/>
                  </a:cubicBezTo>
                  <a:cubicBezTo>
                    <a:pt x="94" y="146"/>
                    <a:pt x="94" y="146"/>
                    <a:pt x="94" y="146"/>
                  </a:cubicBezTo>
                  <a:cubicBezTo>
                    <a:pt x="90" y="146"/>
                    <a:pt x="86" y="150"/>
                    <a:pt x="86" y="154"/>
                  </a:cubicBezTo>
                  <a:cubicBezTo>
                    <a:pt x="86" y="159"/>
                    <a:pt x="90" y="162"/>
                    <a:pt x="94" y="162"/>
                  </a:cubicBezTo>
                  <a:cubicBezTo>
                    <a:pt x="128" y="162"/>
                    <a:pt x="128" y="162"/>
                    <a:pt x="128" y="162"/>
                  </a:cubicBezTo>
                  <a:cubicBezTo>
                    <a:pt x="128" y="186"/>
                    <a:pt x="128" y="186"/>
                    <a:pt x="128" y="186"/>
                  </a:cubicBezTo>
                  <a:cubicBezTo>
                    <a:pt x="94" y="186"/>
                    <a:pt x="94" y="186"/>
                    <a:pt x="94" y="186"/>
                  </a:cubicBezTo>
                  <a:cubicBezTo>
                    <a:pt x="90" y="186"/>
                    <a:pt x="86" y="190"/>
                    <a:pt x="86" y="194"/>
                  </a:cubicBezTo>
                  <a:cubicBezTo>
                    <a:pt x="86" y="199"/>
                    <a:pt x="90" y="202"/>
                    <a:pt x="94" y="202"/>
                  </a:cubicBezTo>
                  <a:cubicBezTo>
                    <a:pt x="128" y="202"/>
                    <a:pt x="128" y="202"/>
                    <a:pt x="128" y="202"/>
                  </a:cubicBezTo>
                  <a:cubicBezTo>
                    <a:pt x="128" y="226"/>
                    <a:pt x="128" y="226"/>
                    <a:pt x="128" y="226"/>
                  </a:cubicBezTo>
                  <a:cubicBezTo>
                    <a:pt x="94" y="226"/>
                    <a:pt x="94" y="226"/>
                    <a:pt x="94" y="226"/>
                  </a:cubicBezTo>
                  <a:cubicBezTo>
                    <a:pt x="90" y="226"/>
                    <a:pt x="86" y="230"/>
                    <a:pt x="86" y="234"/>
                  </a:cubicBezTo>
                  <a:cubicBezTo>
                    <a:pt x="86" y="239"/>
                    <a:pt x="90" y="242"/>
                    <a:pt x="94" y="242"/>
                  </a:cubicBezTo>
                  <a:cubicBezTo>
                    <a:pt x="128" y="242"/>
                    <a:pt x="128" y="242"/>
                    <a:pt x="128" y="242"/>
                  </a:cubicBezTo>
                  <a:cubicBezTo>
                    <a:pt x="128" y="266"/>
                    <a:pt x="128" y="266"/>
                    <a:pt x="128" y="266"/>
                  </a:cubicBezTo>
                  <a:cubicBezTo>
                    <a:pt x="94" y="266"/>
                    <a:pt x="94" y="266"/>
                    <a:pt x="94" y="266"/>
                  </a:cubicBezTo>
                  <a:cubicBezTo>
                    <a:pt x="90" y="266"/>
                    <a:pt x="86" y="270"/>
                    <a:pt x="86" y="274"/>
                  </a:cubicBezTo>
                  <a:cubicBezTo>
                    <a:pt x="86" y="278"/>
                    <a:pt x="90" y="282"/>
                    <a:pt x="94" y="282"/>
                  </a:cubicBezTo>
                  <a:cubicBezTo>
                    <a:pt x="128" y="282"/>
                    <a:pt x="128" y="282"/>
                    <a:pt x="128" y="282"/>
                  </a:cubicBezTo>
                  <a:cubicBezTo>
                    <a:pt x="128" y="306"/>
                    <a:pt x="128" y="306"/>
                    <a:pt x="128" y="306"/>
                  </a:cubicBezTo>
                  <a:cubicBezTo>
                    <a:pt x="128" y="312"/>
                    <a:pt x="110" y="319"/>
                    <a:pt x="94" y="319"/>
                  </a:cubicBezTo>
                  <a:cubicBezTo>
                    <a:pt x="78" y="319"/>
                    <a:pt x="60" y="313"/>
                    <a:pt x="60" y="306"/>
                  </a:cubicBezTo>
                  <a:cubicBezTo>
                    <a:pt x="60" y="42"/>
                    <a:pt x="60" y="42"/>
                    <a:pt x="60" y="42"/>
                  </a:cubicBezTo>
                  <a:cubicBezTo>
                    <a:pt x="60" y="27"/>
                    <a:pt x="72" y="16"/>
                    <a:pt x="86" y="16"/>
                  </a:cubicBezTo>
                  <a:cubicBezTo>
                    <a:pt x="102" y="16"/>
                    <a:pt x="102" y="16"/>
                    <a:pt x="102" y="16"/>
                  </a:cubicBezTo>
                  <a:cubicBezTo>
                    <a:pt x="117" y="16"/>
                    <a:pt x="128" y="27"/>
                    <a:pt x="128" y="42"/>
                  </a:cubicBezTo>
                  <a:cubicBezTo>
                    <a:pt x="128" y="51"/>
                    <a:pt x="128" y="51"/>
                    <a:pt x="128" y="51"/>
                  </a:cubicBezTo>
                  <a:cubicBezTo>
                    <a:pt x="128" y="56"/>
                    <a:pt x="132" y="59"/>
                    <a:pt x="136" y="59"/>
                  </a:cubicBezTo>
                  <a:cubicBezTo>
                    <a:pt x="141" y="59"/>
                    <a:pt x="144" y="56"/>
                    <a:pt x="144" y="51"/>
                  </a:cubicBezTo>
                  <a:cubicBezTo>
                    <a:pt x="144" y="42"/>
                    <a:pt x="144" y="42"/>
                    <a:pt x="144" y="42"/>
                  </a:cubicBezTo>
                  <a:cubicBezTo>
                    <a:pt x="144" y="18"/>
                    <a:pt x="126" y="0"/>
                    <a:pt x="102" y="0"/>
                  </a:cubicBezTo>
                  <a:cubicBezTo>
                    <a:pt x="86" y="0"/>
                    <a:pt x="86" y="0"/>
                    <a:pt x="86" y="0"/>
                  </a:cubicBezTo>
                  <a:cubicBezTo>
                    <a:pt x="63" y="0"/>
                    <a:pt x="44" y="18"/>
                    <a:pt x="44" y="42"/>
                  </a:cubicBezTo>
                  <a:cubicBezTo>
                    <a:pt x="44" y="292"/>
                    <a:pt x="44" y="292"/>
                    <a:pt x="44" y="292"/>
                  </a:cubicBezTo>
                  <a:cubicBezTo>
                    <a:pt x="18" y="308"/>
                    <a:pt x="1" y="337"/>
                    <a:pt x="0" y="370"/>
                  </a:cubicBezTo>
                  <a:cubicBezTo>
                    <a:pt x="0" y="422"/>
                    <a:pt x="41" y="465"/>
                    <a:pt x="93" y="466"/>
                  </a:cubicBezTo>
                  <a:cubicBezTo>
                    <a:pt x="145" y="466"/>
                    <a:pt x="188" y="425"/>
                    <a:pt x="188" y="373"/>
                  </a:cubicBezTo>
                  <a:cubicBezTo>
                    <a:pt x="189" y="339"/>
                    <a:pt x="171" y="309"/>
                    <a:pt x="144" y="292"/>
                  </a:cubicBezTo>
                  <a:close/>
                  <a:moveTo>
                    <a:pt x="94" y="446"/>
                  </a:moveTo>
                  <a:cubicBezTo>
                    <a:pt x="90" y="446"/>
                    <a:pt x="86" y="442"/>
                    <a:pt x="86" y="438"/>
                  </a:cubicBezTo>
                  <a:cubicBezTo>
                    <a:pt x="86" y="434"/>
                    <a:pt x="90" y="430"/>
                    <a:pt x="94" y="430"/>
                  </a:cubicBezTo>
                  <a:cubicBezTo>
                    <a:pt x="126" y="430"/>
                    <a:pt x="153" y="404"/>
                    <a:pt x="153" y="372"/>
                  </a:cubicBezTo>
                  <a:cubicBezTo>
                    <a:pt x="153" y="367"/>
                    <a:pt x="156" y="364"/>
                    <a:pt x="161" y="364"/>
                  </a:cubicBezTo>
                  <a:cubicBezTo>
                    <a:pt x="165" y="364"/>
                    <a:pt x="169" y="367"/>
                    <a:pt x="169" y="372"/>
                  </a:cubicBezTo>
                  <a:cubicBezTo>
                    <a:pt x="169" y="413"/>
                    <a:pt x="135" y="446"/>
                    <a:pt x="94" y="44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dirty="0"/>
            </a:p>
          </p:txBody>
        </p:sp>
        <p:sp>
          <p:nvSpPr>
            <p:cNvPr id="12" name="Freeform 3"/>
            <p:cNvSpPr>
              <a:spLocks noChangeAspect="1" noEditPoints="1"/>
            </p:cNvSpPr>
            <p:nvPr/>
          </p:nvSpPr>
          <p:spPr bwMode="auto">
            <a:xfrm>
              <a:off x="9824932" y="4766694"/>
              <a:ext cx="253805" cy="339334"/>
            </a:xfrm>
            <a:custGeom>
              <a:avLst/>
              <a:gdLst>
                <a:gd name="T0" fmla="*/ 2147483647 w 270"/>
                <a:gd name="T1" fmla="*/ 2147483647 h 355"/>
                <a:gd name="T2" fmla="*/ 2147483647 w 270"/>
                <a:gd name="T3" fmla="*/ 2147483647 h 355"/>
                <a:gd name="T4" fmla="*/ 2147483647 w 270"/>
                <a:gd name="T5" fmla="*/ 2147483647 h 355"/>
                <a:gd name="T6" fmla="*/ 2147483647 w 270"/>
                <a:gd name="T7" fmla="*/ 2147483647 h 355"/>
                <a:gd name="T8" fmla="*/ 2147483647 w 270"/>
                <a:gd name="T9" fmla="*/ 2147483647 h 355"/>
                <a:gd name="T10" fmla="*/ 2147483647 w 270"/>
                <a:gd name="T11" fmla="*/ 2147483647 h 355"/>
                <a:gd name="T12" fmla="*/ 2147483647 w 270"/>
                <a:gd name="T13" fmla="*/ 2147483647 h 355"/>
                <a:gd name="T14" fmla="*/ 2147483647 w 270"/>
                <a:gd name="T15" fmla="*/ 2147483647 h 355"/>
                <a:gd name="T16" fmla="*/ 2147483647 w 270"/>
                <a:gd name="T17" fmla="*/ 2147483647 h 355"/>
                <a:gd name="T18" fmla="*/ 2147483647 w 270"/>
                <a:gd name="T19" fmla="*/ 2147483647 h 355"/>
                <a:gd name="T20" fmla="*/ 2147483647 w 270"/>
                <a:gd name="T21" fmla="*/ 2147483647 h 355"/>
                <a:gd name="T22" fmla="*/ 2147483647 w 270"/>
                <a:gd name="T23" fmla="*/ 2147483647 h 355"/>
                <a:gd name="T24" fmla="*/ 2147483647 w 270"/>
                <a:gd name="T25" fmla="*/ 2147483647 h 355"/>
                <a:gd name="T26" fmla="*/ 2147483647 w 270"/>
                <a:gd name="T27" fmla="*/ 2147483647 h 355"/>
                <a:gd name="T28" fmla="*/ 2147483647 w 270"/>
                <a:gd name="T29" fmla="*/ 2147483647 h 355"/>
                <a:gd name="T30" fmla="*/ 2147483647 w 270"/>
                <a:gd name="T31" fmla="*/ 2147483647 h 355"/>
                <a:gd name="T32" fmla="*/ 2147483647 w 270"/>
                <a:gd name="T33" fmla="*/ 2147483647 h 355"/>
                <a:gd name="T34" fmla="*/ 2147483647 w 270"/>
                <a:gd name="T35" fmla="*/ 2147483647 h 355"/>
                <a:gd name="T36" fmla="*/ 2147483647 w 270"/>
                <a:gd name="T37" fmla="*/ 2147483647 h 355"/>
                <a:gd name="T38" fmla="*/ 2147483647 w 270"/>
                <a:gd name="T39" fmla="*/ 2147483647 h 355"/>
                <a:gd name="T40" fmla="*/ 2147483647 w 270"/>
                <a:gd name="T41" fmla="*/ 2147483647 h 355"/>
                <a:gd name="T42" fmla="*/ 2147483647 w 270"/>
                <a:gd name="T43" fmla="*/ 2147483647 h 355"/>
                <a:gd name="T44" fmla="*/ 2147483647 w 270"/>
                <a:gd name="T45" fmla="*/ 0 h 355"/>
                <a:gd name="T46" fmla="*/ 2147483647 w 270"/>
                <a:gd name="T47" fmla="*/ 2147483647 h 355"/>
                <a:gd name="T48" fmla="*/ 2147483647 w 270"/>
                <a:gd name="T49" fmla="*/ 2147483647 h 355"/>
                <a:gd name="T50" fmla="*/ 0 w 270"/>
                <a:gd name="T51" fmla="*/ 2147483647 h 355"/>
                <a:gd name="T52" fmla="*/ 2147483647 w 270"/>
                <a:gd name="T53" fmla="*/ 2147483647 h 355"/>
                <a:gd name="T54" fmla="*/ 2147483647 w 270"/>
                <a:gd name="T55" fmla="*/ 2147483647 h 355"/>
                <a:gd name="T56" fmla="*/ 2147483647 w 270"/>
                <a:gd name="T57" fmla="*/ 2147483647 h 355"/>
                <a:gd name="T58" fmla="*/ 2147483647 w 270"/>
                <a:gd name="T59" fmla="*/ 2147483647 h 355"/>
                <a:gd name="T60" fmla="*/ 2147483647 w 270"/>
                <a:gd name="T61" fmla="*/ 2147483647 h 355"/>
                <a:gd name="T62" fmla="*/ 2147483647 w 270"/>
                <a:gd name="T63" fmla="*/ 2147483647 h 355"/>
                <a:gd name="T64" fmla="*/ 2147483647 w 270"/>
                <a:gd name="T65" fmla="*/ 2147483647 h 355"/>
                <a:gd name="T66" fmla="*/ 2147483647 w 270"/>
                <a:gd name="T67" fmla="*/ 2147483647 h 35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70" h="355">
                  <a:moveTo>
                    <a:pt x="113" y="254"/>
                  </a:moveTo>
                  <a:cubicBezTo>
                    <a:pt x="106" y="297"/>
                    <a:pt x="106" y="297"/>
                    <a:pt x="106" y="297"/>
                  </a:cubicBezTo>
                  <a:cubicBezTo>
                    <a:pt x="105" y="300"/>
                    <a:pt x="106" y="302"/>
                    <a:pt x="107" y="304"/>
                  </a:cubicBezTo>
                  <a:cubicBezTo>
                    <a:pt x="109" y="306"/>
                    <a:pt x="111" y="307"/>
                    <a:pt x="113" y="307"/>
                  </a:cubicBezTo>
                  <a:cubicBezTo>
                    <a:pt x="157" y="307"/>
                    <a:pt x="157" y="307"/>
                    <a:pt x="157" y="307"/>
                  </a:cubicBezTo>
                  <a:cubicBezTo>
                    <a:pt x="160" y="307"/>
                    <a:pt x="162" y="306"/>
                    <a:pt x="164" y="304"/>
                  </a:cubicBezTo>
                  <a:cubicBezTo>
                    <a:pt x="165" y="302"/>
                    <a:pt x="166" y="300"/>
                    <a:pt x="165" y="297"/>
                  </a:cubicBezTo>
                  <a:cubicBezTo>
                    <a:pt x="157" y="254"/>
                    <a:pt x="157" y="254"/>
                    <a:pt x="157" y="254"/>
                  </a:cubicBezTo>
                  <a:cubicBezTo>
                    <a:pt x="167" y="248"/>
                    <a:pt x="173" y="237"/>
                    <a:pt x="173" y="225"/>
                  </a:cubicBezTo>
                  <a:cubicBezTo>
                    <a:pt x="173" y="206"/>
                    <a:pt x="157" y="188"/>
                    <a:pt x="135" y="188"/>
                  </a:cubicBezTo>
                  <a:cubicBezTo>
                    <a:pt x="114" y="188"/>
                    <a:pt x="97" y="206"/>
                    <a:pt x="97" y="225"/>
                  </a:cubicBezTo>
                  <a:cubicBezTo>
                    <a:pt x="97" y="237"/>
                    <a:pt x="103" y="248"/>
                    <a:pt x="113" y="254"/>
                  </a:cubicBezTo>
                  <a:close/>
                  <a:moveTo>
                    <a:pt x="135" y="204"/>
                  </a:moveTo>
                  <a:cubicBezTo>
                    <a:pt x="148" y="204"/>
                    <a:pt x="157" y="214"/>
                    <a:pt x="157" y="225"/>
                  </a:cubicBezTo>
                  <a:cubicBezTo>
                    <a:pt x="157" y="233"/>
                    <a:pt x="152" y="240"/>
                    <a:pt x="145" y="243"/>
                  </a:cubicBezTo>
                  <a:cubicBezTo>
                    <a:pt x="141" y="244"/>
                    <a:pt x="139" y="248"/>
                    <a:pt x="140" y="252"/>
                  </a:cubicBezTo>
                  <a:cubicBezTo>
                    <a:pt x="147" y="291"/>
                    <a:pt x="147" y="291"/>
                    <a:pt x="147" y="291"/>
                  </a:cubicBezTo>
                  <a:cubicBezTo>
                    <a:pt x="123" y="291"/>
                    <a:pt x="123" y="291"/>
                    <a:pt x="123" y="291"/>
                  </a:cubicBezTo>
                  <a:cubicBezTo>
                    <a:pt x="130" y="252"/>
                    <a:pt x="130" y="252"/>
                    <a:pt x="130" y="252"/>
                  </a:cubicBezTo>
                  <a:cubicBezTo>
                    <a:pt x="131" y="248"/>
                    <a:pt x="129" y="244"/>
                    <a:pt x="125" y="243"/>
                  </a:cubicBezTo>
                  <a:cubicBezTo>
                    <a:pt x="118" y="240"/>
                    <a:pt x="113" y="233"/>
                    <a:pt x="113" y="225"/>
                  </a:cubicBezTo>
                  <a:cubicBezTo>
                    <a:pt x="113" y="214"/>
                    <a:pt x="122" y="204"/>
                    <a:pt x="135" y="204"/>
                  </a:cubicBezTo>
                  <a:close/>
                  <a:moveTo>
                    <a:pt x="256" y="141"/>
                  </a:moveTo>
                  <a:cubicBezTo>
                    <a:pt x="243" y="141"/>
                    <a:pt x="243" y="141"/>
                    <a:pt x="243" y="141"/>
                  </a:cubicBezTo>
                  <a:cubicBezTo>
                    <a:pt x="243" y="106"/>
                    <a:pt x="243" y="106"/>
                    <a:pt x="243" y="106"/>
                  </a:cubicBezTo>
                  <a:cubicBezTo>
                    <a:pt x="243" y="106"/>
                    <a:pt x="243" y="105"/>
                    <a:pt x="243" y="105"/>
                  </a:cubicBezTo>
                  <a:cubicBezTo>
                    <a:pt x="243" y="93"/>
                    <a:pt x="242" y="82"/>
                    <a:pt x="238" y="70"/>
                  </a:cubicBezTo>
                  <a:cubicBezTo>
                    <a:pt x="236" y="66"/>
                    <a:pt x="232" y="64"/>
                    <a:pt x="227" y="66"/>
                  </a:cubicBezTo>
                  <a:cubicBezTo>
                    <a:pt x="223" y="67"/>
                    <a:pt x="221" y="72"/>
                    <a:pt x="223" y="76"/>
                  </a:cubicBezTo>
                  <a:cubicBezTo>
                    <a:pt x="226" y="85"/>
                    <a:pt x="227" y="94"/>
                    <a:pt x="227" y="106"/>
                  </a:cubicBezTo>
                  <a:cubicBezTo>
                    <a:pt x="227" y="106"/>
                    <a:pt x="227" y="107"/>
                    <a:pt x="227" y="107"/>
                  </a:cubicBezTo>
                  <a:cubicBezTo>
                    <a:pt x="227" y="141"/>
                    <a:pt x="227" y="141"/>
                    <a:pt x="227" y="141"/>
                  </a:cubicBezTo>
                  <a:cubicBezTo>
                    <a:pt x="211" y="141"/>
                    <a:pt x="211" y="141"/>
                    <a:pt x="211" y="141"/>
                  </a:cubicBezTo>
                  <a:cubicBezTo>
                    <a:pt x="211" y="106"/>
                    <a:pt x="211" y="106"/>
                    <a:pt x="211" y="106"/>
                  </a:cubicBezTo>
                  <a:cubicBezTo>
                    <a:pt x="211" y="89"/>
                    <a:pt x="204" y="71"/>
                    <a:pt x="191" y="56"/>
                  </a:cubicBezTo>
                  <a:cubicBezTo>
                    <a:pt x="177" y="41"/>
                    <a:pt x="158" y="30"/>
                    <a:pt x="135" y="30"/>
                  </a:cubicBezTo>
                  <a:cubicBezTo>
                    <a:pt x="93" y="30"/>
                    <a:pt x="59" y="64"/>
                    <a:pt x="59" y="106"/>
                  </a:cubicBezTo>
                  <a:cubicBezTo>
                    <a:pt x="59" y="141"/>
                    <a:pt x="59" y="141"/>
                    <a:pt x="59" y="141"/>
                  </a:cubicBezTo>
                  <a:cubicBezTo>
                    <a:pt x="43" y="141"/>
                    <a:pt x="43" y="141"/>
                    <a:pt x="43" y="141"/>
                  </a:cubicBezTo>
                  <a:cubicBezTo>
                    <a:pt x="43" y="106"/>
                    <a:pt x="43" y="106"/>
                    <a:pt x="43" y="106"/>
                  </a:cubicBezTo>
                  <a:cubicBezTo>
                    <a:pt x="43" y="106"/>
                    <a:pt x="43" y="106"/>
                    <a:pt x="43" y="106"/>
                  </a:cubicBezTo>
                  <a:cubicBezTo>
                    <a:pt x="44" y="56"/>
                    <a:pt x="85" y="16"/>
                    <a:pt x="135" y="16"/>
                  </a:cubicBezTo>
                  <a:cubicBezTo>
                    <a:pt x="179" y="16"/>
                    <a:pt x="199" y="40"/>
                    <a:pt x="207" y="50"/>
                  </a:cubicBezTo>
                  <a:cubicBezTo>
                    <a:pt x="210" y="54"/>
                    <a:pt x="215" y="55"/>
                    <a:pt x="218" y="52"/>
                  </a:cubicBezTo>
                  <a:cubicBezTo>
                    <a:pt x="222" y="49"/>
                    <a:pt x="223" y="44"/>
                    <a:pt x="220" y="41"/>
                  </a:cubicBezTo>
                  <a:cubicBezTo>
                    <a:pt x="211" y="29"/>
                    <a:pt x="185" y="0"/>
                    <a:pt x="135" y="0"/>
                  </a:cubicBezTo>
                  <a:cubicBezTo>
                    <a:pt x="77" y="0"/>
                    <a:pt x="29" y="46"/>
                    <a:pt x="27" y="104"/>
                  </a:cubicBezTo>
                  <a:cubicBezTo>
                    <a:pt x="27" y="105"/>
                    <a:pt x="27" y="105"/>
                    <a:pt x="27" y="106"/>
                  </a:cubicBezTo>
                  <a:cubicBezTo>
                    <a:pt x="27" y="141"/>
                    <a:pt x="27" y="141"/>
                    <a:pt x="27" y="141"/>
                  </a:cubicBezTo>
                  <a:cubicBezTo>
                    <a:pt x="14" y="141"/>
                    <a:pt x="14" y="141"/>
                    <a:pt x="14" y="141"/>
                  </a:cubicBezTo>
                  <a:cubicBezTo>
                    <a:pt x="6" y="141"/>
                    <a:pt x="0" y="148"/>
                    <a:pt x="0" y="156"/>
                  </a:cubicBezTo>
                  <a:cubicBezTo>
                    <a:pt x="0" y="341"/>
                    <a:pt x="0" y="341"/>
                    <a:pt x="0" y="341"/>
                  </a:cubicBezTo>
                  <a:cubicBezTo>
                    <a:pt x="0" y="349"/>
                    <a:pt x="6" y="355"/>
                    <a:pt x="14" y="355"/>
                  </a:cubicBezTo>
                  <a:cubicBezTo>
                    <a:pt x="14" y="355"/>
                    <a:pt x="256" y="355"/>
                    <a:pt x="256" y="355"/>
                  </a:cubicBezTo>
                  <a:cubicBezTo>
                    <a:pt x="264" y="355"/>
                    <a:pt x="270" y="349"/>
                    <a:pt x="270" y="341"/>
                  </a:cubicBezTo>
                  <a:cubicBezTo>
                    <a:pt x="270" y="156"/>
                    <a:pt x="270" y="156"/>
                    <a:pt x="270" y="156"/>
                  </a:cubicBezTo>
                  <a:cubicBezTo>
                    <a:pt x="270" y="148"/>
                    <a:pt x="264" y="141"/>
                    <a:pt x="256" y="141"/>
                  </a:cubicBezTo>
                  <a:close/>
                  <a:moveTo>
                    <a:pt x="75" y="106"/>
                  </a:moveTo>
                  <a:cubicBezTo>
                    <a:pt x="75" y="72"/>
                    <a:pt x="102" y="46"/>
                    <a:pt x="135" y="46"/>
                  </a:cubicBezTo>
                  <a:cubicBezTo>
                    <a:pt x="153" y="46"/>
                    <a:pt x="168" y="54"/>
                    <a:pt x="178" y="67"/>
                  </a:cubicBezTo>
                  <a:cubicBezTo>
                    <a:pt x="189" y="79"/>
                    <a:pt x="195" y="94"/>
                    <a:pt x="195" y="106"/>
                  </a:cubicBezTo>
                  <a:cubicBezTo>
                    <a:pt x="195" y="141"/>
                    <a:pt x="195" y="141"/>
                    <a:pt x="195" y="141"/>
                  </a:cubicBezTo>
                  <a:cubicBezTo>
                    <a:pt x="75" y="141"/>
                    <a:pt x="75" y="141"/>
                    <a:pt x="75" y="141"/>
                  </a:cubicBezTo>
                  <a:lnTo>
                    <a:pt x="75" y="106"/>
                  </a:lnTo>
                  <a:close/>
                  <a:moveTo>
                    <a:pt x="254" y="339"/>
                  </a:moveTo>
                  <a:cubicBezTo>
                    <a:pt x="16" y="339"/>
                    <a:pt x="16" y="339"/>
                    <a:pt x="16" y="339"/>
                  </a:cubicBezTo>
                  <a:cubicBezTo>
                    <a:pt x="16" y="157"/>
                    <a:pt x="16" y="157"/>
                    <a:pt x="16" y="157"/>
                  </a:cubicBezTo>
                  <a:cubicBezTo>
                    <a:pt x="254" y="157"/>
                    <a:pt x="254" y="157"/>
                    <a:pt x="254" y="157"/>
                  </a:cubicBezTo>
                  <a:lnTo>
                    <a:pt x="254" y="3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a:p>
          </p:txBody>
        </p:sp>
        <p:sp>
          <p:nvSpPr>
            <p:cNvPr id="65" name="Freeform 3"/>
            <p:cNvSpPr>
              <a:spLocks noChangeAspect="1" noEditPoints="1"/>
            </p:cNvSpPr>
            <p:nvPr/>
          </p:nvSpPr>
          <p:spPr bwMode="auto">
            <a:xfrm rot="12573977">
              <a:off x="10277437" y="4808868"/>
              <a:ext cx="370962" cy="281124"/>
            </a:xfrm>
            <a:custGeom>
              <a:avLst/>
              <a:gdLst>
                <a:gd name="T0" fmla="*/ 2147483647 w 464"/>
                <a:gd name="T1" fmla="*/ 2147483647 h 282"/>
                <a:gd name="T2" fmla="*/ 2147483647 w 464"/>
                <a:gd name="T3" fmla="*/ 0 h 282"/>
                <a:gd name="T4" fmla="*/ 2147483647 w 464"/>
                <a:gd name="T5" fmla="*/ 2147483647 h 282"/>
                <a:gd name="T6" fmla="*/ 2147483647 w 464"/>
                <a:gd name="T7" fmla="*/ 2147483647 h 282"/>
                <a:gd name="T8" fmla="*/ 2147483647 w 464"/>
                <a:gd name="T9" fmla="*/ 2147483647 h 282"/>
                <a:gd name="T10" fmla="*/ 0 w 464"/>
                <a:gd name="T11" fmla="*/ 2147483647 h 282"/>
                <a:gd name="T12" fmla="*/ 2147483647 w 464"/>
                <a:gd name="T13" fmla="*/ 2147483647 h 282"/>
                <a:gd name="T14" fmla="*/ 2147483647 w 464"/>
                <a:gd name="T15" fmla="*/ 2147483647 h 282"/>
                <a:gd name="T16" fmla="*/ 2147483647 w 464"/>
                <a:gd name="T17" fmla="*/ 2147483647 h 282"/>
                <a:gd name="T18" fmla="*/ 2147483647 w 464"/>
                <a:gd name="T19" fmla="*/ 2147483647 h 282"/>
                <a:gd name="T20" fmla="*/ 2147483647 w 464"/>
                <a:gd name="T21" fmla="*/ 2147483647 h 282"/>
                <a:gd name="T22" fmla="*/ 2147483647 w 464"/>
                <a:gd name="T23" fmla="*/ 2147483647 h 282"/>
                <a:gd name="T24" fmla="*/ 2147483647 w 464"/>
                <a:gd name="T25" fmla="*/ 2147483647 h 282"/>
                <a:gd name="T26" fmla="*/ 2147483647 w 464"/>
                <a:gd name="T27" fmla="*/ 2147483647 h 282"/>
                <a:gd name="T28" fmla="*/ 2147483647 w 464"/>
                <a:gd name="T29" fmla="*/ 2147483647 h 282"/>
                <a:gd name="T30" fmla="*/ 2147483647 w 464"/>
                <a:gd name="T31" fmla="*/ 2147483647 h 282"/>
                <a:gd name="T32" fmla="*/ 2147483647 w 464"/>
                <a:gd name="T33" fmla="*/ 2147483647 h 282"/>
                <a:gd name="T34" fmla="*/ 2147483647 w 464"/>
                <a:gd name="T35" fmla="*/ 2147483647 h 282"/>
                <a:gd name="T36" fmla="*/ 2147483647 w 464"/>
                <a:gd name="T37" fmla="*/ 2147483647 h 282"/>
                <a:gd name="T38" fmla="*/ 2147483647 w 464"/>
                <a:gd name="T39" fmla="*/ 2147483647 h 282"/>
                <a:gd name="T40" fmla="*/ 2147483647 w 464"/>
                <a:gd name="T41" fmla="*/ 2147483647 h 282"/>
                <a:gd name="T42" fmla="*/ 2147483647 w 464"/>
                <a:gd name="T43" fmla="*/ 2147483647 h 282"/>
                <a:gd name="T44" fmla="*/ 2147483647 w 464"/>
                <a:gd name="T45" fmla="*/ 2147483647 h 282"/>
                <a:gd name="T46" fmla="*/ 2147483647 w 464"/>
                <a:gd name="T47" fmla="*/ 2147483647 h 282"/>
                <a:gd name="T48" fmla="*/ 2147483647 w 464"/>
                <a:gd name="T49" fmla="*/ 2147483647 h 282"/>
                <a:gd name="T50" fmla="*/ 2147483647 w 464"/>
                <a:gd name="T51" fmla="*/ 2147483647 h 282"/>
                <a:gd name="T52" fmla="*/ 2147483647 w 464"/>
                <a:gd name="T53" fmla="*/ 2147483647 h 282"/>
                <a:gd name="T54" fmla="*/ 2147483647 w 464"/>
                <a:gd name="T55" fmla="*/ 2147483647 h 282"/>
                <a:gd name="T56" fmla="*/ 2147483647 w 464"/>
                <a:gd name="T57" fmla="*/ 2147483647 h 282"/>
                <a:gd name="T58" fmla="*/ 2147483647 w 464"/>
                <a:gd name="T59" fmla="*/ 2147483647 h 282"/>
                <a:gd name="T60" fmla="*/ 2147483647 w 464"/>
                <a:gd name="T61" fmla="*/ 2147483647 h 282"/>
                <a:gd name="T62" fmla="*/ 2147483647 w 464"/>
                <a:gd name="T63" fmla="*/ 2147483647 h 282"/>
                <a:gd name="T64" fmla="*/ 2147483647 w 464"/>
                <a:gd name="T65" fmla="*/ 2147483647 h 282"/>
                <a:gd name="T66" fmla="*/ 2147483647 w 464"/>
                <a:gd name="T67" fmla="*/ 2147483647 h 282"/>
                <a:gd name="T68" fmla="*/ 2147483647 w 464"/>
                <a:gd name="T69" fmla="*/ 2147483647 h 282"/>
                <a:gd name="T70" fmla="*/ 2147483647 w 464"/>
                <a:gd name="T71" fmla="*/ 2147483647 h 282"/>
                <a:gd name="T72" fmla="*/ 2147483647 w 464"/>
                <a:gd name="T73" fmla="*/ 2147483647 h 282"/>
                <a:gd name="T74" fmla="*/ 2147483647 w 464"/>
                <a:gd name="T75" fmla="*/ 2147483647 h 282"/>
                <a:gd name="T76" fmla="*/ 2147483647 w 464"/>
                <a:gd name="T77" fmla="*/ 2147483647 h 282"/>
                <a:gd name="T78" fmla="*/ 2147483647 w 464"/>
                <a:gd name="T79" fmla="*/ 2147483647 h 282"/>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464" h="282">
                  <a:moveTo>
                    <a:pt x="456" y="52"/>
                  </a:moveTo>
                  <a:cubicBezTo>
                    <a:pt x="461" y="52"/>
                    <a:pt x="464" y="49"/>
                    <a:pt x="464" y="44"/>
                  </a:cubicBezTo>
                  <a:cubicBezTo>
                    <a:pt x="464" y="17"/>
                    <a:pt x="464" y="17"/>
                    <a:pt x="464" y="17"/>
                  </a:cubicBezTo>
                  <a:cubicBezTo>
                    <a:pt x="464" y="8"/>
                    <a:pt x="456" y="0"/>
                    <a:pt x="447" y="0"/>
                  </a:cubicBezTo>
                  <a:cubicBezTo>
                    <a:pt x="196" y="0"/>
                    <a:pt x="196" y="0"/>
                    <a:pt x="196" y="0"/>
                  </a:cubicBezTo>
                  <a:cubicBezTo>
                    <a:pt x="187" y="0"/>
                    <a:pt x="179" y="8"/>
                    <a:pt x="179" y="17"/>
                  </a:cubicBezTo>
                  <a:cubicBezTo>
                    <a:pt x="179" y="71"/>
                    <a:pt x="179" y="71"/>
                    <a:pt x="179" y="71"/>
                  </a:cubicBezTo>
                  <a:cubicBezTo>
                    <a:pt x="156" y="71"/>
                    <a:pt x="156" y="71"/>
                    <a:pt x="156" y="71"/>
                  </a:cubicBezTo>
                  <a:cubicBezTo>
                    <a:pt x="156" y="63"/>
                    <a:pt x="156" y="63"/>
                    <a:pt x="156" y="63"/>
                  </a:cubicBezTo>
                  <a:cubicBezTo>
                    <a:pt x="156" y="53"/>
                    <a:pt x="148" y="45"/>
                    <a:pt x="138" y="45"/>
                  </a:cubicBezTo>
                  <a:cubicBezTo>
                    <a:pt x="59" y="45"/>
                    <a:pt x="59" y="45"/>
                    <a:pt x="59" y="45"/>
                  </a:cubicBezTo>
                  <a:cubicBezTo>
                    <a:pt x="24" y="45"/>
                    <a:pt x="0" y="101"/>
                    <a:pt x="0" y="153"/>
                  </a:cubicBezTo>
                  <a:cubicBezTo>
                    <a:pt x="0" y="240"/>
                    <a:pt x="0" y="240"/>
                    <a:pt x="0" y="240"/>
                  </a:cubicBezTo>
                  <a:cubicBezTo>
                    <a:pt x="0" y="242"/>
                    <a:pt x="1" y="244"/>
                    <a:pt x="2" y="246"/>
                  </a:cubicBezTo>
                  <a:cubicBezTo>
                    <a:pt x="4" y="247"/>
                    <a:pt x="6" y="248"/>
                    <a:pt x="8" y="248"/>
                  </a:cubicBezTo>
                  <a:cubicBezTo>
                    <a:pt x="40" y="248"/>
                    <a:pt x="40" y="248"/>
                    <a:pt x="40" y="248"/>
                  </a:cubicBezTo>
                  <a:cubicBezTo>
                    <a:pt x="44" y="267"/>
                    <a:pt x="61" y="282"/>
                    <a:pt x="81" y="282"/>
                  </a:cubicBezTo>
                  <a:cubicBezTo>
                    <a:pt x="101" y="282"/>
                    <a:pt x="118" y="267"/>
                    <a:pt x="122" y="248"/>
                  </a:cubicBezTo>
                  <a:cubicBezTo>
                    <a:pt x="148" y="248"/>
                    <a:pt x="148" y="248"/>
                    <a:pt x="148" y="248"/>
                  </a:cubicBezTo>
                  <a:cubicBezTo>
                    <a:pt x="152" y="248"/>
                    <a:pt x="155" y="245"/>
                    <a:pt x="156" y="241"/>
                  </a:cubicBezTo>
                  <a:cubicBezTo>
                    <a:pt x="319" y="241"/>
                    <a:pt x="319" y="241"/>
                    <a:pt x="319" y="241"/>
                  </a:cubicBezTo>
                  <a:cubicBezTo>
                    <a:pt x="319" y="263"/>
                    <a:pt x="338" y="282"/>
                    <a:pt x="360" y="282"/>
                  </a:cubicBezTo>
                  <a:cubicBezTo>
                    <a:pt x="383" y="282"/>
                    <a:pt x="402" y="263"/>
                    <a:pt x="402" y="241"/>
                  </a:cubicBezTo>
                  <a:cubicBezTo>
                    <a:pt x="447" y="241"/>
                    <a:pt x="447" y="241"/>
                    <a:pt x="447" y="241"/>
                  </a:cubicBezTo>
                  <a:cubicBezTo>
                    <a:pt x="456" y="241"/>
                    <a:pt x="464" y="233"/>
                    <a:pt x="464" y="223"/>
                  </a:cubicBezTo>
                  <a:cubicBezTo>
                    <a:pt x="464" y="76"/>
                    <a:pt x="464" y="76"/>
                    <a:pt x="464" y="76"/>
                  </a:cubicBezTo>
                  <a:cubicBezTo>
                    <a:pt x="464" y="71"/>
                    <a:pt x="461" y="68"/>
                    <a:pt x="456" y="68"/>
                  </a:cubicBezTo>
                  <a:cubicBezTo>
                    <a:pt x="452" y="68"/>
                    <a:pt x="448" y="71"/>
                    <a:pt x="448" y="76"/>
                  </a:cubicBezTo>
                  <a:cubicBezTo>
                    <a:pt x="448" y="168"/>
                    <a:pt x="448" y="168"/>
                    <a:pt x="448" y="168"/>
                  </a:cubicBezTo>
                  <a:cubicBezTo>
                    <a:pt x="195" y="168"/>
                    <a:pt x="195" y="168"/>
                    <a:pt x="195" y="168"/>
                  </a:cubicBezTo>
                  <a:cubicBezTo>
                    <a:pt x="195" y="17"/>
                    <a:pt x="195" y="17"/>
                    <a:pt x="195" y="17"/>
                  </a:cubicBezTo>
                  <a:cubicBezTo>
                    <a:pt x="195" y="17"/>
                    <a:pt x="195" y="16"/>
                    <a:pt x="196" y="16"/>
                  </a:cubicBezTo>
                  <a:cubicBezTo>
                    <a:pt x="447" y="16"/>
                    <a:pt x="447" y="16"/>
                    <a:pt x="447" y="16"/>
                  </a:cubicBezTo>
                  <a:cubicBezTo>
                    <a:pt x="448" y="16"/>
                    <a:pt x="448" y="17"/>
                    <a:pt x="448" y="17"/>
                  </a:cubicBezTo>
                  <a:cubicBezTo>
                    <a:pt x="448" y="44"/>
                    <a:pt x="448" y="44"/>
                    <a:pt x="448" y="44"/>
                  </a:cubicBezTo>
                  <a:cubicBezTo>
                    <a:pt x="448" y="49"/>
                    <a:pt x="452" y="52"/>
                    <a:pt x="456" y="52"/>
                  </a:cubicBezTo>
                  <a:close/>
                  <a:moveTo>
                    <a:pt x="27" y="95"/>
                  </a:moveTo>
                  <a:cubicBezTo>
                    <a:pt x="27" y="95"/>
                    <a:pt x="28" y="95"/>
                    <a:pt x="28" y="95"/>
                  </a:cubicBezTo>
                  <a:cubicBezTo>
                    <a:pt x="86" y="95"/>
                    <a:pt x="86" y="95"/>
                    <a:pt x="86" y="95"/>
                  </a:cubicBezTo>
                  <a:cubicBezTo>
                    <a:pt x="86" y="145"/>
                    <a:pt x="86" y="145"/>
                    <a:pt x="86" y="145"/>
                  </a:cubicBezTo>
                  <a:cubicBezTo>
                    <a:pt x="16" y="145"/>
                    <a:pt x="16" y="145"/>
                    <a:pt x="16" y="145"/>
                  </a:cubicBezTo>
                  <a:cubicBezTo>
                    <a:pt x="17" y="127"/>
                    <a:pt x="21" y="109"/>
                    <a:pt x="27" y="95"/>
                  </a:cubicBezTo>
                  <a:close/>
                  <a:moveTo>
                    <a:pt x="81" y="266"/>
                  </a:moveTo>
                  <a:cubicBezTo>
                    <a:pt x="67" y="266"/>
                    <a:pt x="55" y="254"/>
                    <a:pt x="55" y="240"/>
                  </a:cubicBezTo>
                  <a:cubicBezTo>
                    <a:pt x="55" y="226"/>
                    <a:pt x="67" y="214"/>
                    <a:pt x="81" y="214"/>
                  </a:cubicBezTo>
                  <a:cubicBezTo>
                    <a:pt x="95" y="214"/>
                    <a:pt x="107" y="226"/>
                    <a:pt x="107" y="240"/>
                  </a:cubicBezTo>
                  <a:cubicBezTo>
                    <a:pt x="107" y="254"/>
                    <a:pt x="95" y="266"/>
                    <a:pt x="81" y="266"/>
                  </a:cubicBezTo>
                  <a:close/>
                  <a:moveTo>
                    <a:pt x="140" y="232"/>
                  </a:moveTo>
                  <a:cubicBezTo>
                    <a:pt x="122" y="232"/>
                    <a:pt x="122" y="232"/>
                    <a:pt x="122" y="232"/>
                  </a:cubicBezTo>
                  <a:cubicBezTo>
                    <a:pt x="118" y="213"/>
                    <a:pt x="101" y="198"/>
                    <a:pt x="81" y="198"/>
                  </a:cubicBezTo>
                  <a:cubicBezTo>
                    <a:pt x="61" y="198"/>
                    <a:pt x="44" y="213"/>
                    <a:pt x="40" y="232"/>
                  </a:cubicBezTo>
                  <a:cubicBezTo>
                    <a:pt x="16" y="232"/>
                    <a:pt x="16" y="232"/>
                    <a:pt x="16" y="232"/>
                  </a:cubicBezTo>
                  <a:cubicBezTo>
                    <a:pt x="16" y="161"/>
                    <a:pt x="16" y="161"/>
                    <a:pt x="16" y="161"/>
                  </a:cubicBezTo>
                  <a:cubicBezTo>
                    <a:pt x="94" y="161"/>
                    <a:pt x="94" y="161"/>
                    <a:pt x="94" y="161"/>
                  </a:cubicBezTo>
                  <a:cubicBezTo>
                    <a:pt x="99" y="161"/>
                    <a:pt x="102" y="157"/>
                    <a:pt x="102" y="153"/>
                  </a:cubicBezTo>
                  <a:cubicBezTo>
                    <a:pt x="102" y="87"/>
                    <a:pt x="102" y="87"/>
                    <a:pt x="102" y="87"/>
                  </a:cubicBezTo>
                  <a:cubicBezTo>
                    <a:pt x="102" y="83"/>
                    <a:pt x="99" y="79"/>
                    <a:pt x="94" y="79"/>
                  </a:cubicBezTo>
                  <a:cubicBezTo>
                    <a:pt x="35" y="79"/>
                    <a:pt x="35" y="79"/>
                    <a:pt x="35" y="79"/>
                  </a:cubicBezTo>
                  <a:cubicBezTo>
                    <a:pt x="42" y="68"/>
                    <a:pt x="50" y="61"/>
                    <a:pt x="59" y="61"/>
                  </a:cubicBezTo>
                  <a:cubicBezTo>
                    <a:pt x="138" y="61"/>
                    <a:pt x="138" y="61"/>
                    <a:pt x="138" y="61"/>
                  </a:cubicBezTo>
                  <a:cubicBezTo>
                    <a:pt x="139" y="61"/>
                    <a:pt x="140" y="62"/>
                    <a:pt x="140" y="63"/>
                  </a:cubicBezTo>
                  <a:lnTo>
                    <a:pt x="140" y="232"/>
                  </a:lnTo>
                  <a:close/>
                  <a:moveTo>
                    <a:pt x="179" y="225"/>
                  </a:moveTo>
                  <a:cubicBezTo>
                    <a:pt x="156" y="225"/>
                    <a:pt x="156" y="225"/>
                    <a:pt x="156" y="225"/>
                  </a:cubicBezTo>
                  <a:cubicBezTo>
                    <a:pt x="156" y="87"/>
                    <a:pt x="156" y="87"/>
                    <a:pt x="156" y="87"/>
                  </a:cubicBezTo>
                  <a:cubicBezTo>
                    <a:pt x="179" y="87"/>
                    <a:pt x="179" y="87"/>
                    <a:pt x="179" y="87"/>
                  </a:cubicBezTo>
                  <a:lnTo>
                    <a:pt x="179" y="225"/>
                  </a:lnTo>
                  <a:close/>
                  <a:moveTo>
                    <a:pt x="360" y="266"/>
                  </a:moveTo>
                  <a:cubicBezTo>
                    <a:pt x="346" y="266"/>
                    <a:pt x="335" y="254"/>
                    <a:pt x="335" y="240"/>
                  </a:cubicBezTo>
                  <a:cubicBezTo>
                    <a:pt x="335" y="226"/>
                    <a:pt x="346" y="214"/>
                    <a:pt x="360" y="214"/>
                  </a:cubicBezTo>
                  <a:cubicBezTo>
                    <a:pt x="375" y="214"/>
                    <a:pt x="386" y="226"/>
                    <a:pt x="386" y="240"/>
                  </a:cubicBezTo>
                  <a:cubicBezTo>
                    <a:pt x="386" y="254"/>
                    <a:pt x="375" y="266"/>
                    <a:pt x="360" y="266"/>
                  </a:cubicBezTo>
                  <a:close/>
                  <a:moveTo>
                    <a:pt x="448" y="184"/>
                  </a:moveTo>
                  <a:cubicBezTo>
                    <a:pt x="448" y="223"/>
                    <a:pt x="448" y="223"/>
                    <a:pt x="448" y="223"/>
                  </a:cubicBezTo>
                  <a:cubicBezTo>
                    <a:pt x="448" y="224"/>
                    <a:pt x="448" y="225"/>
                    <a:pt x="447" y="225"/>
                  </a:cubicBezTo>
                  <a:cubicBezTo>
                    <a:pt x="399" y="225"/>
                    <a:pt x="399" y="225"/>
                    <a:pt x="399" y="225"/>
                  </a:cubicBezTo>
                  <a:cubicBezTo>
                    <a:pt x="393" y="209"/>
                    <a:pt x="378" y="198"/>
                    <a:pt x="360" y="198"/>
                  </a:cubicBezTo>
                  <a:cubicBezTo>
                    <a:pt x="343" y="198"/>
                    <a:pt x="327" y="209"/>
                    <a:pt x="321" y="225"/>
                  </a:cubicBezTo>
                  <a:cubicBezTo>
                    <a:pt x="195" y="225"/>
                    <a:pt x="195" y="225"/>
                    <a:pt x="195" y="225"/>
                  </a:cubicBezTo>
                  <a:cubicBezTo>
                    <a:pt x="195" y="184"/>
                    <a:pt x="195" y="184"/>
                    <a:pt x="195" y="184"/>
                  </a:cubicBezTo>
                  <a:lnTo>
                    <a:pt x="448" y="18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dirty="0"/>
            </a:p>
          </p:txBody>
        </p:sp>
      </p:grpSp>
      <p:pic>
        <p:nvPicPr>
          <p:cNvPr id="66" name="Picture 2"/>
          <p:cNvPicPr>
            <a:picLocks noChangeAspect="1" noChangeArrowheads="1"/>
          </p:cNvPicPr>
          <p:nvPr/>
        </p:nvPicPr>
        <p:blipFill rotWithShape="1">
          <a:blip r:embed="rId7" cstate="print">
            <a:duotone>
              <a:schemeClr val="bg2">
                <a:shade val="45000"/>
                <a:satMod val="135000"/>
              </a:schemeClr>
              <a:prstClr val="white"/>
            </a:duotone>
            <a:extLst>
              <a:ext uri="{28A0092B-C50C-407E-A947-70E740481C1C}">
                <a14:useLocalDpi xmlns:a14="http://schemas.microsoft.com/office/drawing/2010/main"/>
              </a:ext>
            </a:extLst>
          </a:blip>
          <a:srcRect/>
          <a:stretch/>
        </p:blipFill>
        <p:spPr bwMode="auto">
          <a:xfrm>
            <a:off x="3771611" y="4467947"/>
            <a:ext cx="575240" cy="9750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9" name="Picture 2" descr="C:\Users\emicgro\Downloads\RBS6601_DUGDUL.1_ppt (2).jp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978471" y="4081355"/>
            <a:ext cx="1722759" cy="3509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72" name="Connector: Curved 71"/>
          <p:cNvCxnSpPr/>
          <p:nvPr/>
        </p:nvCxnSpPr>
        <p:spPr bwMode="auto">
          <a:xfrm>
            <a:off x="2771775" y="4518525"/>
            <a:ext cx="871538" cy="459169"/>
          </a:xfrm>
          <a:prstGeom prst="curvedConnector3">
            <a:avLst/>
          </a:prstGeom>
          <a:solidFill>
            <a:schemeClr val="accent1"/>
          </a:solidFill>
          <a:ln w="12700" cap="flat" cmpd="sng" algn="ctr">
            <a:solidFill>
              <a:srgbClr val="FFFFFF"/>
            </a:solidFill>
            <a:prstDash val="solid"/>
            <a:round/>
            <a:headEnd type="none" w="med" len="med"/>
            <a:tailEnd type="triangle" w="med" len="med"/>
          </a:ln>
          <a:effectLst/>
        </p:spPr>
      </p:cxnSp>
      <p:sp>
        <p:nvSpPr>
          <p:cNvPr id="73" name="TextBox 72"/>
          <p:cNvSpPr txBox="1"/>
          <p:nvPr/>
        </p:nvSpPr>
        <p:spPr>
          <a:xfrm>
            <a:off x="2268319" y="3778032"/>
            <a:ext cx="1432911" cy="307777"/>
          </a:xfrm>
          <a:prstGeom prst="rect">
            <a:avLst/>
          </a:prstGeom>
          <a:noFill/>
        </p:spPr>
        <p:txBody>
          <a:bodyPr wrap="square" rtlCol="0">
            <a:spAutoFit/>
          </a:bodyPr>
          <a:lstStyle/>
          <a:p>
            <a:r>
              <a:rPr lang="en-US" sz="1400" dirty="0">
                <a:solidFill>
                  <a:schemeClr val="bg1"/>
                </a:solidFill>
              </a:rPr>
              <a:t>RBS6601</a:t>
            </a:r>
            <a:endParaRPr lang="en-CA" sz="1400" dirty="0">
              <a:solidFill>
                <a:schemeClr val="bg1"/>
              </a:solidFill>
            </a:endParaRPr>
          </a:p>
        </p:txBody>
      </p:sp>
      <p:sp>
        <p:nvSpPr>
          <p:cNvPr id="97" name="TextBox 96"/>
          <p:cNvSpPr txBox="1"/>
          <p:nvPr/>
        </p:nvSpPr>
        <p:spPr>
          <a:xfrm>
            <a:off x="2616803" y="4667920"/>
            <a:ext cx="962342" cy="307777"/>
          </a:xfrm>
          <a:prstGeom prst="rect">
            <a:avLst/>
          </a:prstGeom>
          <a:noFill/>
        </p:spPr>
        <p:txBody>
          <a:bodyPr wrap="square" rtlCol="0">
            <a:spAutoFit/>
          </a:bodyPr>
          <a:lstStyle/>
          <a:p>
            <a:r>
              <a:rPr lang="en-US" sz="1400" dirty="0">
                <a:solidFill>
                  <a:schemeClr val="bg1"/>
                </a:solidFill>
              </a:rPr>
              <a:t>CPRI</a:t>
            </a:r>
            <a:endParaRPr lang="en-CA" sz="1400" dirty="0">
              <a:solidFill>
                <a:schemeClr val="bg1"/>
              </a:solidFill>
            </a:endParaRPr>
          </a:p>
        </p:txBody>
      </p:sp>
      <p:sp>
        <p:nvSpPr>
          <p:cNvPr id="107" name="TextBox 106"/>
          <p:cNvSpPr txBox="1"/>
          <p:nvPr/>
        </p:nvSpPr>
        <p:spPr>
          <a:xfrm>
            <a:off x="4383602" y="1671812"/>
            <a:ext cx="1102249" cy="338554"/>
          </a:xfrm>
          <a:prstGeom prst="rect">
            <a:avLst/>
          </a:prstGeom>
          <a:noFill/>
        </p:spPr>
        <p:txBody>
          <a:bodyPr wrap="square" rtlCol="0">
            <a:spAutoFit/>
          </a:bodyPr>
          <a:lstStyle/>
          <a:p>
            <a:r>
              <a:rPr lang="en-US" sz="1600" dirty="0">
                <a:solidFill>
                  <a:schemeClr val="bg1"/>
                </a:solidFill>
              </a:rPr>
              <a:t>Web GUI</a:t>
            </a:r>
            <a:endParaRPr lang="en-CA" sz="1600" dirty="0">
              <a:solidFill>
                <a:schemeClr val="bg1"/>
              </a:solidFill>
            </a:endParaRPr>
          </a:p>
        </p:txBody>
      </p:sp>
      <p:pic>
        <p:nvPicPr>
          <p:cNvPr id="5" name="Picture 4"/>
          <p:cNvPicPr>
            <a:picLocks noChangeAspect="1"/>
          </p:cNvPicPr>
          <p:nvPr/>
        </p:nvPicPr>
        <p:blipFill>
          <a:blip r:embed="rId9"/>
          <a:stretch>
            <a:fillRect/>
          </a:stretch>
        </p:blipFill>
        <p:spPr>
          <a:xfrm rot="16200000">
            <a:off x="5843633" y="4663399"/>
            <a:ext cx="1111819" cy="1120859"/>
          </a:xfrm>
          <a:prstGeom prst="rect">
            <a:avLst/>
          </a:prstGeom>
        </p:spPr>
      </p:pic>
      <p:sp>
        <p:nvSpPr>
          <p:cNvPr id="7" name="TextBox 6"/>
          <p:cNvSpPr txBox="1"/>
          <p:nvPr/>
        </p:nvSpPr>
        <p:spPr>
          <a:xfrm>
            <a:off x="2028165" y="3360455"/>
            <a:ext cx="3338551" cy="400110"/>
          </a:xfrm>
          <a:prstGeom prst="rect">
            <a:avLst/>
          </a:prstGeom>
          <a:noFill/>
        </p:spPr>
        <p:txBody>
          <a:bodyPr wrap="square" rtlCol="0">
            <a:spAutoFit/>
          </a:bodyPr>
          <a:lstStyle/>
          <a:p>
            <a:r>
              <a:rPr lang="en-US" dirty="0">
                <a:solidFill>
                  <a:schemeClr val="bg1"/>
                </a:solidFill>
              </a:rPr>
              <a:t>Ericsson MI 17A RAN SW</a:t>
            </a:r>
            <a:endParaRPr lang="en-CA" dirty="0">
              <a:solidFill>
                <a:schemeClr val="bg1"/>
              </a:solidFill>
            </a:endParaRPr>
          </a:p>
        </p:txBody>
      </p:sp>
      <p:sp>
        <p:nvSpPr>
          <p:cNvPr id="13" name="TextBox 12"/>
          <p:cNvSpPr txBox="1"/>
          <p:nvPr/>
        </p:nvSpPr>
        <p:spPr>
          <a:xfrm>
            <a:off x="5682587" y="5779738"/>
            <a:ext cx="1635675" cy="630942"/>
          </a:xfrm>
          <a:prstGeom prst="rect">
            <a:avLst/>
          </a:prstGeom>
          <a:noFill/>
        </p:spPr>
        <p:txBody>
          <a:bodyPr wrap="square" rtlCol="0">
            <a:spAutoFit/>
          </a:bodyPr>
          <a:lstStyle/>
          <a:p>
            <a:r>
              <a:rPr lang="en-US" sz="1400" dirty="0" err="1">
                <a:solidFill>
                  <a:schemeClr val="bg1"/>
                </a:solidFill>
              </a:rPr>
              <a:t>Sequans</a:t>
            </a:r>
            <a:r>
              <a:rPr lang="en-US" sz="1400" dirty="0">
                <a:solidFill>
                  <a:schemeClr val="bg1"/>
                </a:solidFill>
              </a:rPr>
              <a:t>/</a:t>
            </a:r>
            <a:r>
              <a:rPr lang="en-US" sz="1400" dirty="0" err="1">
                <a:solidFill>
                  <a:schemeClr val="bg1"/>
                </a:solidFill>
              </a:rPr>
              <a:t>Gemalto</a:t>
            </a:r>
            <a:endParaRPr lang="en-US" sz="1400" dirty="0">
              <a:solidFill>
                <a:schemeClr val="bg1"/>
              </a:solidFill>
            </a:endParaRPr>
          </a:p>
          <a:p>
            <a:pPr algn="ctr"/>
            <a:r>
              <a:rPr lang="en-US" sz="1400" dirty="0">
                <a:solidFill>
                  <a:schemeClr val="bg1"/>
                </a:solidFill>
              </a:rPr>
              <a:t>CAT-M</a:t>
            </a:r>
            <a:endParaRPr lang="en-CA" sz="1400" dirty="0">
              <a:solidFill>
                <a:schemeClr val="bg1"/>
              </a:solidFill>
            </a:endParaRPr>
          </a:p>
        </p:txBody>
      </p:sp>
      <p:sp>
        <p:nvSpPr>
          <p:cNvPr id="14" name="Title 13"/>
          <p:cNvSpPr>
            <a:spLocks noGrp="1"/>
          </p:cNvSpPr>
          <p:nvPr>
            <p:ph type="title"/>
          </p:nvPr>
        </p:nvSpPr>
        <p:spPr/>
        <p:txBody>
          <a:bodyPr/>
          <a:lstStyle/>
          <a:p>
            <a:r>
              <a:rPr lang="en-US" dirty="0">
                <a:solidFill>
                  <a:schemeClr val="bg1"/>
                </a:solidFill>
              </a:rPr>
              <a:t>Ericsson building blocks</a:t>
            </a:r>
          </a:p>
        </p:txBody>
      </p:sp>
    </p:spTree>
    <p:extLst>
      <p:ext uri="{BB962C8B-B14F-4D97-AF65-F5344CB8AC3E}">
        <p14:creationId xmlns:p14="http://schemas.microsoft.com/office/powerpoint/2010/main" val="300300438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mo</a:t>
            </a:r>
          </a:p>
        </p:txBody>
      </p:sp>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562902" y="1325085"/>
            <a:ext cx="9138049" cy="4730047"/>
          </a:xfrm>
          <a:prstGeom prst="rect">
            <a:avLst/>
          </a:prstGeom>
        </p:spPr>
      </p:pic>
    </p:spTree>
    <p:extLst>
      <p:ext uri="{BB962C8B-B14F-4D97-AF65-F5344CB8AC3E}">
        <p14:creationId xmlns:p14="http://schemas.microsoft.com/office/powerpoint/2010/main" val="276937769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oading: Door Open</a:t>
            </a:r>
          </a:p>
        </p:txBody>
      </p:sp>
      <p:pic>
        <p:nvPicPr>
          <p:cNvPr id="4" name="Picture 3"/>
          <p:cNvPicPr>
            <a:picLocks noChangeAspect="1"/>
          </p:cNvPicPr>
          <p:nvPr/>
        </p:nvPicPr>
        <p:blipFill>
          <a:blip r:embed="rId3"/>
          <a:stretch>
            <a:fillRect/>
          </a:stretch>
        </p:blipFill>
        <p:spPr>
          <a:xfrm>
            <a:off x="524933" y="1325085"/>
            <a:ext cx="10656000" cy="5149170"/>
          </a:xfrm>
          <a:prstGeom prst="rect">
            <a:avLst/>
          </a:prstGeom>
        </p:spPr>
      </p:pic>
      <p:pic>
        <p:nvPicPr>
          <p:cNvPr id="6" name="Picture 5"/>
          <p:cNvPicPr>
            <a:picLocks/>
          </p:cNvPicPr>
          <p:nvPr/>
        </p:nvPicPr>
        <p:blipFill>
          <a:blip r:embed="rId4"/>
          <a:stretch>
            <a:fillRect/>
          </a:stretch>
        </p:blipFill>
        <p:spPr>
          <a:xfrm flipH="1">
            <a:off x="7236000" y="1044000"/>
            <a:ext cx="3268800" cy="1980000"/>
          </a:xfrm>
          <a:prstGeom prst="rect">
            <a:avLst/>
          </a:prstGeom>
        </p:spPr>
      </p:pic>
    </p:spTree>
    <p:extLst>
      <p:ext uri="{BB962C8B-B14F-4D97-AF65-F5344CB8AC3E}">
        <p14:creationId xmlns:p14="http://schemas.microsoft.com/office/powerpoint/2010/main" val="23804533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 Transit: High Temperature</a:t>
            </a:r>
          </a:p>
        </p:txBody>
      </p:sp>
      <p:pic>
        <p:nvPicPr>
          <p:cNvPr id="5" name="Picture 4"/>
          <p:cNvPicPr>
            <a:picLocks/>
          </p:cNvPicPr>
          <p:nvPr/>
        </p:nvPicPr>
        <p:blipFill>
          <a:blip r:embed="rId3"/>
          <a:stretch>
            <a:fillRect/>
          </a:stretch>
        </p:blipFill>
        <p:spPr>
          <a:xfrm>
            <a:off x="525685" y="1325085"/>
            <a:ext cx="10656000" cy="5148000"/>
          </a:xfrm>
          <a:prstGeom prst="rect">
            <a:avLst/>
          </a:prstGeom>
        </p:spPr>
      </p:pic>
      <p:pic>
        <p:nvPicPr>
          <p:cNvPr id="6" name="Picture 5"/>
          <p:cNvPicPr>
            <a:picLocks noChangeAspect="1"/>
          </p:cNvPicPr>
          <p:nvPr/>
        </p:nvPicPr>
        <p:blipFill>
          <a:blip r:embed="rId4"/>
          <a:stretch>
            <a:fillRect/>
          </a:stretch>
        </p:blipFill>
        <p:spPr>
          <a:xfrm flipH="1">
            <a:off x="7236000" y="1044000"/>
            <a:ext cx="3267075" cy="1981200"/>
          </a:xfrm>
          <a:prstGeom prst="rect">
            <a:avLst/>
          </a:prstGeom>
        </p:spPr>
      </p:pic>
    </p:spTree>
    <p:extLst>
      <p:ext uri="{BB962C8B-B14F-4D97-AF65-F5344CB8AC3E}">
        <p14:creationId xmlns:p14="http://schemas.microsoft.com/office/powerpoint/2010/main" val="184073015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 Transit: Low Temperature</a:t>
            </a:r>
          </a:p>
        </p:txBody>
      </p:sp>
      <p:pic>
        <p:nvPicPr>
          <p:cNvPr id="6" name="Picture 5"/>
          <p:cNvPicPr>
            <a:picLocks/>
          </p:cNvPicPr>
          <p:nvPr/>
        </p:nvPicPr>
        <p:blipFill>
          <a:blip r:embed="rId3"/>
          <a:stretch>
            <a:fillRect/>
          </a:stretch>
        </p:blipFill>
        <p:spPr>
          <a:xfrm>
            <a:off x="524935" y="1325085"/>
            <a:ext cx="10656000" cy="5148000"/>
          </a:xfrm>
          <a:prstGeom prst="rect">
            <a:avLst/>
          </a:prstGeom>
        </p:spPr>
      </p:pic>
      <p:pic>
        <p:nvPicPr>
          <p:cNvPr id="5" name="Picture 4"/>
          <p:cNvPicPr>
            <a:picLocks/>
          </p:cNvPicPr>
          <p:nvPr/>
        </p:nvPicPr>
        <p:blipFill>
          <a:blip r:embed="rId4"/>
          <a:stretch>
            <a:fillRect/>
          </a:stretch>
        </p:blipFill>
        <p:spPr>
          <a:xfrm flipH="1">
            <a:off x="7236000" y="1044000"/>
            <a:ext cx="3268800" cy="1980000"/>
          </a:xfrm>
          <a:prstGeom prst="rect">
            <a:avLst/>
          </a:prstGeom>
        </p:spPr>
      </p:pic>
    </p:spTree>
    <p:extLst>
      <p:ext uri="{BB962C8B-B14F-4D97-AF65-F5344CB8AC3E}">
        <p14:creationId xmlns:p14="http://schemas.microsoft.com/office/powerpoint/2010/main" val="338163467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 Transit: Accident</a:t>
            </a:r>
          </a:p>
        </p:txBody>
      </p:sp>
      <p:pic>
        <p:nvPicPr>
          <p:cNvPr id="5" name="Picture 4"/>
          <p:cNvPicPr>
            <a:picLocks/>
          </p:cNvPicPr>
          <p:nvPr/>
        </p:nvPicPr>
        <p:blipFill>
          <a:blip r:embed="rId3"/>
          <a:stretch>
            <a:fillRect/>
          </a:stretch>
        </p:blipFill>
        <p:spPr>
          <a:xfrm>
            <a:off x="524935" y="1325085"/>
            <a:ext cx="10656000" cy="5148000"/>
          </a:xfrm>
          <a:prstGeom prst="rect">
            <a:avLst/>
          </a:prstGeom>
        </p:spPr>
      </p:pic>
      <p:pic>
        <p:nvPicPr>
          <p:cNvPr id="3" name="Picture 2"/>
          <p:cNvPicPr>
            <a:picLocks/>
          </p:cNvPicPr>
          <p:nvPr/>
        </p:nvPicPr>
        <p:blipFill>
          <a:blip r:embed="rId4"/>
          <a:stretch>
            <a:fillRect/>
          </a:stretch>
        </p:blipFill>
        <p:spPr>
          <a:xfrm flipH="1">
            <a:off x="7236000" y="1044000"/>
            <a:ext cx="3268800" cy="1980000"/>
          </a:xfrm>
          <a:prstGeom prst="rect">
            <a:avLst/>
          </a:prstGeom>
        </p:spPr>
      </p:pic>
    </p:spTree>
    <p:extLst>
      <p:ext uri="{BB962C8B-B14F-4D97-AF65-F5344CB8AC3E}">
        <p14:creationId xmlns:p14="http://schemas.microsoft.com/office/powerpoint/2010/main" val="229246564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gfe9HnP._kWO4PcQ0rdeC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esentationTemplate2011">
  <a:themeElements>
    <a:clrScheme name="Landscape2009 1">
      <a:dk1>
        <a:srgbClr val="58585A"/>
      </a:dk1>
      <a:lt1>
        <a:srgbClr val="FFFFFF"/>
      </a:lt1>
      <a:dk2>
        <a:srgbClr val="00285E"/>
      </a:dk2>
      <a:lt2>
        <a:srgbClr val="B1B3B4"/>
      </a:lt2>
      <a:accent1>
        <a:srgbClr val="89BA17"/>
      </a:accent1>
      <a:accent2>
        <a:srgbClr val="F08A00"/>
      </a:accent2>
      <a:accent3>
        <a:srgbClr val="FFFFFF"/>
      </a:accent3>
      <a:accent4>
        <a:srgbClr val="4A4A4C"/>
      </a:accent4>
      <a:accent5>
        <a:srgbClr val="C4D9AB"/>
      </a:accent5>
      <a:accent6>
        <a:srgbClr val="D97D00"/>
      </a:accent6>
      <a:hlink>
        <a:srgbClr val="00A9D4"/>
      </a:hlink>
      <a:folHlink>
        <a:srgbClr val="00625F"/>
      </a:folHlink>
    </a:clrScheme>
    <a:fontScheme name="Landscape2009">
      <a:majorFont>
        <a:latin typeface="Ericsson Capital TT"/>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spPr>
      <a:bodyPr vert="horz" wrap="none" lIns="72000" tIns="45720" rIns="72000" bIns="45720" numCol="1" anchor="t" anchorCtr="0" compatLnSpc="1">
        <a:prstTxWarp prst="textNoShape">
          <a:avLst/>
        </a:prstTxWarp>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en-GB" sz="2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spPr>
      <a:bodyPr vert="horz" wrap="none" lIns="72000" tIns="45720" rIns="72000" bIns="45720" numCol="1" anchor="t" anchorCtr="0" compatLnSpc="1">
        <a:prstTxWarp prst="textNoShape">
          <a:avLst/>
        </a:prstTxWarp>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en-GB" sz="2000" b="0" i="0" u="none" strike="noStrike" cap="none" normalizeH="0" baseline="0" smtClean="0">
            <a:ln>
              <a:noFill/>
            </a:ln>
            <a:solidFill>
              <a:schemeClr val="tx1"/>
            </a:solidFill>
            <a:effectLst/>
            <a:latin typeface="Arial" charset="0"/>
          </a:defRPr>
        </a:defPPr>
      </a:lstStyle>
    </a:lnDef>
  </a:objectDefaults>
  <a:extraClrSchemeLst>
    <a:extraClrScheme>
      <a:clrScheme name="Landscape2009 1">
        <a:dk1>
          <a:srgbClr val="58585A"/>
        </a:dk1>
        <a:lt1>
          <a:srgbClr val="FFFFFF"/>
        </a:lt1>
        <a:dk2>
          <a:srgbClr val="00285E"/>
        </a:dk2>
        <a:lt2>
          <a:srgbClr val="B1B3B4"/>
        </a:lt2>
        <a:accent1>
          <a:srgbClr val="89BA17"/>
        </a:accent1>
        <a:accent2>
          <a:srgbClr val="F08A00"/>
        </a:accent2>
        <a:accent3>
          <a:srgbClr val="FFFFFF"/>
        </a:accent3>
        <a:accent4>
          <a:srgbClr val="4A4A4C"/>
        </a:accent4>
        <a:accent5>
          <a:srgbClr val="C4D9AB"/>
        </a:accent5>
        <a:accent6>
          <a:srgbClr val="D97D00"/>
        </a:accent6>
        <a:hlink>
          <a:srgbClr val="00A9D4"/>
        </a:hlink>
        <a:folHlink>
          <a:srgbClr val="00625F"/>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Template2011.potx" id="{2930A252-12C2-4F52-B133-87F8BF51D5BC}" vid="{C0EA779E-0600-4F57-BDCE-BA710E7DC25F}"/>
    </a:ext>
  </a:extLst>
</a:theme>
</file>

<file path=ppt/theme/theme2.xml><?xml version="1.0" encoding="utf-8"?>
<a:theme xmlns:a="http://schemas.openxmlformats.org/drawingml/2006/main" name="Office-tema">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tema">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resentationTemplate2011</Template>
  <TotalTime>1513</TotalTime>
  <Words>1001</Words>
  <Application>Microsoft Office PowerPoint</Application>
  <PresentationFormat>Widescreen</PresentationFormat>
  <Paragraphs>133</Paragraphs>
  <Slides>11</Slides>
  <Notes>11</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16" baseType="lpstr">
      <vt:lpstr>Arial</vt:lpstr>
      <vt:lpstr>Ericsson Capital TT</vt:lpstr>
      <vt:lpstr>Ericsson Capital</vt:lpstr>
      <vt:lpstr>PresentationTemplate2011</vt:lpstr>
      <vt:lpstr>think-cell Slide</vt:lpstr>
      <vt:lpstr>CAT M use case- Transport trailer asset management</vt:lpstr>
      <vt:lpstr>Customer value</vt:lpstr>
      <vt:lpstr>Differentiator using cat-m or nB iot </vt:lpstr>
      <vt:lpstr>Ericsson building blocks</vt:lpstr>
      <vt:lpstr>demo</vt:lpstr>
      <vt:lpstr>Loading: Door Open</vt:lpstr>
      <vt:lpstr>In Transit: High Temperature</vt:lpstr>
      <vt:lpstr>In Transit: Low Temperature</vt:lpstr>
      <vt:lpstr>In Transit: Accident</vt:lpstr>
      <vt:lpstr>UNLOADING: Door ope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ransport trailer asset management</dc:title>
  <dc:creator>EMCTHSO</dc:creator>
  <cp:keywords/>
  <dc:description>Rev PA1</dc:description>
  <cp:lastModifiedBy>D. Scott Andrews</cp:lastModifiedBy>
  <cp:revision>64</cp:revision>
  <dcterms:created xsi:type="dcterms:W3CDTF">2016-11-15T21:56:40Z</dcterms:created>
  <dcterms:modified xsi:type="dcterms:W3CDTF">2017-01-16T19:16: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ocumentType">
    <vt:lpwstr>Presentation2011</vt:lpwstr>
  </property>
  <property fmtid="{D5CDD505-2E9C-101B-9397-08002B2CF9AE}" pid="3" name="TemplateName">
    <vt:lpwstr>CXC 173 2731/1</vt:lpwstr>
  </property>
  <property fmtid="{D5CDD505-2E9C-101B-9397-08002B2CF9AE}" pid="4" name="TemplateVersion">
    <vt:lpwstr>R1A</vt:lpwstr>
  </property>
  <property fmtid="{D5CDD505-2E9C-101B-9397-08002B2CF9AE}" pid="5" name="EmbeddedFonts">
    <vt:bool>true</vt:bool>
  </property>
  <property fmtid="{D5CDD505-2E9C-101B-9397-08002B2CF9AE}" pid="6" name="PackageNo">
    <vt:lpwstr>LXA 119 603</vt:lpwstr>
  </property>
  <property fmtid="{D5CDD505-2E9C-101B-9397-08002B2CF9AE}" pid="7" name="PackageVersion">
    <vt:lpwstr>R5C</vt:lpwstr>
  </property>
  <property fmtid="{D5CDD505-2E9C-101B-9397-08002B2CF9AE}" pid="8" name="FooterType">
    <vt:lpwstr>PresTemp</vt:lpwstr>
  </property>
  <property fmtid="{D5CDD505-2E9C-101B-9397-08002B2CF9AE}" pid="9" name="UsedFont">
    <vt:lpwstr>Ericsson Capital TT</vt:lpwstr>
  </property>
  <property fmtid="{D5CDD505-2E9C-101B-9397-08002B2CF9AE}" pid="10" name="x">
    <vt:lpwstr>1</vt:lpwstr>
  </property>
  <property fmtid="{D5CDD505-2E9C-101B-9397-08002B2CF9AE}" pid="11" name="White">
    <vt:bool>true</vt:bool>
  </property>
  <property fmtid="{D5CDD505-2E9C-101B-9397-08002B2CF9AE}" pid="12" name="chkMetaData">
    <vt:bool>false</vt:bool>
  </property>
  <property fmtid="{D5CDD505-2E9C-101B-9397-08002B2CF9AE}" pid="13" name="chkTaglines">
    <vt:bool>false</vt:bool>
  </property>
  <property fmtid="{D5CDD505-2E9C-101B-9397-08002B2CF9AE}" pid="14" name="SecurityClass">
    <vt:lpwstr>Ericsson Internal</vt:lpwstr>
  </property>
  <property fmtid="{D5CDD505-2E9C-101B-9397-08002B2CF9AE}" pid="15" name="txtConfLabel">
    <vt:lpwstr>Ericsson Internal</vt:lpwstr>
  </property>
  <property fmtid="{D5CDD505-2E9C-101B-9397-08002B2CF9AE}" pid="16" name="optUseConfClass">
    <vt:bool>true</vt:bool>
  </property>
  <property fmtid="{D5CDD505-2E9C-101B-9397-08002B2CF9AE}" pid="17" name="optUseConfLabel">
    <vt:bool>false</vt:bool>
  </property>
  <property fmtid="{D5CDD505-2E9C-101B-9397-08002B2CF9AE}" pid="18" name="optFooterCVLDocNo">
    <vt:bool>true</vt:bool>
  </property>
  <property fmtid="{D5CDD505-2E9C-101B-9397-08002B2CF9AE}" pid="19" name="optFooterCVLCopyright">
    <vt:bool>false</vt:bool>
  </property>
  <property fmtid="{D5CDD505-2E9C-101B-9397-08002B2CF9AE}" pid="20" name="optEnterText1">
    <vt:bool>false</vt:bool>
  </property>
  <property fmtid="{D5CDD505-2E9C-101B-9397-08002B2CF9AE}" pid="21" name="optFooterCVLConfLabel">
    <vt:bool>true</vt:bool>
  </property>
  <property fmtid="{D5CDD505-2E9C-101B-9397-08002B2CF9AE}" pid="22" name="optEnterText2">
    <vt:bool>false</vt:bool>
  </property>
  <property fmtid="{D5CDD505-2E9C-101B-9397-08002B2CF9AE}" pid="23" name="optFooterCVLTitle">
    <vt:bool>true</vt:bool>
  </property>
  <property fmtid="{D5CDD505-2E9C-101B-9397-08002B2CF9AE}" pid="24" name="optFooterCVLPrep">
    <vt:bool>false</vt:bool>
  </property>
  <property fmtid="{D5CDD505-2E9C-101B-9397-08002B2CF9AE}" pid="25" name="optEnterText3">
    <vt:bool>false</vt:bool>
  </property>
  <property fmtid="{D5CDD505-2E9C-101B-9397-08002B2CF9AE}" pid="26" name="optFooterCVLDate">
    <vt:bool>true</vt:bool>
  </property>
  <property fmtid="{D5CDD505-2E9C-101B-9397-08002B2CF9AE}" pid="27" name="optEnterText4">
    <vt:bool>false</vt:bool>
  </property>
  <property fmtid="{D5CDD505-2E9C-101B-9397-08002B2CF9AE}" pid="28" name="LeftFooterField">
    <vt:lpwstr/>
  </property>
  <property fmtid="{D5CDD505-2E9C-101B-9397-08002B2CF9AE}" pid="29" name="MiddleFooterField">
    <vt:lpwstr>Ericsson Internal</vt:lpwstr>
  </property>
  <property fmtid="{D5CDD505-2E9C-101B-9397-08002B2CF9AE}" pid="30" name="RightFooterField">
    <vt:lpwstr/>
  </property>
  <property fmtid="{D5CDD505-2E9C-101B-9397-08002B2CF9AE}" pid="31" name="RightFooterField2">
    <vt:lpwstr>2016-11-15</vt:lpwstr>
  </property>
  <property fmtid="{D5CDD505-2E9C-101B-9397-08002B2CF9AE}" pid="32" name="TotalNumb">
    <vt:bool>false</vt:bool>
  </property>
  <property fmtid="{D5CDD505-2E9C-101B-9397-08002B2CF9AE}" pid="33" name="Pages">
    <vt:bool>true</vt:bool>
  </property>
  <property fmtid="{D5CDD505-2E9C-101B-9397-08002B2CF9AE}" pid="34" name="DocumentType2">
    <vt:lpwstr>Presentation2011</vt:lpwstr>
  </property>
  <property fmtid="{D5CDD505-2E9C-101B-9397-08002B2CF9AE}" pid="35" name="TemplateName2">
    <vt:lpwstr>CXC 173 2731/1</vt:lpwstr>
  </property>
  <property fmtid="{D5CDD505-2E9C-101B-9397-08002B2CF9AE}" pid="36" name="TemplateVersion2">
    <vt:lpwstr>R1A</vt:lpwstr>
  </property>
  <property fmtid="{D5CDD505-2E9C-101B-9397-08002B2CF9AE}" pid="37" name="Prepared">
    <vt:lpwstr>EMCTHSO</vt:lpwstr>
  </property>
  <property fmtid="{D5CDD505-2E9C-101B-9397-08002B2CF9AE}" pid="38" name="ApprovedBy">
    <vt:lpwstr/>
  </property>
  <property fmtid="{D5CDD505-2E9C-101B-9397-08002B2CF9AE}" pid="39" name="DocNo">
    <vt:lpwstr/>
  </property>
  <property fmtid="{D5CDD505-2E9C-101B-9397-08002B2CF9AE}" pid="40" name="Checked">
    <vt:lpwstr/>
  </property>
  <property fmtid="{D5CDD505-2E9C-101B-9397-08002B2CF9AE}" pid="41" name="Revision">
    <vt:lpwstr>PA1</vt:lpwstr>
  </property>
  <property fmtid="{D5CDD505-2E9C-101B-9397-08002B2CF9AE}" pid="42" name="DocName">
    <vt:lpwstr/>
  </property>
  <property fmtid="{D5CDD505-2E9C-101B-9397-08002B2CF9AE}" pid="43" name="Title">
    <vt:lpwstr/>
  </property>
  <property fmtid="{D5CDD505-2E9C-101B-9397-08002B2CF9AE}" pid="44" name="Date">
    <vt:lpwstr>2016-11-15</vt:lpwstr>
  </property>
  <property fmtid="{D5CDD505-2E9C-101B-9397-08002B2CF9AE}" pid="45" name="Reference">
    <vt:lpwstr/>
  </property>
  <property fmtid="{D5CDD505-2E9C-101B-9397-08002B2CF9AE}" pid="46" name="Keyword">
    <vt:lpwstr/>
  </property>
</Properties>
</file>